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25" r:id="rId4"/>
  </p:sldMasterIdLst>
  <p:notesMasterIdLst>
    <p:notesMasterId r:id="rId21"/>
  </p:notesMasterIdLst>
  <p:handoutMasterIdLst>
    <p:handoutMasterId r:id="rId22"/>
  </p:handoutMasterIdLst>
  <p:sldIdLst>
    <p:sldId id="397" r:id="rId5"/>
    <p:sldId id="413" r:id="rId6"/>
    <p:sldId id="419" r:id="rId7"/>
    <p:sldId id="372" r:id="rId8"/>
    <p:sldId id="384" r:id="rId9"/>
    <p:sldId id="436" r:id="rId10"/>
    <p:sldId id="420" r:id="rId11"/>
    <p:sldId id="376" r:id="rId12"/>
    <p:sldId id="424" r:id="rId13"/>
    <p:sldId id="423" r:id="rId14"/>
    <p:sldId id="429" r:id="rId15"/>
    <p:sldId id="427" r:id="rId16"/>
    <p:sldId id="422" r:id="rId17"/>
    <p:sldId id="381" r:id="rId18"/>
    <p:sldId id="385" r:id="rId19"/>
    <p:sldId id="428"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0CE2989-452C-4F08-9E16-E7C80DF7C776}">
          <p14:sldIdLst>
            <p14:sldId id="397"/>
            <p14:sldId id="413"/>
            <p14:sldId id="419"/>
            <p14:sldId id="372"/>
            <p14:sldId id="384"/>
            <p14:sldId id="436"/>
            <p14:sldId id="420"/>
            <p14:sldId id="376"/>
            <p14:sldId id="424"/>
            <p14:sldId id="423"/>
            <p14:sldId id="429"/>
            <p14:sldId id="427"/>
            <p14:sldId id="422"/>
            <p14:sldId id="381"/>
          </p14:sldIdLst>
        </p14:section>
        <p14:section name="BACKUP" id="{3B87535F-8FA3-4740-9F42-0C3A915BAD19}">
          <p14:sldIdLst>
            <p14:sldId id="385"/>
            <p14:sldId id="428"/>
          </p14:sldIdLst>
        </p14:section>
      </p14:sectionLst>
    </p:ext>
    <p:ext uri="{EFAFB233-063F-42B5-8137-9DF3F51BA10A}">
      <p15:sldGuideLst xmlns:p15="http://schemas.microsoft.com/office/powerpoint/2012/main">
        <p15:guide id="12" orient="horz" pos="3430" userDrawn="1">
          <p15:clr>
            <a:srgbClr val="A4A3A4"/>
          </p15:clr>
        </p15:guide>
        <p15:guide id="13" pos="3840">
          <p15:clr>
            <a:srgbClr val="A4A3A4"/>
          </p15:clr>
        </p15:guide>
        <p15:guide id="14" pos="57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236104-6CDA-8584-C44B-C0D51A91560F}" name="Jason Vuong" initials="EPG" userId="Jason Vuong" providerId="None"/>
  <p188:author id="{DC1BAD16-5AF4-28AE-C96D-643D27000E6F}" name="Kristen Martin" initials="KM" userId="S::Kristen.Martin@envisionpharma.com::ed7c9068-2e65-471f-a22c-dc2993a5b470" providerId="AD"/>
  <p188:author id="{DBBFE820-5A3D-9234-BDEC-972B7978580E}" name="Jacqui Atkinson" initials="JA" userId="S::Jacqui.Atkinson@envisionpharma.com::da6339b5-124f-4432-a693-7ffe1becb727" providerId="AD"/>
  <p188:author id="{0B518044-8FBC-8918-0E26-C4FF142BD460}" name="Hannah Brazier" initials="HB" userId="S::hannah.brazier@envisionpharma.com::dbcc5274-62db-4d48-961b-32f8caf64936" providerId="AD"/>
  <p188:author id="{DE55F44B-87D1-6B21-8413-90F853B57C4E}" name="Zoe Bartlett" initials="ZB" userId="S::zbartlett@argenx.com::e21de6b6-e593-452b-bd91-3cbef72d0fff" providerId="AD"/>
  <p188:author id="{F621BB62-24CE-619B-E768-E1AD293B6431}" name="Corey Eagan" initials="CE" userId="S::corey.eagan@envisionpharma.com::67a5bb0b-59d7-4667-a66d-8e60076684f1" providerId="AD"/>
  <p188:author id="{1BBAA771-FB9A-F62D-E596-D0AD9435D06E}" name="Niamh McCallum" initials="NM" userId="S::niamh.mccallum@envisionpharma.com::b7720793-e623-4b62-b3ec-a194a584d551" providerId="AD"/>
  <p188:author id="{5BB2507C-9A0D-B269-E654-14D6183D01A3}" name="Jay Concepcion" initials="JC" userId="S::jay.concepcion@envisionpharma.com::f76ff0c0-45bd-42c3-b006-7aa4f421e8b8" providerId="AD"/>
  <p188:author id="{28445988-4D09-6C40-861F-E7C90FEBDC01}" name="Nathan Garnham" initials="NG" userId="S::Nathan.Garnham@envisionpharma.com::6379c45a-0afe-4f22-9ff4-eceb306c81ac" providerId="AD"/>
  <p188:author id="{49E1CB99-80DE-864C-AF9A-1992CD24648A}" name="Sam Griffiths" initials="SG" userId="Sam Griffiths" providerId="None"/>
  <p188:author id="{6EDF4D9C-61E0-76BA-5C98-ED5A0B25D1BA}" name="Beth Ritchie" initials="BR" userId="S::beth.ritchie@envisionpharma.com::bd0b7ebe-6590-417c-a284-9cf05ea0ad62" providerId="AD"/>
  <p188:author id="{5EAB73D9-63B7-F00C-B81B-3A5A6A44CF7E}" name="Patricia Badia" initials="PB" userId="S::patricia.badia@envisionpharma.com::d6d2a1d2-eb96-4f95-99a1-98158b8dca14" providerId="AD"/>
  <p188:author id="{BF5D7BDC-A83C-C35F-13E4-D350769549B0}" name="Heather Sylvestro" initials="" userId="S::heather.sylvestro@envisionpharma.com::2bd733fc-18e7-403d-9637-992a60b8b5b4" providerId="AD"/>
  <p188:author id="{58F5D9E5-D129-FF13-DE6E-0A0367F9CEDC}" name="Catherine Lee" initials="CL" userId="Catherine Lee" providerId="None"/>
  <p188:author id="{0F8275F7-0D29-F253-8D6D-65485CDB3255}" name="Andy Winter" initials="AW" userId="63bc7b62b3974887"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k O'Brien" initials="FO" lastIdx="44" clrIdx="0"/>
  <p:cmAuthor id="2" name="Frank O'Brien" initials="FO [2]" lastIdx="1" clrIdx="1"/>
  <p:cmAuthor id="3" name="Frank O'Brien" initials="FO [3]" lastIdx="1" clrIdx="2"/>
  <p:cmAuthor id="4" name="Frank O'Brien" initials="FO [4]" lastIdx="1" clrIdx="3"/>
  <p:cmAuthor id="5" name="Frank O'Brien" initials="FO [5]" lastIdx="1" clrIdx="4"/>
  <p:cmAuthor id="6" name="Frank O'Brien" initials="FO [6]" lastIdx="1" clrIdx="5"/>
  <p:cmAuthor id="7" name="Frank O'Brien" initials="FO [7]" lastIdx="1" clrIdx="6"/>
  <p:cmAuthor id="8" name="Frank O'Brien" initials="FO [8]" lastIdx="1" clrIdx="7"/>
  <p:cmAuthor id="9" name="Frank O'Brien" initials="FO [9]" lastIdx="1" clrIdx="8"/>
  <p:cmAuthor id="10" name="Frank O'Brien" initials="FO [10]" lastIdx="1" clrIdx="9"/>
  <p:cmAuthor id="11" name="Frank O'Brien" initials="FO [11]" lastIdx="1" clrIdx="10"/>
  <p:cmAuthor id="12" name="Frank O'Brien" initials="FO [12]" lastIdx="1" clrIdx="11"/>
  <p:cmAuthor id="13" name="Frank O'Brien" initials="FO [13]" lastIdx="1" clrIdx="12"/>
  <p:cmAuthor id="14" name="Frank O'Brien" initials="FO [14]" lastIdx="1" clrIdx="13"/>
  <p:cmAuthor id="15" name="Frank O'Brien" initials="FO [15]" lastIdx="1" clrIdx="14"/>
  <p:cmAuthor id="16" name="Frank O'Brien" initials="FO [16]" lastIdx="1" clrIdx="15"/>
  <p:cmAuthor id="17" name="Frank O'Brien" initials="FO [17]" lastIdx="1" clrIdx="16"/>
  <p:cmAuthor id="18" name="Frank O'Brien" initials="FO [18]" lastIdx="1" clrIdx="17"/>
  <p:cmAuthor id="19" name="Frank O'Brien" initials="FO [19]" lastIdx="1" clrIdx="18"/>
  <p:cmAuthor id="20" name="Hallsworth, Jo" initials="HJ" lastIdx="29" clrIdx="19">
    <p:extLst>
      <p:ext uri="{19B8F6BF-5375-455C-9EA6-DF929625EA0E}">
        <p15:presenceInfo xmlns:p15="http://schemas.microsoft.com/office/powerpoint/2012/main" userId="S-1-5-21-725345543-688789844-2146808213-7016" providerId="AD"/>
      </p:ext>
    </p:extLst>
  </p:cmAuthor>
  <p:cmAuthor id="21" name="Stafford, Kate" initials="SK" lastIdx="32" clrIdx="20">
    <p:extLst>
      <p:ext uri="{19B8F6BF-5375-455C-9EA6-DF929625EA0E}">
        <p15:presenceInfo xmlns:p15="http://schemas.microsoft.com/office/powerpoint/2012/main" userId="S-1-5-21-725345543-688789844-2146808213-16673" providerId="AD"/>
      </p:ext>
    </p:extLst>
  </p:cmAuthor>
  <p:cmAuthor id="22" name="Wells, Brett" initials="WB" lastIdx="2" clrIdx="21">
    <p:extLst>
      <p:ext uri="{19B8F6BF-5375-455C-9EA6-DF929625EA0E}">
        <p15:presenceInfo xmlns:p15="http://schemas.microsoft.com/office/powerpoint/2012/main" userId="S-1-5-21-725345543-688789844-2146808213-114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6F3C"/>
    <a:srgbClr val="7CA744"/>
    <a:srgbClr val="0F446E"/>
    <a:srgbClr val="E7EDF1"/>
    <a:srgbClr val="E5EDDA"/>
    <a:srgbClr val="6A6A6A"/>
    <a:srgbClr val="C284D7"/>
    <a:srgbClr val="000000"/>
    <a:srgbClr val="404040"/>
    <a:srgbClr val="0B43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2F128E-FB0F-4307-8587-D206E2CD31A3}" v="3" dt="2025-10-28T20:40:23.2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404" autoAdjust="0"/>
  </p:normalViewPr>
  <p:slideViewPr>
    <p:cSldViewPr snapToGrid="0">
      <p:cViewPr>
        <p:scale>
          <a:sx n="80" d="100"/>
          <a:sy n="80" d="100"/>
        </p:scale>
        <p:origin x="112" y="-200"/>
      </p:cViewPr>
      <p:guideLst>
        <p:guide orient="horz" pos="3430"/>
        <p:guide pos="3840"/>
        <p:guide pos="57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oe Bartlett" userId="e21de6b6-e593-452b-bd91-3cbef72d0fff" providerId="ADAL" clId="{1F04162A-5CD3-4D8B-96E1-E1CB86B367D1}"/>
    <pc:docChg chg="undo custSel modSld">
      <pc:chgData name="Zoe Bartlett" userId="e21de6b6-e593-452b-bd91-3cbef72d0fff" providerId="ADAL" clId="{1F04162A-5CD3-4D8B-96E1-E1CB86B367D1}" dt="2025-10-28T20:43:23.988" v="54" actId="208"/>
      <pc:docMkLst>
        <pc:docMk/>
      </pc:docMkLst>
      <pc:sldChg chg="modSp mod">
        <pc:chgData name="Zoe Bartlett" userId="e21de6b6-e593-452b-bd91-3cbef72d0fff" providerId="ADAL" clId="{1F04162A-5CD3-4D8B-96E1-E1CB86B367D1}" dt="2025-10-28T20:31:36.443" v="27" actId="20577"/>
        <pc:sldMkLst>
          <pc:docMk/>
          <pc:sldMk cId="1646555327" sldId="372"/>
        </pc:sldMkLst>
        <pc:spChg chg="mod">
          <ac:chgData name="Zoe Bartlett" userId="e21de6b6-e593-452b-bd91-3cbef72d0fff" providerId="ADAL" clId="{1F04162A-5CD3-4D8B-96E1-E1CB86B367D1}" dt="2025-10-28T20:31:36.443" v="27" actId="20577"/>
          <ac:spMkLst>
            <pc:docMk/>
            <pc:sldMk cId="1646555327" sldId="372"/>
            <ac:spMk id="19" creationId="{AA343015-B031-03BE-C10D-D3E0F8DEE5A5}"/>
          </ac:spMkLst>
        </pc:spChg>
      </pc:sldChg>
      <pc:sldChg chg="modSp mod">
        <pc:chgData name="Zoe Bartlett" userId="e21de6b6-e593-452b-bd91-3cbef72d0fff" providerId="ADAL" clId="{1F04162A-5CD3-4D8B-96E1-E1CB86B367D1}" dt="2025-10-28T20:37:07.977" v="44"/>
        <pc:sldMkLst>
          <pc:docMk/>
          <pc:sldMk cId="1810112976" sldId="376"/>
        </pc:sldMkLst>
        <pc:grpChg chg="mod">
          <ac:chgData name="Zoe Bartlett" userId="e21de6b6-e593-452b-bd91-3cbef72d0fff" providerId="ADAL" clId="{1F04162A-5CD3-4D8B-96E1-E1CB86B367D1}" dt="2025-10-28T20:32:34.360" v="28" actId="207"/>
          <ac:grpSpMkLst>
            <pc:docMk/>
            <pc:sldMk cId="1810112976" sldId="376"/>
            <ac:grpSpMk id="11" creationId="{4C062682-9543-9649-380F-4CC317A58D30}"/>
          </ac:grpSpMkLst>
        </pc:grpChg>
        <pc:graphicFrameChg chg="mod">
          <ac:chgData name="Zoe Bartlett" userId="e21de6b6-e593-452b-bd91-3cbef72d0fff" providerId="ADAL" clId="{1F04162A-5CD3-4D8B-96E1-E1CB86B367D1}" dt="2025-10-28T20:37:07.977" v="44"/>
          <ac:graphicFrameMkLst>
            <pc:docMk/>
            <pc:sldMk cId="1810112976" sldId="376"/>
            <ac:graphicFrameMk id="7" creationId="{85FADB45-27B3-E163-8EAF-253E804F3C41}"/>
          </ac:graphicFrameMkLst>
        </pc:graphicFrameChg>
      </pc:sldChg>
      <pc:sldChg chg="modSp mod">
        <pc:chgData name="Zoe Bartlett" userId="e21de6b6-e593-452b-bd91-3cbef72d0fff" providerId="ADAL" clId="{1F04162A-5CD3-4D8B-96E1-E1CB86B367D1}" dt="2025-10-28T20:43:23.988" v="54" actId="208"/>
        <pc:sldMkLst>
          <pc:docMk/>
          <pc:sldMk cId="4255448302" sldId="384"/>
        </pc:sldMkLst>
        <pc:spChg chg="mod">
          <ac:chgData name="Zoe Bartlett" userId="e21de6b6-e593-452b-bd91-3cbef72d0fff" providerId="ADAL" clId="{1F04162A-5CD3-4D8B-96E1-E1CB86B367D1}" dt="2025-10-28T20:42:57.849" v="53" actId="20577"/>
          <ac:spMkLst>
            <pc:docMk/>
            <pc:sldMk cId="4255448302" sldId="384"/>
            <ac:spMk id="20" creationId="{7471995B-F46B-5E03-39FB-2E3493A3DE8C}"/>
          </ac:spMkLst>
        </pc:spChg>
        <pc:spChg chg="mod">
          <ac:chgData name="Zoe Bartlett" userId="e21de6b6-e593-452b-bd91-3cbef72d0fff" providerId="ADAL" clId="{1F04162A-5CD3-4D8B-96E1-E1CB86B367D1}" dt="2025-10-28T20:34:04.923" v="34" actId="207"/>
          <ac:spMkLst>
            <pc:docMk/>
            <pc:sldMk cId="4255448302" sldId="384"/>
            <ac:spMk id="158" creationId="{5DA98A22-56F0-A45E-CDBE-D63AEA710D0D}"/>
          </ac:spMkLst>
        </pc:spChg>
        <pc:spChg chg="mod">
          <ac:chgData name="Zoe Bartlett" userId="e21de6b6-e593-452b-bd91-3cbef72d0fff" providerId="ADAL" clId="{1F04162A-5CD3-4D8B-96E1-E1CB86B367D1}" dt="2025-10-28T20:34:11.257" v="35" actId="207"/>
          <ac:spMkLst>
            <pc:docMk/>
            <pc:sldMk cId="4255448302" sldId="384"/>
            <ac:spMk id="159" creationId="{FA9623D9-204D-857B-A800-9078E9D20069}"/>
          </ac:spMkLst>
        </pc:spChg>
        <pc:spChg chg="mod">
          <ac:chgData name="Zoe Bartlett" userId="e21de6b6-e593-452b-bd91-3cbef72d0fff" providerId="ADAL" clId="{1F04162A-5CD3-4D8B-96E1-E1CB86B367D1}" dt="2025-10-28T20:35:43.862" v="42" actId="207"/>
          <ac:spMkLst>
            <pc:docMk/>
            <pc:sldMk cId="4255448302" sldId="384"/>
            <ac:spMk id="162" creationId="{9A7A42BB-D767-5E9F-C70F-9FC86B05B09F}"/>
          </ac:spMkLst>
        </pc:spChg>
        <pc:spChg chg="mod">
          <ac:chgData name="Zoe Bartlett" userId="e21de6b6-e593-452b-bd91-3cbef72d0fff" providerId="ADAL" clId="{1F04162A-5CD3-4D8B-96E1-E1CB86B367D1}" dt="2025-10-28T20:39:28.379" v="48" actId="207"/>
          <ac:spMkLst>
            <pc:docMk/>
            <pc:sldMk cId="4255448302" sldId="384"/>
            <ac:spMk id="165" creationId="{410FB9CA-2F4D-56D0-B7DB-2DC15D764415}"/>
          </ac:spMkLst>
        </pc:spChg>
        <pc:spChg chg="mod">
          <ac:chgData name="Zoe Bartlett" userId="e21de6b6-e593-452b-bd91-3cbef72d0fff" providerId="ADAL" clId="{1F04162A-5CD3-4D8B-96E1-E1CB86B367D1}" dt="2025-10-28T20:33:39.719" v="32" actId="207"/>
          <ac:spMkLst>
            <pc:docMk/>
            <pc:sldMk cId="4255448302" sldId="384"/>
            <ac:spMk id="175" creationId="{431111FD-8A7C-6484-E8A5-B73456E2A8F5}"/>
          </ac:spMkLst>
        </pc:spChg>
        <pc:spChg chg="mod">
          <ac:chgData name="Zoe Bartlett" userId="e21de6b6-e593-452b-bd91-3cbef72d0fff" providerId="ADAL" clId="{1F04162A-5CD3-4D8B-96E1-E1CB86B367D1}" dt="2025-10-28T20:33:39.719" v="32" actId="207"/>
          <ac:spMkLst>
            <pc:docMk/>
            <pc:sldMk cId="4255448302" sldId="384"/>
            <ac:spMk id="176" creationId="{C6891D75-3DDD-05B8-C1C4-313D12BD5F7D}"/>
          </ac:spMkLst>
        </pc:spChg>
        <pc:spChg chg="mod">
          <ac:chgData name="Zoe Bartlett" userId="e21de6b6-e593-452b-bd91-3cbef72d0fff" providerId="ADAL" clId="{1F04162A-5CD3-4D8B-96E1-E1CB86B367D1}" dt="2025-10-28T20:33:39.719" v="32" actId="207"/>
          <ac:spMkLst>
            <pc:docMk/>
            <pc:sldMk cId="4255448302" sldId="384"/>
            <ac:spMk id="181" creationId="{B840E36E-7611-73B7-6DF5-29EFEF1E3ED5}"/>
          </ac:spMkLst>
        </pc:spChg>
        <pc:spChg chg="mod">
          <ac:chgData name="Zoe Bartlett" userId="e21de6b6-e593-452b-bd91-3cbef72d0fff" providerId="ADAL" clId="{1F04162A-5CD3-4D8B-96E1-E1CB86B367D1}" dt="2025-10-28T20:33:39.719" v="32" actId="207"/>
          <ac:spMkLst>
            <pc:docMk/>
            <pc:sldMk cId="4255448302" sldId="384"/>
            <ac:spMk id="184" creationId="{260175F0-45EE-918A-401B-02D052356E24}"/>
          </ac:spMkLst>
        </pc:spChg>
        <pc:spChg chg="mod">
          <ac:chgData name="Zoe Bartlett" userId="e21de6b6-e593-452b-bd91-3cbef72d0fff" providerId="ADAL" clId="{1F04162A-5CD3-4D8B-96E1-E1CB86B367D1}" dt="2025-10-28T20:33:39.719" v="32" actId="207"/>
          <ac:spMkLst>
            <pc:docMk/>
            <pc:sldMk cId="4255448302" sldId="384"/>
            <ac:spMk id="237" creationId="{4F8AA6F8-38E3-66F1-FF68-9DE66520D07F}"/>
          </ac:spMkLst>
        </pc:spChg>
        <pc:spChg chg="mod">
          <ac:chgData name="Zoe Bartlett" userId="e21de6b6-e593-452b-bd91-3cbef72d0fff" providerId="ADAL" clId="{1F04162A-5CD3-4D8B-96E1-E1CB86B367D1}" dt="2025-10-28T20:33:39.719" v="32" actId="207"/>
          <ac:spMkLst>
            <pc:docMk/>
            <pc:sldMk cId="4255448302" sldId="384"/>
            <ac:spMk id="238" creationId="{727A4680-8BC8-2F85-231E-F2BAA9F63539}"/>
          </ac:spMkLst>
        </pc:spChg>
        <pc:spChg chg="mod">
          <ac:chgData name="Zoe Bartlett" userId="e21de6b6-e593-452b-bd91-3cbef72d0fff" providerId="ADAL" clId="{1F04162A-5CD3-4D8B-96E1-E1CB86B367D1}" dt="2025-10-28T20:33:39.719" v="32" actId="207"/>
          <ac:spMkLst>
            <pc:docMk/>
            <pc:sldMk cId="4255448302" sldId="384"/>
            <ac:spMk id="241" creationId="{498FD810-A0FE-7832-549B-3D104FCEEF5D}"/>
          </ac:spMkLst>
        </pc:spChg>
        <pc:spChg chg="mod">
          <ac:chgData name="Zoe Bartlett" userId="e21de6b6-e593-452b-bd91-3cbef72d0fff" providerId="ADAL" clId="{1F04162A-5CD3-4D8B-96E1-E1CB86B367D1}" dt="2025-10-28T20:33:39.719" v="32" actId="207"/>
          <ac:spMkLst>
            <pc:docMk/>
            <pc:sldMk cId="4255448302" sldId="384"/>
            <ac:spMk id="242" creationId="{FD804A85-E754-D36B-4EF3-663D8E95E157}"/>
          </ac:spMkLst>
        </pc:spChg>
        <pc:spChg chg="mod">
          <ac:chgData name="Zoe Bartlett" userId="e21de6b6-e593-452b-bd91-3cbef72d0fff" providerId="ADAL" clId="{1F04162A-5CD3-4D8B-96E1-E1CB86B367D1}" dt="2025-10-28T20:33:39.719" v="32" actId="207"/>
          <ac:spMkLst>
            <pc:docMk/>
            <pc:sldMk cId="4255448302" sldId="384"/>
            <ac:spMk id="243" creationId="{F68A8249-4144-EA23-D7B6-D4911BC9672F}"/>
          </ac:spMkLst>
        </pc:spChg>
        <pc:spChg chg="mod">
          <ac:chgData name="Zoe Bartlett" userId="e21de6b6-e593-452b-bd91-3cbef72d0fff" providerId="ADAL" clId="{1F04162A-5CD3-4D8B-96E1-E1CB86B367D1}" dt="2025-10-28T20:33:39.719" v="32" actId="207"/>
          <ac:spMkLst>
            <pc:docMk/>
            <pc:sldMk cId="4255448302" sldId="384"/>
            <ac:spMk id="247" creationId="{B6334748-D296-E9DB-0BE7-3F916C5982F5}"/>
          </ac:spMkLst>
        </pc:spChg>
        <pc:spChg chg="mod">
          <ac:chgData name="Zoe Bartlett" userId="e21de6b6-e593-452b-bd91-3cbef72d0fff" providerId="ADAL" clId="{1F04162A-5CD3-4D8B-96E1-E1CB86B367D1}" dt="2025-10-28T20:33:35.861" v="31" actId="207"/>
          <ac:spMkLst>
            <pc:docMk/>
            <pc:sldMk cId="4255448302" sldId="384"/>
            <ac:spMk id="298" creationId="{481BF46A-C6CA-9098-BB8E-885588FF94E4}"/>
          </ac:spMkLst>
        </pc:spChg>
        <pc:spChg chg="mod">
          <ac:chgData name="Zoe Bartlett" userId="e21de6b6-e593-452b-bd91-3cbef72d0fff" providerId="ADAL" clId="{1F04162A-5CD3-4D8B-96E1-E1CB86B367D1}" dt="2025-10-28T20:33:35.861" v="31" actId="207"/>
          <ac:spMkLst>
            <pc:docMk/>
            <pc:sldMk cId="4255448302" sldId="384"/>
            <ac:spMk id="299" creationId="{182A6C8B-890A-DDDE-02F9-8976B7F804BF}"/>
          </ac:spMkLst>
        </pc:spChg>
        <pc:spChg chg="mod">
          <ac:chgData name="Zoe Bartlett" userId="e21de6b6-e593-452b-bd91-3cbef72d0fff" providerId="ADAL" clId="{1F04162A-5CD3-4D8B-96E1-E1CB86B367D1}" dt="2025-10-28T20:33:35.861" v="31" actId="207"/>
          <ac:spMkLst>
            <pc:docMk/>
            <pc:sldMk cId="4255448302" sldId="384"/>
            <ac:spMk id="301" creationId="{9C6E1466-753E-3F59-B539-FEFDAAEBDD24}"/>
          </ac:spMkLst>
        </pc:spChg>
        <pc:spChg chg="mod">
          <ac:chgData name="Zoe Bartlett" userId="e21de6b6-e593-452b-bd91-3cbef72d0fff" providerId="ADAL" clId="{1F04162A-5CD3-4D8B-96E1-E1CB86B367D1}" dt="2025-10-28T20:33:35.861" v="31" actId="207"/>
          <ac:spMkLst>
            <pc:docMk/>
            <pc:sldMk cId="4255448302" sldId="384"/>
            <ac:spMk id="305" creationId="{53818912-8233-C730-56BC-4B95098A7E5F}"/>
          </ac:spMkLst>
        </pc:spChg>
        <pc:spChg chg="mod">
          <ac:chgData name="Zoe Bartlett" userId="e21de6b6-e593-452b-bd91-3cbef72d0fff" providerId="ADAL" clId="{1F04162A-5CD3-4D8B-96E1-E1CB86B367D1}" dt="2025-10-28T20:33:35.861" v="31" actId="207"/>
          <ac:spMkLst>
            <pc:docMk/>
            <pc:sldMk cId="4255448302" sldId="384"/>
            <ac:spMk id="309" creationId="{FC62C543-DE7C-A838-6A38-5D032463A1FB}"/>
          </ac:spMkLst>
        </pc:spChg>
        <pc:spChg chg="mod">
          <ac:chgData name="Zoe Bartlett" userId="e21de6b6-e593-452b-bd91-3cbef72d0fff" providerId="ADAL" clId="{1F04162A-5CD3-4D8B-96E1-E1CB86B367D1}" dt="2025-10-28T20:33:35.861" v="31" actId="207"/>
          <ac:spMkLst>
            <pc:docMk/>
            <pc:sldMk cId="4255448302" sldId="384"/>
            <ac:spMk id="312" creationId="{8E6592A6-50CB-F756-5772-D5D3B2AC73DE}"/>
          </ac:spMkLst>
        </pc:spChg>
        <pc:spChg chg="mod">
          <ac:chgData name="Zoe Bartlett" userId="e21de6b6-e593-452b-bd91-3cbef72d0fff" providerId="ADAL" clId="{1F04162A-5CD3-4D8B-96E1-E1CB86B367D1}" dt="2025-10-28T20:33:35.861" v="31" actId="207"/>
          <ac:spMkLst>
            <pc:docMk/>
            <pc:sldMk cId="4255448302" sldId="384"/>
            <ac:spMk id="314" creationId="{B1CCD83A-C3B9-B75B-9377-EE779A5C8863}"/>
          </ac:spMkLst>
        </pc:spChg>
        <pc:spChg chg="mod">
          <ac:chgData name="Zoe Bartlett" userId="e21de6b6-e593-452b-bd91-3cbef72d0fff" providerId="ADAL" clId="{1F04162A-5CD3-4D8B-96E1-E1CB86B367D1}" dt="2025-10-28T20:33:35.861" v="31" actId="207"/>
          <ac:spMkLst>
            <pc:docMk/>
            <pc:sldMk cId="4255448302" sldId="384"/>
            <ac:spMk id="315" creationId="{34C45132-1FF7-6AD8-15E2-9F8D715426C3}"/>
          </ac:spMkLst>
        </pc:spChg>
        <pc:spChg chg="mod">
          <ac:chgData name="Zoe Bartlett" userId="e21de6b6-e593-452b-bd91-3cbef72d0fff" providerId="ADAL" clId="{1F04162A-5CD3-4D8B-96E1-E1CB86B367D1}" dt="2025-10-28T20:33:35.861" v="31" actId="207"/>
          <ac:spMkLst>
            <pc:docMk/>
            <pc:sldMk cId="4255448302" sldId="384"/>
            <ac:spMk id="317" creationId="{A4613F2C-4E2D-87BF-3B96-AEFF27354674}"/>
          </ac:spMkLst>
        </pc:spChg>
        <pc:spChg chg="mod">
          <ac:chgData name="Zoe Bartlett" userId="e21de6b6-e593-452b-bd91-3cbef72d0fff" providerId="ADAL" clId="{1F04162A-5CD3-4D8B-96E1-E1CB86B367D1}" dt="2025-10-28T20:33:35.861" v="31" actId="207"/>
          <ac:spMkLst>
            <pc:docMk/>
            <pc:sldMk cId="4255448302" sldId="384"/>
            <ac:spMk id="318" creationId="{A41138A0-E488-BD51-938E-D23C34CEA1BD}"/>
          </ac:spMkLst>
        </pc:spChg>
        <pc:spChg chg="mod">
          <ac:chgData name="Zoe Bartlett" userId="e21de6b6-e593-452b-bd91-3cbef72d0fff" providerId="ADAL" clId="{1F04162A-5CD3-4D8B-96E1-E1CB86B367D1}" dt="2025-10-28T20:33:46.386" v="33" actId="207"/>
          <ac:spMkLst>
            <pc:docMk/>
            <pc:sldMk cId="4255448302" sldId="384"/>
            <ac:spMk id="520" creationId="{C36EB4D3-61E8-CDE5-3496-E6BA015382B4}"/>
          </ac:spMkLst>
        </pc:spChg>
        <pc:spChg chg="mod">
          <ac:chgData name="Zoe Bartlett" userId="e21de6b6-e593-452b-bd91-3cbef72d0fff" providerId="ADAL" clId="{1F04162A-5CD3-4D8B-96E1-E1CB86B367D1}" dt="2025-10-28T20:33:46.386" v="33" actId="207"/>
          <ac:spMkLst>
            <pc:docMk/>
            <pc:sldMk cId="4255448302" sldId="384"/>
            <ac:spMk id="521" creationId="{E8BF230C-5657-C9E1-5C0B-E93142E2CACE}"/>
          </ac:spMkLst>
        </pc:spChg>
        <pc:spChg chg="mod">
          <ac:chgData name="Zoe Bartlett" userId="e21de6b6-e593-452b-bd91-3cbef72d0fff" providerId="ADAL" clId="{1F04162A-5CD3-4D8B-96E1-E1CB86B367D1}" dt="2025-10-28T20:33:46.386" v="33" actId="207"/>
          <ac:spMkLst>
            <pc:docMk/>
            <pc:sldMk cId="4255448302" sldId="384"/>
            <ac:spMk id="522" creationId="{F9E0A98A-0ABE-1AAF-3F63-21237C8FFA8D}"/>
          </ac:spMkLst>
        </pc:spChg>
        <pc:spChg chg="mod">
          <ac:chgData name="Zoe Bartlett" userId="e21de6b6-e593-452b-bd91-3cbef72d0fff" providerId="ADAL" clId="{1F04162A-5CD3-4D8B-96E1-E1CB86B367D1}" dt="2025-10-28T20:33:46.386" v="33" actId="207"/>
          <ac:spMkLst>
            <pc:docMk/>
            <pc:sldMk cId="4255448302" sldId="384"/>
            <ac:spMk id="523" creationId="{EF98931A-B0B7-4068-6BF7-5EFE7A6EF8D8}"/>
          </ac:spMkLst>
        </pc:spChg>
        <pc:spChg chg="mod">
          <ac:chgData name="Zoe Bartlett" userId="e21de6b6-e593-452b-bd91-3cbef72d0fff" providerId="ADAL" clId="{1F04162A-5CD3-4D8B-96E1-E1CB86B367D1}" dt="2025-10-28T20:33:46.386" v="33" actId="207"/>
          <ac:spMkLst>
            <pc:docMk/>
            <pc:sldMk cId="4255448302" sldId="384"/>
            <ac:spMk id="524" creationId="{310A4CFE-C464-F775-ACC5-5FF5888E25DC}"/>
          </ac:spMkLst>
        </pc:spChg>
        <pc:spChg chg="mod">
          <ac:chgData name="Zoe Bartlett" userId="e21de6b6-e593-452b-bd91-3cbef72d0fff" providerId="ADAL" clId="{1F04162A-5CD3-4D8B-96E1-E1CB86B367D1}" dt="2025-10-28T20:33:46.386" v="33" actId="207"/>
          <ac:spMkLst>
            <pc:docMk/>
            <pc:sldMk cId="4255448302" sldId="384"/>
            <ac:spMk id="525" creationId="{96D6E0CD-3FEB-A5C0-167F-E63B6BAD6E41}"/>
          </ac:spMkLst>
        </pc:spChg>
        <pc:spChg chg="mod">
          <ac:chgData name="Zoe Bartlett" userId="e21de6b6-e593-452b-bd91-3cbef72d0fff" providerId="ADAL" clId="{1F04162A-5CD3-4D8B-96E1-E1CB86B367D1}" dt="2025-10-28T20:33:46.386" v="33" actId="207"/>
          <ac:spMkLst>
            <pc:docMk/>
            <pc:sldMk cId="4255448302" sldId="384"/>
            <ac:spMk id="526" creationId="{96FB5CD6-B593-DB68-CF70-C0A89F6E48EF}"/>
          </ac:spMkLst>
        </pc:spChg>
        <pc:spChg chg="mod">
          <ac:chgData name="Zoe Bartlett" userId="e21de6b6-e593-452b-bd91-3cbef72d0fff" providerId="ADAL" clId="{1F04162A-5CD3-4D8B-96E1-E1CB86B367D1}" dt="2025-10-28T20:34:55.493" v="38" actId="207"/>
          <ac:spMkLst>
            <pc:docMk/>
            <pc:sldMk cId="4255448302" sldId="384"/>
            <ac:spMk id="546" creationId="{4F6BAF1C-5247-B8A8-6B8D-4042D87CD1A3}"/>
          </ac:spMkLst>
        </pc:spChg>
        <pc:spChg chg="mod">
          <ac:chgData name="Zoe Bartlett" userId="e21de6b6-e593-452b-bd91-3cbef72d0fff" providerId="ADAL" clId="{1F04162A-5CD3-4D8B-96E1-E1CB86B367D1}" dt="2025-10-28T20:34:41.207" v="37" actId="207"/>
          <ac:spMkLst>
            <pc:docMk/>
            <pc:sldMk cId="4255448302" sldId="384"/>
            <ac:spMk id="547" creationId="{39A6063F-6613-49B4-F61A-A0A834FF0ADB}"/>
          </ac:spMkLst>
        </pc:spChg>
        <pc:spChg chg="mod">
          <ac:chgData name="Zoe Bartlett" userId="e21de6b6-e593-452b-bd91-3cbef72d0fff" providerId="ADAL" clId="{1F04162A-5CD3-4D8B-96E1-E1CB86B367D1}" dt="2025-10-28T20:35:47.558" v="43" actId="207"/>
          <ac:spMkLst>
            <pc:docMk/>
            <pc:sldMk cId="4255448302" sldId="384"/>
            <ac:spMk id="548" creationId="{EC8CF52B-6C98-93DF-7A88-021AA2445E3E}"/>
          </ac:spMkLst>
        </pc:spChg>
        <pc:spChg chg="mod">
          <ac:chgData name="Zoe Bartlett" userId="e21de6b6-e593-452b-bd91-3cbef72d0fff" providerId="ADAL" clId="{1F04162A-5CD3-4D8B-96E1-E1CB86B367D1}" dt="2025-10-28T20:43:23.988" v="54" actId="208"/>
          <ac:spMkLst>
            <pc:docMk/>
            <pc:sldMk cId="4255448302" sldId="384"/>
            <ac:spMk id="549" creationId="{5687A50C-6145-1D5F-3999-968E28FDCBF2}"/>
          </ac:spMkLst>
        </pc:spChg>
        <pc:grpChg chg="mod">
          <ac:chgData name="Zoe Bartlett" userId="e21de6b6-e593-452b-bd91-3cbef72d0fff" providerId="ADAL" clId="{1F04162A-5CD3-4D8B-96E1-E1CB86B367D1}" dt="2025-10-28T20:33:46.386" v="33" actId="207"/>
          <ac:grpSpMkLst>
            <pc:docMk/>
            <pc:sldMk cId="4255448302" sldId="384"/>
            <ac:grpSpMk id="161" creationId="{C8B5D283-1026-D2B6-160F-4DE9D4DED99F}"/>
          </ac:grpSpMkLst>
        </pc:grpChg>
        <pc:grpChg chg="mod">
          <ac:chgData name="Zoe Bartlett" userId="e21de6b6-e593-452b-bd91-3cbef72d0fff" providerId="ADAL" clId="{1F04162A-5CD3-4D8B-96E1-E1CB86B367D1}" dt="2025-10-28T20:33:46.386" v="33" actId="207"/>
          <ac:grpSpMkLst>
            <pc:docMk/>
            <pc:sldMk cId="4255448302" sldId="384"/>
            <ac:grpSpMk id="519" creationId="{5BDAD022-EE80-EB12-3C20-3D82C1CF6E13}"/>
          </ac:grpSpMkLst>
        </pc:grpChg>
      </pc:sldChg>
      <pc:sldChg chg="modSp mod">
        <pc:chgData name="Zoe Bartlett" userId="e21de6b6-e593-452b-bd91-3cbef72d0fff" providerId="ADAL" clId="{1F04162A-5CD3-4D8B-96E1-E1CB86B367D1}" dt="2025-10-28T20:30:57.110" v="11" actId="20577"/>
        <pc:sldMkLst>
          <pc:docMk/>
          <pc:sldMk cId="1293306527" sldId="413"/>
        </pc:sldMkLst>
        <pc:spChg chg="mod">
          <ac:chgData name="Zoe Bartlett" userId="e21de6b6-e593-452b-bd91-3cbef72d0fff" providerId="ADAL" clId="{1F04162A-5CD3-4D8B-96E1-E1CB86B367D1}" dt="2025-10-28T20:30:57.110" v="11" actId="20577"/>
          <ac:spMkLst>
            <pc:docMk/>
            <pc:sldMk cId="1293306527" sldId="413"/>
            <ac:spMk id="34" creationId="{A835B975-DF53-62CF-0625-CBE7F3730429}"/>
          </ac:spMkLst>
        </pc:spChg>
      </pc:sldChg>
      <pc:sldChg chg="modSp mod">
        <pc:chgData name="Zoe Bartlett" userId="e21de6b6-e593-452b-bd91-3cbef72d0fff" providerId="ADAL" clId="{1F04162A-5CD3-4D8B-96E1-E1CB86B367D1}" dt="2025-10-28T20:33:12.446" v="30" actId="207"/>
        <pc:sldMkLst>
          <pc:docMk/>
          <pc:sldMk cId="3515284361" sldId="423"/>
        </pc:sldMkLst>
        <pc:spChg chg="mod">
          <ac:chgData name="Zoe Bartlett" userId="e21de6b6-e593-452b-bd91-3cbef72d0fff" providerId="ADAL" clId="{1F04162A-5CD3-4D8B-96E1-E1CB86B367D1}" dt="2025-10-28T20:33:12.446" v="30" actId="207"/>
          <ac:spMkLst>
            <pc:docMk/>
            <pc:sldMk cId="3515284361" sldId="423"/>
            <ac:spMk id="404" creationId="{F6403701-5570-D2D6-22AB-E45CA745442B}"/>
          </ac:spMkLst>
        </pc:spChg>
      </pc:sldChg>
      <pc:sldChg chg="modSp mod">
        <pc:chgData name="Zoe Bartlett" userId="e21de6b6-e593-452b-bd91-3cbef72d0fff" providerId="ADAL" clId="{1F04162A-5CD3-4D8B-96E1-E1CB86B367D1}" dt="2025-10-28T20:37:43.282" v="47" actId="403"/>
        <pc:sldMkLst>
          <pc:docMk/>
          <pc:sldMk cId="2309973216" sldId="424"/>
        </pc:sldMkLst>
        <pc:spChg chg="mod">
          <ac:chgData name="Zoe Bartlett" userId="e21de6b6-e593-452b-bd91-3cbef72d0fff" providerId="ADAL" clId="{1F04162A-5CD3-4D8B-96E1-E1CB86B367D1}" dt="2025-10-28T20:37:43.282" v="47" actId="403"/>
          <ac:spMkLst>
            <pc:docMk/>
            <pc:sldMk cId="2309973216" sldId="424"/>
            <ac:spMk id="7" creationId="{95D82295-D288-268C-72F8-1D7F40CF2B4F}"/>
          </ac:spMkLst>
        </pc:spChg>
      </pc:sldChg>
      <pc:sldChg chg="modSp mod">
        <pc:chgData name="Zoe Bartlett" userId="e21de6b6-e593-452b-bd91-3cbef72d0fff" providerId="ADAL" clId="{1F04162A-5CD3-4D8B-96E1-E1CB86B367D1}" dt="2025-10-28T20:40:24.652" v="51" actId="20577"/>
        <pc:sldMkLst>
          <pc:docMk/>
          <pc:sldMk cId="4184432681" sldId="436"/>
        </pc:sldMkLst>
        <pc:spChg chg="mod">
          <ac:chgData name="Zoe Bartlett" userId="e21de6b6-e593-452b-bd91-3cbef72d0fff" providerId="ADAL" clId="{1F04162A-5CD3-4D8B-96E1-E1CB86B367D1}" dt="2025-10-28T20:40:24.652" v="51" actId="20577"/>
          <ac:spMkLst>
            <pc:docMk/>
            <pc:sldMk cId="4184432681" sldId="436"/>
            <ac:spMk id="41" creationId="{404E76AC-0F17-B9D8-C598-6281017B64E2}"/>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rgbClr val="5A5A5A"/>
                </a:solidFill>
                <a:latin typeface="+mn-lt"/>
                <a:ea typeface="+mn-ea"/>
                <a:cs typeface="+mn-cs"/>
              </a:defRPr>
            </a:pPr>
            <a:r>
              <a:rPr lang="en-AU" sz="1200" b="1">
                <a:solidFill>
                  <a:srgbClr val="5A5A5A"/>
                </a:solidFill>
              </a:rPr>
              <a:t>PGI-C</a:t>
            </a:r>
          </a:p>
        </c:rich>
      </c:tx>
      <c:layout>
        <c:manualLayout>
          <c:xMode val="edge"/>
          <c:yMode val="edge"/>
          <c:x val="0.276558562992126"/>
          <c:y val="1.8749998846579796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rgbClr val="5A5A5A"/>
              </a:solidFill>
              <a:latin typeface="+mn-lt"/>
              <a:ea typeface="+mn-ea"/>
              <a:cs typeface="+mn-cs"/>
            </a:defRPr>
          </a:pPr>
          <a:endParaRPr lang="en-US"/>
        </a:p>
      </c:txPr>
    </c:title>
    <c:autoTitleDeleted val="0"/>
    <c:plotArea>
      <c:layout>
        <c:manualLayout>
          <c:layoutTarget val="inner"/>
          <c:xMode val="edge"/>
          <c:yMode val="edge"/>
          <c:x val="9.2447957677165349E-2"/>
          <c:y val="0.1032069326275263"/>
          <c:w val="0.43723954232283463"/>
          <c:h val="0.66413843109384652"/>
        </c:manualLayout>
      </c:layout>
      <c:barChart>
        <c:barDir val="col"/>
        <c:grouping val="stacked"/>
        <c:varyColors val="0"/>
        <c:ser>
          <c:idx val="0"/>
          <c:order val="0"/>
          <c:tx>
            <c:strRef>
              <c:f>Sheet1!$B$1</c:f>
              <c:strCache>
                <c:ptCount val="1"/>
                <c:pt idx="0">
                  <c:v>Much better</c:v>
                </c:pt>
              </c:strCache>
            </c:strRef>
          </c:tx>
          <c:spPr>
            <a:solidFill>
              <a:srgbClr val="1A98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B$2:$B$3</c:f>
              <c:numCache>
                <c:formatCode>General</c:formatCode>
                <c:ptCount val="2"/>
                <c:pt idx="0">
                  <c:v>34.799999999999997</c:v>
                </c:pt>
                <c:pt idx="1">
                  <c:v>19</c:v>
                </c:pt>
              </c:numCache>
            </c:numRef>
          </c:val>
          <c:extLst>
            <c:ext xmlns:c16="http://schemas.microsoft.com/office/drawing/2014/chart" uri="{C3380CC4-5D6E-409C-BE32-E72D297353CC}">
              <c16:uniqueId val="{00000000-307E-4D5B-BCBB-C157213169C5}"/>
            </c:ext>
          </c:extLst>
        </c:ser>
        <c:ser>
          <c:idx val="1"/>
          <c:order val="1"/>
          <c:tx>
            <c:strRef>
              <c:f>Sheet1!$C$1</c:f>
              <c:strCache>
                <c:ptCount val="1"/>
                <c:pt idx="0">
                  <c:v>Moderately better</c:v>
                </c:pt>
              </c:strCache>
            </c:strRef>
          </c:tx>
          <c:spPr>
            <a:solidFill>
              <a:srgbClr val="56B45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C$2:$C$3</c:f>
              <c:numCache>
                <c:formatCode>General</c:formatCode>
                <c:ptCount val="2"/>
                <c:pt idx="0">
                  <c:v>19.600000000000001</c:v>
                </c:pt>
                <c:pt idx="1">
                  <c:v>21.4</c:v>
                </c:pt>
              </c:numCache>
            </c:numRef>
          </c:val>
          <c:extLst>
            <c:ext xmlns:c16="http://schemas.microsoft.com/office/drawing/2014/chart" uri="{C3380CC4-5D6E-409C-BE32-E72D297353CC}">
              <c16:uniqueId val="{00000001-307E-4D5B-BCBB-C157213169C5}"/>
            </c:ext>
          </c:extLst>
        </c:ser>
        <c:ser>
          <c:idx val="2"/>
          <c:order val="2"/>
          <c:tx>
            <c:strRef>
              <c:f>Sheet1!$D$1</c:f>
              <c:strCache>
                <c:ptCount val="1"/>
                <c:pt idx="0">
                  <c:v>A little better</c:v>
                </c:pt>
              </c:strCache>
            </c:strRef>
          </c:tx>
          <c:spPr>
            <a:solidFill>
              <a:srgbClr val="D9EF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D$2:$D$3</c:f>
              <c:numCache>
                <c:formatCode>General</c:formatCode>
                <c:ptCount val="2"/>
                <c:pt idx="0">
                  <c:v>17.399999999999999</c:v>
                </c:pt>
                <c:pt idx="1">
                  <c:v>16.7</c:v>
                </c:pt>
              </c:numCache>
            </c:numRef>
          </c:val>
          <c:extLst>
            <c:ext xmlns:c16="http://schemas.microsoft.com/office/drawing/2014/chart" uri="{C3380CC4-5D6E-409C-BE32-E72D297353CC}">
              <c16:uniqueId val="{00000002-307E-4D5B-BCBB-C157213169C5}"/>
            </c:ext>
          </c:extLst>
        </c:ser>
        <c:ser>
          <c:idx val="3"/>
          <c:order val="3"/>
          <c:tx>
            <c:strRef>
              <c:f>Sheet1!$E$1</c:f>
              <c:strCache>
                <c:ptCount val="1"/>
                <c:pt idx="0">
                  <c:v>No change</c:v>
                </c:pt>
              </c:strCache>
            </c:strRef>
          </c:tx>
          <c:spPr>
            <a:solidFill>
              <a:srgbClr val="FFFFB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E$2:$E$3</c:f>
              <c:numCache>
                <c:formatCode>General</c:formatCode>
                <c:ptCount val="2"/>
                <c:pt idx="0">
                  <c:v>15.2</c:v>
                </c:pt>
                <c:pt idx="1">
                  <c:v>21.4</c:v>
                </c:pt>
              </c:numCache>
            </c:numRef>
          </c:val>
          <c:extLst>
            <c:ext xmlns:c16="http://schemas.microsoft.com/office/drawing/2014/chart" uri="{C3380CC4-5D6E-409C-BE32-E72D297353CC}">
              <c16:uniqueId val="{00000003-307E-4D5B-BCBB-C157213169C5}"/>
            </c:ext>
          </c:extLst>
        </c:ser>
        <c:ser>
          <c:idx val="4"/>
          <c:order val="4"/>
          <c:tx>
            <c:strRef>
              <c:f>Sheet1!$F$1</c:f>
              <c:strCache>
                <c:ptCount val="1"/>
                <c:pt idx="0">
                  <c:v>A little worse</c:v>
                </c:pt>
              </c:strCache>
            </c:strRef>
          </c:tx>
          <c:spPr>
            <a:solidFill>
              <a:srgbClr val="FEE0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F$2:$F$3</c:f>
              <c:numCache>
                <c:formatCode>General</c:formatCode>
                <c:ptCount val="2"/>
                <c:pt idx="0">
                  <c:v>4.3</c:v>
                </c:pt>
                <c:pt idx="1">
                  <c:v>7.1</c:v>
                </c:pt>
              </c:numCache>
            </c:numRef>
          </c:val>
          <c:extLst>
            <c:ext xmlns:c16="http://schemas.microsoft.com/office/drawing/2014/chart" uri="{C3380CC4-5D6E-409C-BE32-E72D297353CC}">
              <c16:uniqueId val="{00000004-307E-4D5B-BCBB-C157213169C5}"/>
            </c:ext>
          </c:extLst>
        </c:ser>
        <c:ser>
          <c:idx val="5"/>
          <c:order val="5"/>
          <c:tx>
            <c:strRef>
              <c:f>Sheet1!$G$1</c:f>
              <c:strCache>
                <c:ptCount val="1"/>
                <c:pt idx="0">
                  <c:v>Moderately worse</c:v>
                </c:pt>
              </c:strCache>
            </c:strRef>
          </c:tx>
          <c:spPr>
            <a:solidFill>
              <a:srgbClr val="FC8D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G$2:$G$3</c:f>
              <c:numCache>
                <c:formatCode>General</c:formatCode>
                <c:ptCount val="2"/>
                <c:pt idx="0">
                  <c:v>4.3</c:v>
                </c:pt>
                <c:pt idx="1">
                  <c:v>7.1</c:v>
                </c:pt>
              </c:numCache>
            </c:numRef>
          </c:val>
          <c:extLst>
            <c:ext xmlns:c16="http://schemas.microsoft.com/office/drawing/2014/chart" uri="{C3380CC4-5D6E-409C-BE32-E72D297353CC}">
              <c16:uniqueId val="{00000005-307E-4D5B-BCBB-C157213169C5}"/>
            </c:ext>
          </c:extLst>
        </c:ser>
        <c:ser>
          <c:idx val="6"/>
          <c:order val="6"/>
          <c:tx>
            <c:strRef>
              <c:f>Sheet1!$H$1</c:f>
              <c:strCache>
                <c:ptCount val="1"/>
                <c:pt idx="0">
                  <c:v>Much worse</c:v>
                </c:pt>
              </c:strCache>
            </c:strRef>
          </c:tx>
          <c:spPr>
            <a:solidFill>
              <a:srgbClr val="D7302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H$2:$H$3</c:f>
              <c:numCache>
                <c:formatCode>General</c:formatCode>
                <c:ptCount val="2"/>
                <c:pt idx="0">
                  <c:v>4.3</c:v>
                </c:pt>
                <c:pt idx="1">
                  <c:v>7.1</c:v>
                </c:pt>
              </c:numCache>
            </c:numRef>
          </c:val>
          <c:extLst>
            <c:ext xmlns:c16="http://schemas.microsoft.com/office/drawing/2014/chart" uri="{C3380CC4-5D6E-409C-BE32-E72D297353CC}">
              <c16:uniqueId val="{00000006-307E-4D5B-BCBB-C157213169C5}"/>
            </c:ext>
          </c:extLst>
        </c:ser>
        <c:dLbls>
          <c:dLblPos val="ctr"/>
          <c:showLegendKey val="0"/>
          <c:showVal val="1"/>
          <c:showCatName val="0"/>
          <c:showSerName val="0"/>
          <c:showPercent val="0"/>
          <c:showBubbleSize val="0"/>
        </c:dLbls>
        <c:gapWidth val="25"/>
        <c:overlap val="100"/>
        <c:axId val="1719192159"/>
        <c:axId val="1719189759"/>
      </c:barChart>
      <c:catAx>
        <c:axId val="171919215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rgbClr val="5A5A5A"/>
                </a:solidFill>
                <a:latin typeface="+mn-lt"/>
                <a:ea typeface="+mn-ea"/>
                <a:cs typeface="+mn-cs"/>
              </a:defRPr>
            </a:pPr>
            <a:endParaRPr lang="en-US"/>
          </a:p>
        </c:txPr>
        <c:crossAx val="1719189759"/>
        <c:crosses val="autoZero"/>
        <c:auto val="1"/>
        <c:lblAlgn val="ctr"/>
        <c:lblOffset val="100"/>
        <c:noMultiLvlLbl val="0"/>
      </c:catAx>
      <c:valAx>
        <c:axId val="1719189759"/>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rgbClr val="5A5A5A"/>
                    </a:solidFill>
                    <a:latin typeface="+mn-lt"/>
                    <a:ea typeface="+mn-ea"/>
                    <a:cs typeface="+mn-cs"/>
                  </a:defRPr>
                </a:pPr>
                <a:r>
                  <a:rPr lang="en-AU" sz="1200" b="1">
                    <a:solidFill>
                      <a:srgbClr val="5A5A5A"/>
                    </a:solidFill>
                  </a:rPr>
                  <a:t>Percentage of Participants With PGI-C Categories</a:t>
                </a:r>
              </a:p>
            </c:rich>
          </c:tx>
          <c:layout>
            <c:manualLayout>
              <c:xMode val="edge"/>
              <c:yMode val="edge"/>
              <c:x val="0"/>
              <c:y val="7.3321690828371242E-2"/>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rgbClr val="5A5A5A"/>
                  </a:solidFill>
                  <a:latin typeface="+mn-lt"/>
                  <a:ea typeface="+mn-ea"/>
                  <a:cs typeface="+mn-cs"/>
                </a:defRPr>
              </a:pPr>
              <a:endParaRPr lang="en-US"/>
            </a:p>
          </c:txPr>
        </c:title>
        <c:numFmt formatCode="General"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1719192159"/>
        <c:crosses val="autoZero"/>
        <c:crossBetween val="between"/>
        <c:majorUnit val="10"/>
      </c:valAx>
      <c:spPr>
        <a:noFill/>
        <a:ln w="25400">
          <a:noFill/>
        </a:ln>
        <a:effectLst/>
      </c:spPr>
    </c:plotArea>
    <c:legend>
      <c:legendPos val="b"/>
      <c:layout>
        <c:manualLayout>
          <c:xMode val="edge"/>
          <c:yMode val="edge"/>
          <c:x val="4.6642502833955476E-2"/>
          <c:y val="0.90290382309003303"/>
          <c:w val="0.95335752952755903"/>
          <c:h val="9.240870494533065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rgbClr val="5A5A5A"/>
                </a:solidFill>
                <a:latin typeface="+mn-lt"/>
                <a:ea typeface="+mn-ea"/>
                <a:cs typeface="+mn-cs"/>
              </a:defRPr>
            </a:pPr>
            <a:r>
              <a:rPr lang="en-AU" sz="1200" b="1">
                <a:solidFill>
                  <a:srgbClr val="5A5A5A"/>
                </a:solidFill>
              </a:rPr>
              <a:t>CGI-C</a:t>
            </a:r>
          </a:p>
        </c:rich>
      </c:tx>
      <c:layout>
        <c:manualLayout>
          <c:xMode val="edge"/>
          <c:yMode val="edge"/>
          <c:x val="0.27499606299212598"/>
          <c:y val="1.8749998846579796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rgbClr val="5A5A5A"/>
              </a:solidFill>
              <a:latin typeface="+mn-lt"/>
              <a:ea typeface="+mn-ea"/>
              <a:cs typeface="+mn-cs"/>
            </a:defRPr>
          </a:pPr>
          <a:endParaRPr lang="en-US"/>
        </a:p>
      </c:txPr>
    </c:title>
    <c:autoTitleDeleted val="0"/>
    <c:plotArea>
      <c:layout>
        <c:manualLayout>
          <c:layoutTarget val="inner"/>
          <c:xMode val="edge"/>
          <c:yMode val="edge"/>
          <c:x val="9.2447957677165349E-2"/>
          <c:y val="0.1032069326275263"/>
          <c:w val="0.43723954232283463"/>
          <c:h val="0.66413843109384652"/>
        </c:manualLayout>
      </c:layout>
      <c:barChart>
        <c:barDir val="col"/>
        <c:grouping val="stacked"/>
        <c:varyColors val="0"/>
        <c:ser>
          <c:idx val="0"/>
          <c:order val="0"/>
          <c:tx>
            <c:strRef>
              <c:f>Sheet1!$B$1</c:f>
              <c:strCache>
                <c:ptCount val="1"/>
                <c:pt idx="0">
                  <c:v>Much better</c:v>
                </c:pt>
              </c:strCache>
            </c:strRef>
          </c:tx>
          <c:spPr>
            <a:solidFill>
              <a:srgbClr val="1A98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B$2:$B$3</c:f>
              <c:numCache>
                <c:formatCode>General</c:formatCode>
                <c:ptCount val="2"/>
                <c:pt idx="0">
                  <c:v>30.4</c:v>
                </c:pt>
                <c:pt idx="1">
                  <c:v>16.7</c:v>
                </c:pt>
              </c:numCache>
            </c:numRef>
          </c:val>
          <c:extLst>
            <c:ext xmlns:c16="http://schemas.microsoft.com/office/drawing/2014/chart" uri="{C3380CC4-5D6E-409C-BE32-E72D297353CC}">
              <c16:uniqueId val="{00000000-BBE1-418B-A3A9-38DDFDAAC750}"/>
            </c:ext>
          </c:extLst>
        </c:ser>
        <c:ser>
          <c:idx val="1"/>
          <c:order val="1"/>
          <c:tx>
            <c:strRef>
              <c:f>Sheet1!$C$1</c:f>
              <c:strCache>
                <c:ptCount val="1"/>
                <c:pt idx="0">
                  <c:v>Moderately better</c:v>
                </c:pt>
              </c:strCache>
            </c:strRef>
          </c:tx>
          <c:spPr>
            <a:solidFill>
              <a:srgbClr val="56B45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C$2:$C$3</c:f>
              <c:numCache>
                <c:formatCode>General</c:formatCode>
                <c:ptCount val="2"/>
                <c:pt idx="0">
                  <c:v>30.4</c:v>
                </c:pt>
                <c:pt idx="1">
                  <c:v>21.4</c:v>
                </c:pt>
              </c:numCache>
            </c:numRef>
          </c:val>
          <c:extLst>
            <c:ext xmlns:c16="http://schemas.microsoft.com/office/drawing/2014/chart" uri="{C3380CC4-5D6E-409C-BE32-E72D297353CC}">
              <c16:uniqueId val="{00000001-BBE1-418B-A3A9-38DDFDAAC750}"/>
            </c:ext>
          </c:extLst>
        </c:ser>
        <c:ser>
          <c:idx val="2"/>
          <c:order val="2"/>
          <c:tx>
            <c:strRef>
              <c:f>Sheet1!$D$1</c:f>
              <c:strCache>
                <c:ptCount val="1"/>
                <c:pt idx="0">
                  <c:v>A little better</c:v>
                </c:pt>
              </c:strCache>
            </c:strRef>
          </c:tx>
          <c:spPr>
            <a:solidFill>
              <a:srgbClr val="D9EF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D$2:$D$3</c:f>
              <c:numCache>
                <c:formatCode>General</c:formatCode>
                <c:ptCount val="2"/>
                <c:pt idx="0">
                  <c:v>15.2</c:v>
                </c:pt>
                <c:pt idx="1">
                  <c:v>19</c:v>
                </c:pt>
              </c:numCache>
            </c:numRef>
          </c:val>
          <c:extLst>
            <c:ext xmlns:c16="http://schemas.microsoft.com/office/drawing/2014/chart" uri="{C3380CC4-5D6E-409C-BE32-E72D297353CC}">
              <c16:uniqueId val="{00000002-BBE1-418B-A3A9-38DDFDAAC750}"/>
            </c:ext>
          </c:extLst>
        </c:ser>
        <c:ser>
          <c:idx val="3"/>
          <c:order val="3"/>
          <c:tx>
            <c:strRef>
              <c:f>Sheet1!$E$1</c:f>
              <c:strCache>
                <c:ptCount val="1"/>
                <c:pt idx="0">
                  <c:v>No change</c:v>
                </c:pt>
              </c:strCache>
            </c:strRef>
          </c:tx>
          <c:spPr>
            <a:solidFill>
              <a:srgbClr val="FFFFB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E$2:$E$3</c:f>
              <c:numCache>
                <c:formatCode>General</c:formatCode>
                <c:ptCount val="2"/>
                <c:pt idx="0">
                  <c:v>13</c:v>
                </c:pt>
                <c:pt idx="1">
                  <c:v>16.7</c:v>
                </c:pt>
              </c:numCache>
            </c:numRef>
          </c:val>
          <c:extLst>
            <c:ext xmlns:c16="http://schemas.microsoft.com/office/drawing/2014/chart" uri="{C3380CC4-5D6E-409C-BE32-E72D297353CC}">
              <c16:uniqueId val="{00000003-BBE1-418B-A3A9-38DDFDAAC750}"/>
            </c:ext>
          </c:extLst>
        </c:ser>
        <c:ser>
          <c:idx val="4"/>
          <c:order val="4"/>
          <c:tx>
            <c:strRef>
              <c:f>Sheet1!$F$1</c:f>
              <c:strCache>
                <c:ptCount val="1"/>
                <c:pt idx="0">
                  <c:v>A little worse</c:v>
                </c:pt>
              </c:strCache>
            </c:strRef>
          </c:tx>
          <c:spPr>
            <a:solidFill>
              <a:srgbClr val="FEE0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F$2:$F$3</c:f>
              <c:numCache>
                <c:formatCode>General</c:formatCode>
                <c:ptCount val="2"/>
                <c:pt idx="0">
                  <c:v>8.6999999999999993</c:v>
                </c:pt>
                <c:pt idx="1">
                  <c:v>11.9</c:v>
                </c:pt>
              </c:numCache>
            </c:numRef>
          </c:val>
          <c:extLst>
            <c:ext xmlns:c16="http://schemas.microsoft.com/office/drawing/2014/chart" uri="{C3380CC4-5D6E-409C-BE32-E72D297353CC}">
              <c16:uniqueId val="{00000004-BBE1-418B-A3A9-38DDFDAAC750}"/>
            </c:ext>
          </c:extLst>
        </c:ser>
        <c:ser>
          <c:idx val="5"/>
          <c:order val="5"/>
          <c:tx>
            <c:strRef>
              <c:f>Sheet1!$G$1</c:f>
              <c:strCache>
                <c:ptCount val="1"/>
                <c:pt idx="0">
                  <c:v>Moderately worse</c:v>
                </c:pt>
              </c:strCache>
            </c:strRef>
          </c:tx>
          <c:spPr>
            <a:solidFill>
              <a:srgbClr val="FC8D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G$2:$G$3</c:f>
              <c:numCache>
                <c:formatCode>General</c:formatCode>
                <c:ptCount val="2"/>
                <c:pt idx="0">
                  <c:v>2.2000000000000002</c:v>
                </c:pt>
                <c:pt idx="1">
                  <c:v>9.5</c:v>
                </c:pt>
              </c:numCache>
            </c:numRef>
          </c:val>
          <c:extLst>
            <c:ext xmlns:c16="http://schemas.microsoft.com/office/drawing/2014/chart" uri="{C3380CC4-5D6E-409C-BE32-E72D297353CC}">
              <c16:uniqueId val="{00000005-BBE1-418B-A3A9-38DDFDAAC750}"/>
            </c:ext>
          </c:extLst>
        </c:ser>
        <c:ser>
          <c:idx val="6"/>
          <c:order val="6"/>
          <c:tx>
            <c:strRef>
              <c:f>Sheet1!$H$1</c:f>
              <c:strCache>
                <c:ptCount val="1"/>
                <c:pt idx="0">
                  <c:v>Much worse</c:v>
                </c:pt>
              </c:strCache>
            </c:strRef>
          </c:tx>
          <c:spPr>
            <a:solidFill>
              <a:srgbClr val="D73027"/>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BBE1-418B-A3A9-38DDFDAAC75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H$2:$H$3</c:f>
              <c:numCache>
                <c:formatCode>General</c:formatCode>
                <c:ptCount val="2"/>
                <c:pt idx="1">
                  <c:v>4.8</c:v>
                </c:pt>
              </c:numCache>
            </c:numRef>
          </c:val>
          <c:extLst>
            <c:ext xmlns:c16="http://schemas.microsoft.com/office/drawing/2014/chart" uri="{C3380CC4-5D6E-409C-BE32-E72D297353CC}">
              <c16:uniqueId val="{00000007-BBE1-418B-A3A9-38DDFDAAC750}"/>
            </c:ext>
          </c:extLst>
        </c:ser>
        <c:dLbls>
          <c:dLblPos val="ctr"/>
          <c:showLegendKey val="0"/>
          <c:showVal val="1"/>
          <c:showCatName val="0"/>
          <c:showSerName val="0"/>
          <c:showPercent val="0"/>
          <c:showBubbleSize val="0"/>
        </c:dLbls>
        <c:gapWidth val="25"/>
        <c:overlap val="100"/>
        <c:axId val="1719192159"/>
        <c:axId val="1719189759"/>
      </c:barChart>
      <c:catAx>
        <c:axId val="171919215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rgbClr val="5A5A5A"/>
                </a:solidFill>
                <a:latin typeface="+mn-lt"/>
                <a:ea typeface="+mn-ea"/>
                <a:cs typeface="+mn-cs"/>
              </a:defRPr>
            </a:pPr>
            <a:endParaRPr lang="en-US"/>
          </a:p>
        </c:txPr>
        <c:crossAx val="1719189759"/>
        <c:crosses val="autoZero"/>
        <c:auto val="1"/>
        <c:lblAlgn val="ctr"/>
        <c:lblOffset val="100"/>
        <c:noMultiLvlLbl val="0"/>
      </c:catAx>
      <c:valAx>
        <c:axId val="1719189759"/>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rgbClr val="5A5A5A"/>
                    </a:solidFill>
                    <a:latin typeface="+mn-lt"/>
                    <a:ea typeface="+mn-ea"/>
                    <a:cs typeface="+mn-cs"/>
                  </a:defRPr>
                </a:pPr>
                <a:r>
                  <a:rPr lang="en-AU" sz="1200" b="1">
                    <a:solidFill>
                      <a:srgbClr val="5A5A5A"/>
                    </a:solidFill>
                  </a:rPr>
                  <a:t>Percentage of Participants With CGI-C Categories</a:t>
                </a:r>
              </a:p>
            </c:rich>
          </c:tx>
          <c:layout>
            <c:manualLayout>
              <c:xMode val="edge"/>
              <c:yMode val="edge"/>
              <c:x val="3.1249318587236214E-3"/>
              <c:y val="6.7977360237338788E-2"/>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rgbClr val="5A5A5A"/>
                  </a:solidFill>
                  <a:latin typeface="+mn-lt"/>
                  <a:ea typeface="+mn-ea"/>
                  <a:cs typeface="+mn-cs"/>
                </a:defRPr>
              </a:pPr>
              <a:endParaRPr lang="en-US"/>
            </a:p>
          </c:txPr>
        </c:title>
        <c:numFmt formatCode="General"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1719192159"/>
        <c:crosses val="autoZero"/>
        <c:crossBetween val="between"/>
        <c:majorUnit val="10"/>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76045767716535"/>
          <c:y val="0.10555068248334877"/>
          <c:w val="0.56601729992600114"/>
          <c:h val="0.75613937208830617"/>
        </c:manualLayout>
      </c:layout>
      <c:barChart>
        <c:barDir val="col"/>
        <c:grouping val="stacked"/>
        <c:varyColors val="0"/>
        <c:ser>
          <c:idx val="0"/>
          <c:order val="0"/>
          <c:tx>
            <c:strRef>
              <c:f>Sheet1!$B$1</c:f>
              <c:strCache>
                <c:ptCount val="1"/>
                <c:pt idx="0">
                  <c:v>MDGA</c:v>
                </c:pt>
              </c:strCache>
            </c:strRef>
          </c:tx>
          <c:spPr>
            <a:solidFill>
              <a:srgbClr val="7C95C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B$2:$B$3</c:f>
              <c:numCache>
                <c:formatCode>General</c:formatCode>
                <c:ptCount val="2"/>
                <c:pt idx="0">
                  <c:v>14.9</c:v>
                </c:pt>
                <c:pt idx="1">
                  <c:v>11.9</c:v>
                </c:pt>
              </c:numCache>
            </c:numRef>
          </c:val>
          <c:extLst>
            <c:ext xmlns:c16="http://schemas.microsoft.com/office/drawing/2014/chart" uri="{C3380CC4-5D6E-409C-BE32-E72D297353CC}">
              <c16:uniqueId val="{00000000-54EA-4F29-8BD4-FB90BE1ADE93}"/>
            </c:ext>
          </c:extLst>
        </c:ser>
        <c:ser>
          <c:idx val="1"/>
          <c:order val="1"/>
          <c:tx>
            <c:strRef>
              <c:f>Sheet1!$C$1</c:f>
              <c:strCache>
                <c:ptCount val="1"/>
                <c:pt idx="0">
                  <c:v>PGA</c:v>
                </c:pt>
              </c:strCache>
            </c:strRef>
          </c:tx>
          <c:spPr>
            <a:solidFill>
              <a:srgbClr val="DE7E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C$2:$C$3</c:f>
              <c:numCache>
                <c:formatCode>General</c:formatCode>
                <c:ptCount val="2"/>
                <c:pt idx="0">
                  <c:v>5.7</c:v>
                </c:pt>
                <c:pt idx="1">
                  <c:v>2.4</c:v>
                </c:pt>
              </c:numCache>
            </c:numRef>
          </c:val>
          <c:extLst>
            <c:ext xmlns:c16="http://schemas.microsoft.com/office/drawing/2014/chart" uri="{C3380CC4-5D6E-409C-BE32-E72D297353CC}">
              <c16:uniqueId val="{00000001-54EA-4F29-8BD4-FB90BE1ADE93}"/>
            </c:ext>
          </c:extLst>
        </c:ser>
        <c:ser>
          <c:idx val="2"/>
          <c:order val="2"/>
          <c:tx>
            <c:strRef>
              <c:f>Sheet1!$D$1</c:f>
              <c:strCache>
                <c:ptCount val="1"/>
                <c:pt idx="0">
                  <c:v>MMT8</c:v>
                </c:pt>
              </c:strCache>
            </c:strRef>
          </c:tx>
          <c:spPr>
            <a:solidFill>
              <a:srgbClr val="66A5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D$2:$D$3</c:f>
              <c:numCache>
                <c:formatCode>General</c:formatCode>
                <c:ptCount val="2"/>
                <c:pt idx="0">
                  <c:v>14.6</c:v>
                </c:pt>
                <c:pt idx="1">
                  <c:v>9.9</c:v>
                </c:pt>
              </c:numCache>
            </c:numRef>
          </c:val>
          <c:extLst>
            <c:ext xmlns:c16="http://schemas.microsoft.com/office/drawing/2014/chart" uri="{C3380CC4-5D6E-409C-BE32-E72D297353CC}">
              <c16:uniqueId val="{00000002-54EA-4F29-8BD4-FB90BE1ADE93}"/>
            </c:ext>
          </c:extLst>
        </c:ser>
        <c:ser>
          <c:idx val="3"/>
          <c:order val="3"/>
          <c:tx>
            <c:strRef>
              <c:f>Sheet1!$E$1</c:f>
              <c:strCache>
                <c:ptCount val="1"/>
                <c:pt idx="0">
                  <c:v>HAQ-DI</c:v>
                </c:pt>
              </c:strCache>
            </c:strRef>
          </c:tx>
          <c:spPr>
            <a:solidFill>
              <a:srgbClr val="A9865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E$2:$E$3</c:f>
              <c:numCache>
                <c:formatCode>General</c:formatCode>
                <c:ptCount val="2"/>
                <c:pt idx="0" formatCode="0.0">
                  <c:v>4</c:v>
                </c:pt>
                <c:pt idx="1">
                  <c:v>3.5</c:v>
                </c:pt>
              </c:numCache>
            </c:numRef>
          </c:val>
          <c:extLst>
            <c:ext xmlns:c16="http://schemas.microsoft.com/office/drawing/2014/chart" uri="{C3380CC4-5D6E-409C-BE32-E72D297353CC}">
              <c16:uniqueId val="{00000003-54EA-4F29-8BD4-FB90BE1ADE93}"/>
            </c:ext>
          </c:extLst>
        </c:ser>
        <c:ser>
          <c:idx val="4"/>
          <c:order val="4"/>
          <c:tx>
            <c:strRef>
              <c:f>Sheet1!$F$1</c:f>
              <c:strCache>
                <c:ptCount val="1"/>
                <c:pt idx="0">
                  <c:v>Most abnormal muscle enzyme</c:v>
                </c:pt>
              </c:strCache>
            </c:strRef>
          </c:tx>
          <c:spPr>
            <a:solidFill>
              <a:srgbClr val="B689C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F$2:$F$3</c:f>
              <c:numCache>
                <c:formatCode>General</c:formatCode>
                <c:ptCount val="2"/>
                <c:pt idx="0" formatCode="0.0">
                  <c:v>3.3</c:v>
                </c:pt>
                <c:pt idx="1">
                  <c:v>2.7</c:v>
                </c:pt>
              </c:numCache>
            </c:numRef>
          </c:val>
          <c:extLst>
            <c:ext xmlns:c16="http://schemas.microsoft.com/office/drawing/2014/chart" uri="{C3380CC4-5D6E-409C-BE32-E72D297353CC}">
              <c16:uniqueId val="{00000004-54EA-4F29-8BD4-FB90BE1ADE93}"/>
            </c:ext>
          </c:extLst>
        </c:ser>
        <c:ser>
          <c:idx val="5"/>
          <c:order val="5"/>
          <c:tx>
            <c:strRef>
              <c:f>Sheet1!$G$1</c:f>
              <c:strCache>
                <c:ptCount val="1"/>
                <c:pt idx="0">
                  <c:v>MDAAT</c:v>
                </c:pt>
              </c:strCache>
            </c:strRef>
          </c:tx>
          <c:spPr>
            <a:solidFill>
              <a:srgbClr val="BABC5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G$2:$G$3</c:f>
              <c:numCache>
                <c:formatCode>General</c:formatCode>
                <c:ptCount val="2"/>
                <c:pt idx="0" formatCode="0.0">
                  <c:v>7</c:v>
                </c:pt>
                <c:pt idx="1">
                  <c:v>4.8</c:v>
                </c:pt>
              </c:numCache>
            </c:numRef>
          </c:val>
          <c:extLst>
            <c:ext xmlns:c16="http://schemas.microsoft.com/office/drawing/2014/chart" uri="{C3380CC4-5D6E-409C-BE32-E72D297353CC}">
              <c16:uniqueId val="{00000005-54EA-4F29-8BD4-FB90BE1ADE93}"/>
            </c:ext>
          </c:extLst>
        </c:ser>
        <c:ser>
          <c:idx val="6"/>
          <c:order val="6"/>
          <c:tx>
            <c:strRef>
              <c:f>Sheet1!$H$1</c:f>
              <c:strCache>
                <c:ptCount val="1"/>
                <c:pt idx="0">
                  <c:v>Column1</c:v>
                </c:pt>
              </c:strCache>
            </c:strRef>
          </c:tx>
          <c:spPr>
            <a:solidFill>
              <a:srgbClr val="94BDE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fgartigimod PH20 SC 
(N=47)</c:v>
                </c:pt>
                <c:pt idx="1">
                  <c:v>Placebo PH20 SC 
(N=42)</c:v>
                </c:pt>
              </c:strCache>
            </c:strRef>
          </c:cat>
          <c:val>
            <c:numRef>
              <c:f>Sheet1!$H$2:$H$3</c:f>
              <c:numCache>
                <c:formatCode>General</c:formatCode>
                <c:ptCount val="2"/>
              </c:numCache>
            </c:numRef>
          </c:val>
          <c:extLst>
            <c:ext xmlns:c16="http://schemas.microsoft.com/office/drawing/2014/chart" uri="{C3380CC4-5D6E-409C-BE32-E72D297353CC}">
              <c16:uniqueId val="{00000006-54EA-4F29-8BD4-FB90BE1ADE93}"/>
            </c:ext>
          </c:extLst>
        </c:ser>
        <c:dLbls>
          <c:dLblPos val="ctr"/>
          <c:showLegendKey val="0"/>
          <c:showVal val="1"/>
          <c:showCatName val="0"/>
          <c:showSerName val="0"/>
          <c:showPercent val="0"/>
          <c:showBubbleSize val="0"/>
        </c:dLbls>
        <c:gapWidth val="25"/>
        <c:overlap val="100"/>
        <c:axId val="1719192159"/>
        <c:axId val="1719189759"/>
      </c:barChart>
      <c:catAx>
        <c:axId val="171919215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rgbClr val="5A5A5A"/>
                </a:solidFill>
                <a:latin typeface="+mn-lt"/>
                <a:ea typeface="+mn-ea"/>
                <a:cs typeface="+mn-cs"/>
              </a:defRPr>
            </a:pPr>
            <a:endParaRPr lang="en-US"/>
          </a:p>
        </c:txPr>
        <c:crossAx val="1719189759"/>
        <c:crosses val="autoZero"/>
        <c:auto val="1"/>
        <c:lblAlgn val="ctr"/>
        <c:lblOffset val="100"/>
        <c:noMultiLvlLbl val="0"/>
      </c:catAx>
      <c:valAx>
        <c:axId val="1719189759"/>
        <c:scaling>
          <c:orientation val="minMax"/>
          <c:max val="50"/>
        </c:scaling>
        <c:delete val="0"/>
        <c:axPos val="l"/>
        <c:title>
          <c:tx>
            <c:rich>
              <a:bodyPr rot="-5400000" spcFirstLastPara="1" vertOverflow="ellipsis" vert="horz" wrap="square" anchor="ctr" anchorCtr="1"/>
              <a:lstStyle/>
              <a:p>
                <a:pPr>
                  <a:defRPr sz="1200" b="1" i="0" u="none" strike="noStrike" kern="1200" baseline="0">
                    <a:solidFill>
                      <a:srgbClr val="5A5A5A"/>
                    </a:solidFill>
                    <a:latin typeface="+mn-lt"/>
                    <a:ea typeface="+mn-ea"/>
                    <a:cs typeface="+mn-cs"/>
                  </a:defRPr>
                </a:pPr>
                <a:r>
                  <a:rPr lang="en-AU" sz="1200" b="1">
                    <a:solidFill>
                      <a:srgbClr val="5A5A5A"/>
                    </a:solidFill>
                  </a:rPr>
                  <a:t>Mean</a:t>
                </a:r>
                <a:r>
                  <a:rPr lang="en-AU" sz="1200" b="1" baseline="0">
                    <a:solidFill>
                      <a:srgbClr val="5A5A5A"/>
                    </a:solidFill>
                  </a:rPr>
                  <a:t> </a:t>
                </a:r>
                <a:r>
                  <a:rPr lang="en-AU" sz="1200" b="1">
                    <a:solidFill>
                      <a:srgbClr val="5A5A5A"/>
                    </a:solidFill>
                  </a:rPr>
                  <a:t>TIS at Week 24</a:t>
                </a:r>
              </a:p>
            </c:rich>
          </c:tx>
          <c:layout>
            <c:manualLayout>
              <c:xMode val="edge"/>
              <c:yMode val="edge"/>
              <c:x val="6.0878361849571357E-2"/>
              <c:y val="0.35453431206158725"/>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rgbClr val="5A5A5A"/>
                  </a:solidFill>
                  <a:latin typeface="+mn-lt"/>
                  <a:ea typeface="+mn-ea"/>
                  <a:cs typeface="+mn-cs"/>
                </a:defRPr>
              </a:pPr>
              <a:endParaRPr lang="en-US"/>
            </a:p>
          </c:txPr>
        </c:title>
        <c:numFmt formatCode="General" sourceLinked="1"/>
        <c:majorTickMark val="out"/>
        <c:minorTickMark val="none"/>
        <c:tickLblPos val="nextTo"/>
        <c:spPr>
          <a:noFill/>
          <a:ln>
            <a:solidFill>
              <a:srgbClr val="002060"/>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719192159"/>
        <c:crosses val="autoZero"/>
        <c:crossBetween val="between"/>
        <c:majorUnit val="10"/>
      </c:valAx>
      <c:spPr>
        <a:noFill/>
        <a:ln w="25400">
          <a:noFill/>
        </a:ln>
        <a:effectLst/>
      </c:spPr>
    </c:plotArea>
    <c:legend>
      <c:legendPos val="r"/>
      <c:legendEntry>
        <c:idx val="0"/>
        <c:delete val="1"/>
      </c:legendEntry>
      <c:layout>
        <c:manualLayout>
          <c:xMode val="edge"/>
          <c:yMode val="edge"/>
          <c:x val="0.73249293863679976"/>
          <c:y val="0.42782928293384787"/>
          <c:w val="0.26713343907240633"/>
          <c:h val="0.3207881831770486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323634D-F2DA-3B5F-A0A3-52DB83A69EF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BEA8AB6-A2A7-4445-0BDB-37583E89A25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A33E856-D453-2546-A65F-8E7B3C28B6A8}" type="datetimeFigureOut">
              <a:rPr lang="en-US" smtClean="0"/>
              <a:t>10/28/2025</a:t>
            </a:fld>
            <a:endParaRPr lang="en-US"/>
          </a:p>
        </p:txBody>
      </p:sp>
      <p:sp>
        <p:nvSpPr>
          <p:cNvPr id="4" name="Footer Placeholder 3">
            <a:extLst>
              <a:ext uri="{FF2B5EF4-FFF2-40B4-BE49-F238E27FC236}">
                <a16:creationId xmlns:a16="http://schemas.microsoft.com/office/drawing/2014/main" id="{9941919B-85FD-7866-CF01-03E001C2D16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42A8218-4C78-9777-AAB0-9AB1145ED73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C15A8AD-1387-6B4B-AB96-5BDA384C72DF}" type="slidenum">
              <a:rPr lang="en-US" smtClean="0"/>
              <a:t>‹#›</a:t>
            </a:fld>
            <a:endParaRPr lang="en-US"/>
          </a:p>
        </p:txBody>
      </p:sp>
    </p:spTree>
    <p:extLst>
      <p:ext uri="{BB962C8B-B14F-4D97-AF65-F5344CB8AC3E}">
        <p14:creationId xmlns:p14="http://schemas.microsoft.com/office/powerpoint/2010/main" val="26076242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4DCCB2-4478-456F-B501-EB96BEACE656}" type="datetimeFigureOut">
              <a:rPr lang="en-GB" smtClean="0"/>
              <a:t>28/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1C1DE5-BCE7-4049-B089-E4E7DE73F05F}" type="slidenum">
              <a:rPr lang="en-GB" smtClean="0"/>
              <a:t>‹#›</a:t>
            </a:fld>
            <a:endParaRPr lang="en-GB"/>
          </a:p>
        </p:txBody>
      </p:sp>
    </p:spTree>
    <p:extLst>
      <p:ext uri="{BB962C8B-B14F-4D97-AF65-F5344CB8AC3E}">
        <p14:creationId xmlns:p14="http://schemas.microsoft.com/office/powerpoint/2010/main" val="3754886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1C1DE5-BCE7-4049-B089-E4E7DE73F05F}" type="slidenum">
              <a:rPr lang="en-GB" smtClean="0"/>
              <a:t>1</a:t>
            </a:fld>
            <a:endParaRPr lang="en-GB"/>
          </a:p>
        </p:txBody>
      </p:sp>
    </p:spTree>
    <p:extLst>
      <p:ext uri="{BB962C8B-B14F-4D97-AF65-F5344CB8AC3E}">
        <p14:creationId xmlns:p14="http://schemas.microsoft.com/office/powerpoint/2010/main" val="24427765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62B22-467C-7DD9-61A6-EBAA17BAE9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00F091-71F3-A487-269B-963258D477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48800C-520B-9497-B144-04A75088BB62}"/>
              </a:ext>
            </a:extLst>
          </p:cNvPr>
          <p:cNvSpPr>
            <a:spLocks noGrp="1"/>
          </p:cNvSpPr>
          <p:nvPr>
            <p:ph type="body" idx="1"/>
          </p:nvPr>
        </p:nvSpPr>
        <p:spPr/>
        <p:txBody>
          <a:bodyPr/>
          <a:lstStyle/>
          <a:p>
            <a:r>
              <a:rPr lang="en-AU"/>
              <a:t>Talking points:</a:t>
            </a:r>
          </a:p>
          <a:p>
            <a:pPr marL="171450" indent="-171450">
              <a:buFont typeface="Arial" panose="020B0604020202020204" pitchFamily="34" charset="0"/>
              <a:buChar char="•"/>
            </a:pPr>
            <a:r>
              <a:rPr lang="en-GB"/>
              <a:t>More participants on efgartigimod reached TIS ≥20, ≥40, and ≥60 vs placebo.</a:t>
            </a:r>
          </a:p>
          <a:p>
            <a:pPr marL="171450" indent="-171450">
              <a:buFont typeface="Arial" panose="020B0604020202020204" pitchFamily="34" charset="0"/>
              <a:buChar char="•"/>
            </a:pPr>
            <a:r>
              <a:rPr lang="en-GB"/>
              <a:t>This reflects higher rates of mild, moderate, and major clinical improvement.</a:t>
            </a:r>
          </a:p>
          <a:p>
            <a:pPr marL="171450" indent="-171450">
              <a:buFont typeface="Arial" panose="020B0604020202020204" pitchFamily="34" charset="0"/>
              <a:buChar char="•"/>
            </a:pPr>
            <a:r>
              <a:rPr lang="en-GB"/>
              <a:t>Graph highlights consistent benefit across response thresholds.</a:t>
            </a:r>
          </a:p>
          <a:p>
            <a:pPr marL="0" indent="0">
              <a:buFont typeface="Arial" panose="020B0604020202020204" pitchFamily="34" charset="0"/>
              <a:buNone/>
            </a:pPr>
            <a:endParaRPr lang="en-GB"/>
          </a:p>
          <a:p>
            <a:pPr marL="171450" indent="-171450">
              <a:buFont typeface="Arial" panose="020B0604020202020204" pitchFamily="34" charset="0"/>
              <a:buChar char="•"/>
            </a:pPr>
            <a:r>
              <a:rPr lang="en-US" i="0">
                <a:ea typeface="Calibri"/>
                <a:cs typeface="Calibri"/>
              </a:rPr>
              <a:t>Efgartigimod led to faster clinical improvement vs placebo.</a:t>
            </a:r>
          </a:p>
          <a:p>
            <a:pPr marL="171450" indent="-171450">
              <a:buFont typeface="Arial" panose="020B0604020202020204" pitchFamily="34" charset="0"/>
              <a:buChar char="•"/>
            </a:pPr>
            <a:r>
              <a:rPr lang="en-US" i="0">
                <a:ea typeface="Calibri"/>
                <a:cs typeface="Calibri"/>
              </a:rPr>
              <a:t>Median time to TIS ≥20: 30 vs 72 days (P=0.0020 [nominal]).</a:t>
            </a:r>
          </a:p>
          <a:p>
            <a:pPr marL="171450" indent="-171450">
              <a:buFont typeface="Arial" panose="020B0604020202020204" pitchFamily="34" charset="0"/>
              <a:buChar char="•"/>
            </a:pPr>
            <a:r>
              <a:rPr lang="en-US" i="0">
                <a:ea typeface="Calibri"/>
                <a:cs typeface="Calibri"/>
              </a:rPr>
              <a:t>Median time to TIS ≥40: 113 days vs not estimable (P=0.0293 [nominal]).</a:t>
            </a:r>
          </a:p>
          <a:p>
            <a:pPr marL="0" indent="0">
              <a:buFont typeface="Arial" panose="020B0604020202020204" pitchFamily="34" charset="0"/>
              <a:buNone/>
            </a:pPr>
            <a:endParaRPr lang="en-GB"/>
          </a:p>
          <a:p>
            <a:pPr marL="0" indent="0">
              <a:buFont typeface="Arial" panose="020B0604020202020204" pitchFamily="34" charset="0"/>
              <a:buNone/>
            </a:pPr>
            <a:endParaRPr lang="en-GB"/>
          </a:p>
        </p:txBody>
      </p:sp>
      <p:sp>
        <p:nvSpPr>
          <p:cNvPr id="4" name="Slide Number Placeholder 3">
            <a:extLst>
              <a:ext uri="{FF2B5EF4-FFF2-40B4-BE49-F238E27FC236}">
                <a16:creationId xmlns:a16="http://schemas.microsoft.com/office/drawing/2014/main" id="{47ADDA33-469D-A7AA-8B47-04E35AE298EA}"/>
              </a:ext>
            </a:extLst>
          </p:cNvPr>
          <p:cNvSpPr>
            <a:spLocks noGrp="1"/>
          </p:cNvSpPr>
          <p:nvPr>
            <p:ph type="sldNum" sz="quarter" idx="5"/>
          </p:nvPr>
        </p:nvSpPr>
        <p:spPr/>
        <p:txBody>
          <a:bodyPr/>
          <a:lstStyle/>
          <a:p>
            <a:fld id="{DC1C1DE5-BCE7-4049-B089-E4E7DE73F05F}" type="slidenum">
              <a:rPr lang="en-GB" smtClean="0"/>
              <a:t>10</a:t>
            </a:fld>
            <a:endParaRPr lang="en-GB"/>
          </a:p>
        </p:txBody>
      </p:sp>
    </p:spTree>
    <p:extLst>
      <p:ext uri="{BB962C8B-B14F-4D97-AF65-F5344CB8AC3E}">
        <p14:creationId xmlns:p14="http://schemas.microsoft.com/office/powerpoint/2010/main" val="42615978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DA0B94-E604-2004-AB72-805F3ADA92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C71328-DE51-10E6-ADC3-E6C211CABF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7DD1C5-73BA-0680-0E40-DEB69DE4C9FB}"/>
              </a:ext>
            </a:extLst>
          </p:cNvPr>
          <p:cNvSpPr>
            <a:spLocks noGrp="1"/>
          </p:cNvSpPr>
          <p:nvPr>
            <p:ph type="body" idx="1"/>
          </p:nvPr>
        </p:nvSpPr>
        <p:spPr/>
        <p:txBody>
          <a:bodyPr/>
          <a:lstStyle/>
          <a:p>
            <a:pPr marL="0" indent="0">
              <a:buFont typeface="Arial" panose="020B0604020202020204" pitchFamily="34" charset="0"/>
              <a:buNone/>
            </a:pPr>
            <a:endParaRPr lang="en-AU"/>
          </a:p>
        </p:txBody>
      </p:sp>
      <p:sp>
        <p:nvSpPr>
          <p:cNvPr id="4" name="Slide Number Placeholder 3">
            <a:extLst>
              <a:ext uri="{FF2B5EF4-FFF2-40B4-BE49-F238E27FC236}">
                <a16:creationId xmlns:a16="http://schemas.microsoft.com/office/drawing/2014/main" id="{C5D401B2-2568-B358-2EDA-B99E50072EB8}"/>
              </a:ext>
            </a:extLst>
          </p:cNvPr>
          <p:cNvSpPr>
            <a:spLocks noGrp="1"/>
          </p:cNvSpPr>
          <p:nvPr>
            <p:ph type="sldNum" sz="quarter" idx="5"/>
          </p:nvPr>
        </p:nvSpPr>
        <p:spPr/>
        <p:txBody>
          <a:bodyPr/>
          <a:lstStyle/>
          <a:p>
            <a:fld id="{DC1C1DE5-BCE7-4049-B089-E4E7DE73F05F}" type="slidenum">
              <a:rPr lang="en-GB" smtClean="0"/>
              <a:t>11</a:t>
            </a:fld>
            <a:endParaRPr lang="en-GB"/>
          </a:p>
        </p:txBody>
      </p:sp>
    </p:spTree>
    <p:extLst>
      <p:ext uri="{BB962C8B-B14F-4D97-AF65-F5344CB8AC3E}">
        <p14:creationId xmlns:p14="http://schemas.microsoft.com/office/powerpoint/2010/main" val="1373605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179F7F-A470-C476-1C8F-7F46880CF3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B2F790-ECC6-1B4E-56DE-DA6E846379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0B4025-74AA-9A2E-FFC2-685A0E9828B2}"/>
              </a:ext>
            </a:extLst>
          </p:cNvPr>
          <p:cNvSpPr>
            <a:spLocks noGrp="1"/>
          </p:cNvSpPr>
          <p:nvPr>
            <p:ph type="body" idx="1"/>
          </p:nvPr>
        </p:nvSpPr>
        <p:spPr/>
        <p:txBody>
          <a:bodyPr/>
          <a:lstStyle/>
          <a:p>
            <a:r>
              <a:rPr lang="en-AU"/>
              <a:t>Talking points:</a:t>
            </a:r>
          </a:p>
          <a:p>
            <a:pPr marL="171450" indent="-171450">
              <a:buFont typeface="Arial" panose="020B0604020202020204" pitchFamily="34" charset="0"/>
              <a:buChar char="•"/>
            </a:pPr>
            <a:r>
              <a:rPr lang="en-GB"/>
              <a:t>More participants on efgartigimod reached TIS ≥20, ≥40, and ≥60 vs placebo.</a:t>
            </a:r>
          </a:p>
          <a:p>
            <a:pPr marL="171450" indent="-171450">
              <a:buFont typeface="Arial" panose="020B0604020202020204" pitchFamily="34" charset="0"/>
              <a:buChar char="•"/>
            </a:pPr>
            <a:r>
              <a:rPr lang="en-GB"/>
              <a:t>This reflects higher rates of mild, moderate, and major clinical improvement.</a:t>
            </a:r>
          </a:p>
          <a:p>
            <a:pPr marL="171450" indent="-171450">
              <a:buFont typeface="Arial" panose="020B0604020202020204" pitchFamily="34" charset="0"/>
              <a:buChar char="•"/>
            </a:pPr>
            <a:r>
              <a:rPr lang="en-GB"/>
              <a:t>Graph highlights consistent benefit across response thresholds.</a:t>
            </a:r>
          </a:p>
          <a:p>
            <a:pPr marL="0" indent="0">
              <a:buFont typeface="Arial" panose="020B0604020202020204" pitchFamily="34" charset="0"/>
              <a:buNone/>
            </a:pPr>
            <a:endParaRPr lang="en-GB"/>
          </a:p>
          <a:p>
            <a:pPr marL="0" indent="0">
              <a:buFont typeface="Arial" panose="020B0604020202020204" pitchFamily="34" charset="0"/>
              <a:buNone/>
            </a:pPr>
            <a:endParaRPr lang="en-AU"/>
          </a:p>
          <a:p>
            <a:pPr marL="0" indent="0">
              <a:buFont typeface="Arial" panose="020B0604020202020204" pitchFamily="34" charset="0"/>
              <a:buNone/>
            </a:pPr>
            <a:endParaRPr lang="en-AU"/>
          </a:p>
        </p:txBody>
      </p:sp>
      <p:sp>
        <p:nvSpPr>
          <p:cNvPr id="4" name="Slide Number Placeholder 3">
            <a:extLst>
              <a:ext uri="{FF2B5EF4-FFF2-40B4-BE49-F238E27FC236}">
                <a16:creationId xmlns:a16="http://schemas.microsoft.com/office/drawing/2014/main" id="{DD2CCD7D-ADAC-B33A-CCA8-021E06F7562C}"/>
              </a:ext>
            </a:extLst>
          </p:cNvPr>
          <p:cNvSpPr>
            <a:spLocks noGrp="1"/>
          </p:cNvSpPr>
          <p:nvPr>
            <p:ph type="sldNum" sz="quarter" idx="5"/>
          </p:nvPr>
        </p:nvSpPr>
        <p:spPr/>
        <p:txBody>
          <a:bodyPr/>
          <a:lstStyle/>
          <a:p>
            <a:fld id="{DC1C1DE5-BCE7-4049-B089-E4E7DE73F05F}" type="slidenum">
              <a:rPr lang="en-GB" smtClean="0"/>
              <a:t>12</a:t>
            </a:fld>
            <a:endParaRPr lang="en-GB"/>
          </a:p>
        </p:txBody>
      </p:sp>
    </p:spTree>
    <p:extLst>
      <p:ext uri="{BB962C8B-B14F-4D97-AF65-F5344CB8AC3E}">
        <p14:creationId xmlns:p14="http://schemas.microsoft.com/office/powerpoint/2010/main" val="2952789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A4676-E2D9-311D-CE5A-412DABD383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BC15B2-1BEA-CAE2-9037-F40D647CC6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61E606-A105-7610-04B6-6F85B202778A}"/>
              </a:ext>
            </a:extLst>
          </p:cNvPr>
          <p:cNvSpPr>
            <a:spLocks noGrp="1"/>
          </p:cNvSpPr>
          <p:nvPr>
            <p:ph type="body" idx="1"/>
          </p:nvPr>
        </p:nvSpPr>
        <p:spPr/>
        <p:txBody>
          <a:bodyPr/>
          <a:lstStyle/>
          <a:p>
            <a:r>
              <a:rPr lang="en-AU"/>
              <a:t>Talking points:</a:t>
            </a:r>
          </a:p>
          <a:p>
            <a:pPr marL="171450" indent="-171450">
              <a:buFont typeface="Arial" panose="020B0604020202020204" pitchFamily="34" charset="0"/>
              <a:buChar char="•"/>
            </a:pPr>
            <a:r>
              <a:rPr lang="en-GB"/>
              <a:t>Efgartigimod was well tolerated, with a safety profile </a:t>
            </a:r>
            <a:r>
              <a:rPr lang="en-GB">
                <a:solidFill>
                  <a:srgbClr val="FF0000"/>
                </a:solidFill>
              </a:rPr>
              <a:t>comparable</a:t>
            </a:r>
            <a:r>
              <a:rPr lang="en-GB"/>
              <a:t> to placebo. There were 2 fatal events in active arm, both unrelated to IMP (a car accident and a septic shock in a pt with multiple comorbidities including DM and liver cirrhosis). Infections were comparable between arms. ISRs were more frequent in efg arm, none severe or serious, frequency of ISRs decreased over time. (IF ASKED) : </a:t>
            </a:r>
            <a:r>
              <a:rPr lang="en-GB" err="1"/>
              <a:t>Diarrhea</a:t>
            </a:r>
            <a:r>
              <a:rPr lang="en-GB"/>
              <a:t> in few pts: none severe, none serious, all recovered in few days without IMP interruption </a:t>
            </a:r>
          </a:p>
          <a:p>
            <a:pPr marL="171450" indent="-171450">
              <a:buFont typeface="Arial" panose="020B0604020202020204" pitchFamily="34" charset="0"/>
              <a:buChar char="•"/>
            </a:pPr>
            <a:r>
              <a:rPr lang="en-GB"/>
              <a:t>Call out specific data points of interest.</a:t>
            </a:r>
          </a:p>
          <a:p>
            <a:pPr marL="171450" indent="-171450">
              <a:buFont typeface="Arial" panose="020B0604020202020204" pitchFamily="34" charset="0"/>
              <a:buChar char="•"/>
            </a:pPr>
            <a:endParaRPr lang="en-GB"/>
          </a:p>
        </p:txBody>
      </p:sp>
      <p:sp>
        <p:nvSpPr>
          <p:cNvPr id="4" name="Slide Number Placeholder 3">
            <a:extLst>
              <a:ext uri="{FF2B5EF4-FFF2-40B4-BE49-F238E27FC236}">
                <a16:creationId xmlns:a16="http://schemas.microsoft.com/office/drawing/2014/main" id="{D5A8AB94-2B80-08EA-3FF7-F7473EAC5670}"/>
              </a:ext>
            </a:extLst>
          </p:cNvPr>
          <p:cNvSpPr>
            <a:spLocks noGrp="1"/>
          </p:cNvSpPr>
          <p:nvPr>
            <p:ph type="sldNum" sz="quarter" idx="5"/>
          </p:nvPr>
        </p:nvSpPr>
        <p:spPr/>
        <p:txBody>
          <a:bodyPr/>
          <a:lstStyle/>
          <a:p>
            <a:fld id="{DC1C1DE5-BCE7-4049-B089-E4E7DE73F05F}" type="slidenum">
              <a:rPr lang="en-GB" smtClean="0"/>
              <a:t>13</a:t>
            </a:fld>
            <a:endParaRPr lang="en-GB"/>
          </a:p>
        </p:txBody>
      </p:sp>
    </p:spTree>
    <p:extLst>
      <p:ext uri="{BB962C8B-B14F-4D97-AF65-F5344CB8AC3E}">
        <p14:creationId xmlns:p14="http://schemas.microsoft.com/office/powerpoint/2010/main" val="13241189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ing points:</a:t>
            </a:r>
          </a:p>
          <a:p>
            <a:pPr marL="171450" indent="-171450">
              <a:buFont typeface="Arial" panose="020B0604020202020204" pitchFamily="34" charset="0"/>
              <a:buChar char="•"/>
            </a:pPr>
            <a:r>
              <a:rPr lang="en-GB"/>
              <a:t>Efgartigimod showed significant clinical benefit and good safety vs placebo.</a:t>
            </a:r>
          </a:p>
          <a:p>
            <a:pPr marL="171450" indent="-171450">
              <a:buFont typeface="Arial" panose="020B0604020202020204" pitchFamily="34" charset="0"/>
              <a:buChar char="•"/>
            </a:pPr>
            <a:r>
              <a:rPr lang="en-GB"/>
              <a:t>Findings support the role of autoantibodies and FcRn in IIM.</a:t>
            </a:r>
          </a:p>
          <a:p>
            <a:pPr marL="171450" indent="-171450">
              <a:buFont typeface="Arial" panose="020B0604020202020204" pitchFamily="34" charset="0"/>
              <a:buChar char="•"/>
            </a:pPr>
            <a:r>
              <a:rPr lang="en-GB"/>
              <a:t>Phase 3 evaluation is ongoing.</a:t>
            </a:r>
          </a:p>
          <a:p>
            <a:pPr marL="0" indent="0">
              <a:buFont typeface="Arial" panose="020B0604020202020204" pitchFamily="34" charset="0"/>
              <a:buNone/>
            </a:pPr>
            <a:endParaRPr lang="en-GB"/>
          </a:p>
        </p:txBody>
      </p:sp>
      <p:sp>
        <p:nvSpPr>
          <p:cNvPr id="4" name="Slide Number Placeholder 3"/>
          <p:cNvSpPr>
            <a:spLocks noGrp="1"/>
          </p:cNvSpPr>
          <p:nvPr>
            <p:ph type="sldNum" sz="quarter" idx="5"/>
          </p:nvPr>
        </p:nvSpPr>
        <p:spPr/>
        <p:txBody>
          <a:bodyPr/>
          <a:lstStyle/>
          <a:p>
            <a:fld id="{DC1C1DE5-BCE7-4049-B089-E4E7DE73F05F}" type="slidenum">
              <a:rPr lang="en-GB" smtClean="0"/>
              <a:t>14</a:t>
            </a:fld>
            <a:endParaRPr lang="en-GB"/>
          </a:p>
        </p:txBody>
      </p:sp>
    </p:spTree>
    <p:extLst>
      <p:ext uri="{BB962C8B-B14F-4D97-AF65-F5344CB8AC3E}">
        <p14:creationId xmlns:p14="http://schemas.microsoft.com/office/powerpoint/2010/main" val="11384821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a:ea typeface="Calibri"/>
                <a:cs typeface="Calibri"/>
              </a:rPr>
              <a:t>Talking points:</a:t>
            </a:r>
          </a:p>
          <a:p>
            <a:pPr marL="171450" indent="-171450">
              <a:buFont typeface="Arial" panose="020B0604020202020204" pitchFamily="34" charset="0"/>
              <a:buChar char="•"/>
            </a:pPr>
            <a:r>
              <a:rPr lang="en-US" i="0">
                <a:ea typeface="Calibri"/>
                <a:cs typeface="Calibri"/>
              </a:rPr>
              <a:t>Efgartigimod led to faster clinical improvement vs placebo.</a:t>
            </a:r>
          </a:p>
          <a:p>
            <a:pPr marL="171450" indent="-171450">
              <a:buFont typeface="Arial" panose="020B0604020202020204" pitchFamily="34" charset="0"/>
              <a:buChar char="•"/>
            </a:pPr>
            <a:r>
              <a:rPr lang="en-US" i="0">
                <a:ea typeface="Calibri"/>
                <a:cs typeface="Calibri"/>
              </a:rPr>
              <a:t>Median time to TIS ≥20: 30 vs 72 days (P=0.0020).</a:t>
            </a:r>
          </a:p>
          <a:p>
            <a:pPr marL="171450" indent="-171450">
              <a:buFont typeface="Arial" panose="020B0604020202020204" pitchFamily="34" charset="0"/>
              <a:buChar char="•"/>
            </a:pPr>
            <a:r>
              <a:rPr lang="en-US" i="0">
                <a:ea typeface="Calibri"/>
                <a:cs typeface="Calibri"/>
              </a:rPr>
              <a:t>Median time to TIS ≥40: 113 days vs not estimable (P=0.0293).</a:t>
            </a:r>
          </a:p>
          <a:p>
            <a:pPr marL="171450" indent="-171450">
              <a:buFont typeface="Arial" panose="020B0604020202020204" pitchFamily="34" charset="0"/>
              <a:buChar char="•"/>
            </a:pPr>
            <a:endParaRPr lang="en-US" i="0">
              <a:ea typeface="Calibri"/>
              <a:cs typeface="Calibri"/>
            </a:endParaRPr>
          </a:p>
        </p:txBody>
      </p:sp>
      <p:sp>
        <p:nvSpPr>
          <p:cNvPr id="4" name="Slide Number Placeholder 3"/>
          <p:cNvSpPr>
            <a:spLocks noGrp="1"/>
          </p:cNvSpPr>
          <p:nvPr>
            <p:ph type="sldNum" sz="quarter" idx="5"/>
          </p:nvPr>
        </p:nvSpPr>
        <p:spPr/>
        <p:txBody>
          <a:bodyPr/>
          <a:lstStyle/>
          <a:p>
            <a:fld id="{DC1C1DE5-BCE7-4049-B089-E4E7DE73F05F}" type="slidenum">
              <a:rPr lang="en-GB" smtClean="0"/>
              <a:t>15</a:t>
            </a:fld>
            <a:endParaRPr lang="en-GB"/>
          </a:p>
        </p:txBody>
      </p:sp>
    </p:spTree>
    <p:extLst>
      <p:ext uri="{BB962C8B-B14F-4D97-AF65-F5344CB8AC3E}">
        <p14:creationId xmlns:p14="http://schemas.microsoft.com/office/powerpoint/2010/main" val="10415148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23EFC-9708-9842-FE04-17245A1C6D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F4BE59-CB00-1336-1DC7-B475D268B0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798923-8252-D758-AE3A-73AD392557B2}"/>
              </a:ext>
            </a:extLst>
          </p:cNvPr>
          <p:cNvSpPr>
            <a:spLocks noGrp="1"/>
          </p:cNvSpPr>
          <p:nvPr>
            <p:ph type="body" idx="1"/>
          </p:nvPr>
        </p:nvSpPr>
        <p:spPr/>
        <p:txBody>
          <a:bodyPr/>
          <a:lstStyle/>
          <a:p>
            <a:r>
              <a:rPr lang="en-AU"/>
              <a:t>Talking points:</a:t>
            </a:r>
          </a:p>
          <a:p>
            <a:pPr marL="171450" indent="-171450">
              <a:buFont typeface="Arial" panose="020B0604020202020204" pitchFamily="34" charset="0"/>
              <a:buChar char="•"/>
            </a:pPr>
            <a:r>
              <a:rPr lang="en-GB"/>
              <a:t>Efgartigimod treatment improved all 6 core set measures </a:t>
            </a:r>
          </a:p>
          <a:p>
            <a:pPr marL="171450" indent="-171450">
              <a:buFont typeface="Arial" panose="020B0604020202020204" pitchFamily="34" charset="0"/>
              <a:buChar char="•"/>
            </a:pPr>
            <a:endParaRPr lang="en-GB"/>
          </a:p>
        </p:txBody>
      </p:sp>
      <p:sp>
        <p:nvSpPr>
          <p:cNvPr id="4" name="Slide Number Placeholder 3">
            <a:extLst>
              <a:ext uri="{FF2B5EF4-FFF2-40B4-BE49-F238E27FC236}">
                <a16:creationId xmlns:a16="http://schemas.microsoft.com/office/drawing/2014/main" id="{D1CAC77E-0930-705B-B5E5-0BE7F41DC61A}"/>
              </a:ext>
            </a:extLst>
          </p:cNvPr>
          <p:cNvSpPr>
            <a:spLocks noGrp="1"/>
          </p:cNvSpPr>
          <p:nvPr>
            <p:ph type="sldNum" sz="quarter" idx="5"/>
          </p:nvPr>
        </p:nvSpPr>
        <p:spPr/>
        <p:txBody>
          <a:bodyPr/>
          <a:lstStyle/>
          <a:p>
            <a:fld id="{DC1C1DE5-BCE7-4049-B089-E4E7DE73F05F}" type="slidenum">
              <a:rPr lang="en-GB" smtClean="0"/>
              <a:t>16</a:t>
            </a:fld>
            <a:endParaRPr lang="en-GB"/>
          </a:p>
        </p:txBody>
      </p:sp>
    </p:spTree>
    <p:extLst>
      <p:ext uri="{BB962C8B-B14F-4D97-AF65-F5344CB8AC3E}">
        <p14:creationId xmlns:p14="http://schemas.microsoft.com/office/powerpoint/2010/main" val="3412649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81AC9-DEC4-5C01-38A5-DA75E63C8B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396441-62F0-961C-6867-C8A5E6F8A8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20932C-0281-DC8A-44C1-E39B5E6A18E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7A3F3E-6497-236D-7CD2-480C19D1E058}"/>
              </a:ext>
            </a:extLst>
          </p:cNvPr>
          <p:cNvSpPr>
            <a:spLocks noGrp="1"/>
          </p:cNvSpPr>
          <p:nvPr>
            <p:ph type="sldNum" sz="quarter" idx="5"/>
          </p:nvPr>
        </p:nvSpPr>
        <p:spPr/>
        <p:txBody>
          <a:bodyPr/>
          <a:lstStyle/>
          <a:p>
            <a:fld id="{DC1C1DE5-BCE7-4049-B089-E4E7DE73F05F}" type="slidenum">
              <a:rPr lang="en-GB" smtClean="0"/>
              <a:t>2</a:t>
            </a:fld>
            <a:endParaRPr lang="en-GB"/>
          </a:p>
        </p:txBody>
      </p:sp>
    </p:spTree>
    <p:extLst>
      <p:ext uri="{BB962C8B-B14F-4D97-AF65-F5344CB8AC3E}">
        <p14:creationId xmlns:p14="http://schemas.microsoft.com/office/powerpoint/2010/main" val="3758979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t>Talking point:</a:t>
            </a:r>
          </a:p>
          <a:p>
            <a:pPr marL="171450" indent="-171450">
              <a:buFont typeface="Arial" panose="020B0604020202020204" pitchFamily="34" charset="0"/>
              <a:buChar char="•"/>
            </a:pPr>
            <a:r>
              <a:rPr lang="en-GB" sz="800"/>
              <a:t>IIM involves muscle and systemic inflammation across several subtypes.</a:t>
            </a:r>
          </a:p>
          <a:p>
            <a:pPr marL="171450" indent="-171450">
              <a:buFont typeface="Arial" panose="020B0604020202020204" pitchFamily="34" charset="0"/>
              <a:buChar char="•"/>
            </a:pPr>
            <a:r>
              <a:rPr lang="en-GB" sz="800"/>
              <a:t>MSAs are key drivers of disease.</a:t>
            </a:r>
          </a:p>
          <a:p>
            <a:pPr marL="171450" indent="-171450">
              <a:buFont typeface="Arial" panose="020B0604020202020204" pitchFamily="34" charset="0"/>
              <a:buChar char="•"/>
            </a:pPr>
            <a:r>
              <a:rPr lang="en-GB" sz="800"/>
              <a:t>Current treatments are limited—better targeted, steroid-sparing options are needed.</a:t>
            </a:r>
          </a:p>
          <a:p>
            <a:pPr marL="171450" indent="-171450">
              <a:buFont typeface="Arial" panose="020B0604020202020204" pitchFamily="34" charset="0"/>
              <a:buChar char="•"/>
            </a:pPr>
            <a:endParaRPr lang="en-GB" sz="800"/>
          </a:p>
        </p:txBody>
      </p:sp>
      <p:sp>
        <p:nvSpPr>
          <p:cNvPr id="4" name="Slide Number Placeholder 3"/>
          <p:cNvSpPr>
            <a:spLocks noGrp="1"/>
          </p:cNvSpPr>
          <p:nvPr>
            <p:ph type="sldNum" sz="quarter" idx="5"/>
          </p:nvPr>
        </p:nvSpPr>
        <p:spPr/>
        <p:txBody>
          <a:bodyPr/>
          <a:lstStyle/>
          <a:p>
            <a:fld id="{DC1C1DE5-BCE7-4049-B089-E4E7DE73F05F}" type="slidenum">
              <a:rPr lang="en-GB" smtClean="0"/>
              <a:t>3</a:t>
            </a:fld>
            <a:endParaRPr lang="en-GB"/>
          </a:p>
        </p:txBody>
      </p:sp>
    </p:spTree>
    <p:extLst>
      <p:ext uri="{BB962C8B-B14F-4D97-AF65-F5344CB8AC3E}">
        <p14:creationId xmlns:p14="http://schemas.microsoft.com/office/powerpoint/2010/main" val="17148050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8436">
              <a:defRPr/>
            </a:pPr>
            <a:r>
              <a:rPr lang="en-US" sz="800" baseline="0"/>
              <a:t>Talking points:</a:t>
            </a:r>
          </a:p>
          <a:p>
            <a:pPr marL="171450" indent="-171450" defTabSz="918436">
              <a:buFont typeface="Arial" panose="020B0604020202020204" pitchFamily="34" charset="0"/>
              <a:buChar char="•"/>
              <a:defRPr/>
            </a:pPr>
            <a:r>
              <a:rPr lang="en-US" sz="800" baseline="0"/>
              <a:t>Efgartigimod is an Fc fragment engineered to block FcRn with high affinity.</a:t>
            </a:r>
          </a:p>
          <a:p>
            <a:pPr marL="171450" indent="-171450" defTabSz="918436">
              <a:buFont typeface="Arial" panose="020B0604020202020204" pitchFamily="34" charset="0"/>
              <a:buChar char="•"/>
              <a:defRPr/>
            </a:pPr>
            <a:r>
              <a:rPr lang="en-US" sz="800" baseline="0"/>
              <a:t>This reduces IgG and autoantibodies, including pathogenic ones.</a:t>
            </a:r>
          </a:p>
          <a:p>
            <a:pPr marL="171450" indent="-171450" defTabSz="918436">
              <a:buFont typeface="Arial" panose="020B0604020202020204" pitchFamily="34" charset="0"/>
              <a:buChar char="•"/>
              <a:defRPr/>
            </a:pPr>
            <a:r>
              <a:rPr lang="en-US" sz="800" baseline="0"/>
              <a:t>It does so without affecting other immune functions, decreasing albumin, or increasing LDL levels.</a:t>
            </a:r>
          </a:p>
          <a:p>
            <a:pPr marL="0" indent="0" defTabSz="918436">
              <a:buFont typeface="Arial" panose="020B0604020202020204" pitchFamily="34" charset="0"/>
              <a:buNone/>
              <a:defRPr/>
            </a:pPr>
            <a:endParaRPr lang="en-US" sz="800" baseline="0"/>
          </a:p>
          <a:p>
            <a:pPr marL="0" indent="0" defTabSz="918436">
              <a:buFont typeface="Arial" panose="020B0604020202020204" pitchFamily="34" charset="0"/>
              <a:buNone/>
              <a:defRPr/>
            </a:pPr>
            <a:endParaRPr lang="en-US" sz="800" baseline="0"/>
          </a:p>
        </p:txBody>
      </p:sp>
      <p:sp>
        <p:nvSpPr>
          <p:cNvPr id="4" name="Slide Number Placeholder 3"/>
          <p:cNvSpPr>
            <a:spLocks noGrp="1"/>
          </p:cNvSpPr>
          <p:nvPr>
            <p:ph type="sldNum" sz="quarter" idx="5"/>
          </p:nvPr>
        </p:nvSpPr>
        <p:spPr/>
        <p:txBody>
          <a:bodyPr/>
          <a:lstStyle/>
          <a:p>
            <a:fld id="{DC1C1DE5-BCE7-4049-B089-E4E7DE73F05F}" type="slidenum">
              <a:rPr lang="en-GB" smtClean="0"/>
              <a:t>4</a:t>
            </a:fld>
            <a:endParaRPr lang="en-GB"/>
          </a:p>
        </p:txBody>
      </p:sp>
    </p:spTree>
    <p:extLst>
      <p:ext uri="{BB962C8B-B14F-4D97-AF65-F5344CB8AC3E}">
        <p14:creationId xmlns:p14="http://schemas.microsoft.com/office/powerpoint/2010/main" val="1722052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b="0" i="0">
                <a:effectLst/>
                <a:ea typeface="Calibri" panose="020F0502020204030204" pitchFamily="34" charset="0"/>
                <a:cs typeface="Times New Roman" panose="02020603050405020304" pitchFamily="18" charset="0"/>
              </a:rPr>
              <a:t>Talking points:</a:t>
            </a:r>
          </a:p>
          <a:p>
            <a:pPr marL="171450" indent="-171450">
              <a:buFont typeface="Arial" panose="020B0604020202020204" pitchFamily="34" charset="0"/>
              <a:buChar char="•"/>
            </a:pPr>
            <a:r>
              <a:rPr lang="en-GB" sz="1200" i="0"/>
              <a:t>ALKIVIA is a seamless Phase 2/3 trial in IIM.</a:t>
            </a:r>
          </a:p>
          <a:p>
            <a:pPr marL="171450" indent="-171450">
              <a:buFont typeface="Arial" panose="020B0604020202020204" pitchFamily="34" charset="0"/>
              <a:buChar char="•"/>
            </a:pPr>
            <a:r>
              <a:rPr lang="en-GB" sz="1200" i="0"/>
              <a:t>Phase 2: 89 patients with DM, IMNM, PM, or ASyS; 24-week treatment.</a:t>
            </a:r>
          </a:p>
          <a:p>
            <a:pPr marL="171450" indent="-171450">
              <a:buFont typeface="Arial" panose="020B0604020202020204" pitchFamily="34" charset="0"/>
              <a:buChar char="•"/>
            </a:pPr>
            <a:r>
              <a:rPr lang="en-GB" sz="1200" i="0"/>
              <a:t>Extension (OLE): Up to 51 months of efgartigimod PH20 SC 1000 mg weekly.</a:t>
            </a:r>
          </a:p>
          <a:p>
            <a:pPr marL="171450" indent="-171450">
              <a:buFont typeface="Arial" panose="020B0604020202020204" pitchFamily="34" charset="0"/>
              <a:buChar char="•"/>
            </a:pPr>
            <a:r>
              <a:rPr lang="en-GB" sz="1200" i="0"/>
              <a:t>Focus is long-term safety and efficacy, with 56-day follow-up.</a:t>
            </a:r>
          </a:p>
          <a:p>
            <a:pPr marL="171450" indent="-171450">
              <a:buFont typeface="Arial" panose="020B0604020202020204" pitchFamily="34" charset="0"/>
              <a:buChar char="•"/>
            </a:pPr>
            <a:r>
              <a:rPr lang="en-GB" sz="1200" i="0"/>
              <a:t>Phase 2 results are shown; Phase 3 is ongoing.</a:t>
            </a:r>
          </a:p>
          <a:p>
            <a:pPr marL="0" indent="0">
              <a:buFont typeface="Arial" panose="020B0604020202020204" pitchFamily="34" charset="0"/>
              <a:buNone/>
            </a:pPr>
            <a:endParaRPr lang="en-GB" sz="1200" i="0"/>
          </a:p>
        </p:txBody>
      </p:sp>
      <p:sp>
        <p:nvSpPr>
          <p:cNvPr id="4" name="Slide Number Placeholder 3"/>
          <p:cNvSpPr>
            <a:spLocks noGrp="1"/>
          </p:cNvSpPr>
          <p:nvPr>
            <p:ph type="sldNum" sz="quarter" idx="5"/>
          </p:nvPr>
        </p:nvSpPr>
        <p:spPr/>
        <p:txBody>
          <a:bodyPr/>
          <a:lstStyle/>
          <a:p>
            <a:fld id="{DC1C1DE5-BCE7-4049-B089-E4E7DE73F05F}" type="slidenum">
              <a:rPr lang="en-GB" smtClean="0"/>
              <a:t>5</a:t>
            </a:fld>
            <a:endParaRPr lang="en-GB"/>
          </a:p>
        </p:txBody>
      </p:sp>
    </p:spTree>
    <p:extLst>
      <p:ext uri="{BB962C8B-B14F-4D97-AF65-F5344CB8AC3E}">
        <p14:creationId xmlns:p14="http://schemas.microsoft.com/office/powerpoint/2010/main" val="13601106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E9455-6108-DA0E-E11A-67A8B52673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D91FCB-2FAE-29DB-6FEF-E2AE004CCA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6D606B-AD75-FA59-DCD6-F4E9BDDBB2D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a:effectLst/>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A8FE8CF8-0008-A3BC-F62B-E68AA92836E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1C1DE5-BCE7-4049-B089-E4E7DE73F05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9791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2FA6C-16D7-4DA4-2881-B308169934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08F8BE-4318-8566-DAAA-4EA6C59C66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79BC3F-3BF2-5962-2577-382D348C07C6}"/>
              </a:ext>
            </a:extLst>
          </p:cNvPr>
          <p:cNvSpPr>
            <a:spLocks noGrp="1"/>
          </p:cNvSpPr>
          <p:nvPr>
            <p:ph type="body" idx="1"/>
          </p:nvPr>
        </p:nvSpPr>
        <p:spPr/>
        <p:txBody>
          <a:bodyPr/>
          <a:lstStyle/>
          <a:p>
            <a:pPr marL="0" indent="0">
              <a:buFont typeface="Arial" panose="020B0604020202020204" pitchFamily="34" charset="0"/>
              <a:buNone/>
              <a:tabLst>
                <a:tab pos="91440" algn="l"/>
              </a:tabLst>
            </a:pPr>
            <a:r>
              <a:rPr lang="en-AU" sz="1200" kern="1200">
                <a:solidFill>
                  <a:schemeClr val="tx1"/>
                </a:solidFill>
                <a:effectLst/>
                <a:latin typeface="+mn-lt"/>
                <a:ea typeface="+mn-ea"/>
                <a:cs typeface="+mn-cs"/>
              </a:rPr>
              <a:t>Talking points:</a:t>
            </a:r>
          </a:p>
          <a:p>
            <a:pPr marL="171450" indent="-171450">
              <a:buFont typeface="Arial" panose="020B0604020202020204" pitchFamily="34" charset="0"/>
              <a:buChar char="•"/>
              <a:tabLst>
                <a:tab pos="91440" algn="l"/>
              </a:tabLst>
            </a:pPr>
            <a:r>
              <a:rPr lang="en-BE" sz="1200" kern="1200">
                <a:solidFill>
                  <a:schemeClr val="tx1"/>
                </a:solidFill>
                <a:effectLst/>
                <a:latin typeface="+mn-lt"/>
                <a:ea typeface="+mn-ea"/>
                <a:cs typeface="+mn-cs"/>
              </a:rPr>
              <a:t>Objective: assess efgartigimod efficacy vs placebo in IIM, on top of standard care.</a:t>
            </a:r>
            <a:endParaRPr lang="en-AU" sz="1200" kern="1200">
              <a:solidFill>
                <a:schemeClr val="tx1"/>
              </a:solidFill>
              <a:effectLst/>
              <a:latin typeface="+mn-lt"/>
              <a:ea typeface="+mn-ea"/>
              <a:cs typeface="+mn-cs"/>
            </a:endParaRPr>
          </a:p>
          <a:p>
            <a:pPr marL="171450" indent="-171450">
              <a:buFont typeface="Arial" panose="020B0604020202020204" pitchFamily="34" charset="0"/>
              <a:buChar char="•"/>
              <a:tabLst>
                <a:tab pos="91440" algn="l"/>
              </a:tabLst>
            </a:pPr>
            <a:r>
              <a:rPr lang="en-BE" sz="1200" kern="1200">
                <a:solidFill>
                  <a:schemeClr val="tx1"/>
                </a:solidFill>
                <a:effectLst/>
                <a:latin typeface="+mn-lt"/>
                <a:ea typeface="+mn-ea"/>
                <a:cs typeface="+mn-cs"/>
              </a:rPr>
              <a:t>Primary endpoint: TIS at Week 24 — a composite score of 6 core measures.</a:t>
            </a:r>
            <a:endParaRPr lang="en-AU" sz="1200" kern="1200">
              <a:solidFill>
                <a:schemeClr val="tx1"/>
              </a:solidFill>
              <a:effectLst/>
              <a:latin typeface="+mn-lt"/>
              <a:ea typeface="+mn-ea"/>
              <a:cs typeface="+mn-cs"/>
            </a:endParaRPr>
          </a:p>
          <a:p>
            <a:pPr marL="171450" indent="-171450">
              <a:buFont typeface="Arial" panose="020B0604020202020204" pitchFamily="34" charset="0"/>
              <a:buChar char="•"/>
              <a:tabLst>
                <a:tab pos="91440" algn="l"/>
              </a:tabLst>
            </a:pPr>
            <a:r>
              <a:rPr lang="en-BE" sz="1200" kern="1200">
                <a:solidFill>
                  <a:schemeClr val="tx1"/>
                </a:solidFill>
                <a:effectLst/>
                <a:latin typeface="+mn-lt"/>
                <a:ea typeface="+mn-ea"/>
                <a:cs typeface="+mn-cs"/>
              </a:rPr>
              <a:t>Key secondary endpoints include TIS thresholds, time to response, MMT8, PGA, and MDGA.</a:t>
            </a:r>
            <a:endParaRPr lang="en-AU" sz="1200" kern="1200">
              <a:solidFill>
                <a:schemeClr val="tx1"/>
              </a:solidFill>
              <a:effectLst/>
              <a:latin typeface="+mn-lt"/>
              <a:ea typeface="+mn-ea"/>
              <a:cs typeface="+mn-cs"/>
            </a:endParaRPr>
          </a:p>
          <a:p>
            <a:pPr marL="171450" indent="-171450">
              <a:buFont typeface="Arial" panose="020B0604020202020204" pitchFamily="34" charset="0"/>
              <a:buChar char="•"/>
              <a:tabLst>
                <a:tab pos="91440" algn="l"/>
              </a:tabLst>
            </a:pPr>
            <a:r>
              <a:rPr lang="en-BE" sz="1200" kern="1200">
                <a:solidFill>
                  <a:schemeClr val="tx1"/>
                </a:solidFill>
                <a:effectLst/>
                <a:latin typeface="+mn-lt"/>
                <a:ea typeface="+mn-ea"/>
                <a:cs typeface="+mn-cs"/>
              </a:rPr>
              <a:t>Safety and immunogenicity were also evaluated.</a:t>
            </a:r>
            <a:endParaRPr lang="en-AU" sz="1200" kern="1200">
              <a:solidFill>
                <a:schemeClr val="tx1"/>
              </a:solidFill>
              <a:effectLst/>
              <a:latin typeface="+mn-lt"/>
              <a:ea typeface="+mn-ea"/>
              <a:cs typeface="+mn-cs"/>
            </a:endParaRPr>
          </a:p>
          <a:p>
            <a:pPr marL="171450" indent="-171450">
              <a:buFont typeface="Arial" panose="020B0604020202020204" pitchFamily="34" charset="0"/>
              <a:buChar char="•"/>
              <a:tabLst>
                <a:tab pos="91440" algn="l"/>
              </a:tabLst>
            </a:pPr>
            <a:r>
              <a:rPr lang="en-BE" sz="1200" kern="1200">
                <a:solidFill>
                  <a:schemeClr val="tx1"/>
                </a:solidFill>
                <a:effectLst/>
                <a:latin typeface="+mn-lt"/>
                <a:ea typeface="+mn-ea"/>
                <a:cs typeface="+mn-cs"/>
              </a:rPr>
              <a:t>TIS scores ≥20, ≥40, and ≥60 reflect increasing levels of clinical improvement.</a:t>
            </a:r>
            <a:endParaRPr lang="en-AU" sz="1200" kern="1200">
              <a:solidFill>
                <a:schemeClr val="tx1"/>
              </a:solidFill>
              <a:effectLst/>
              <a:latin typeface="+mn-lt"/>
              <a:ea typeface="+mn-ea"/>
              <a:cs typeface="+mn-cs"/>
            </a:endParaRPr>
          </a:p>
          <a:p>
            <a:pPr marL="0" indent="0">
              <a:buFont typeface="Arial" panose="020B0604020202020204" pitchFamily="34" charset="0"/>
              <a:buNone/>
              <a:tabLst>
                <a:tab pos="91440" algn="l"/>
              </a:tabLst>
            </a:pPr>
            <a:endParaRPr lang="en-AU" sz="1200" kern="1200">
              <a:solidFill>
                <a:schemeClr val="tx1"/>
              </a:solidFill>
              <a:effectLst/>
              <a:latin typeface="+mn-lt"/>
              <a:ea typeface="+mn-ea"/>
              <a:cs typeface="+mn-cs"/>
            </a:endParaRPr>
          </a:p>
          <a:p>
            <a:pPr marL="0" indent="0">
              <a:buFont typeface="Arial" panose="020B0604020202020204" pitchFamily="34" charset="0"/>
              <a:buNone/>
              <a:tabLst>
                <a:tab pos="91440" algn="l"/>
              </a:tabLst>
            </a:pPr>
            <a:endParaRPr lang="en-BE" sz="120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E2EFB510-D3FA-DB6D-AB7A-5DF2A3ADAB74}"/>
              </a:ext>
            </a:extLst>
          </p:cNvPr>
          <p:cNvSpPr>
            <a:spLocks noGrp="1"/>
          </p:cNvSpPr>
          <p:nvPr>
            <p:ph type="sldNum" sz="quarter" idx="5"/>
          </p:nvPr>
        </p:nvSpPr>
        <p:spPr/>
        <p:txBody>
          <a:bodyPr/>
          <a:lstStyle/>
          <a:p>
            <a:fld id="{DC1C1DE5-BCE7-4049-B089-E4E7DE73F05F}" type="slidenum">
              <a:rPr lang="en-GB" smtClean="0"/>
              <a:t>7</a:t>
            </a:fld>
            <a:endParaRPr lang="en-GB"/>
          </a:p>
        </p:txBody>
      </p:sp>
    </p:spTree>
    <p:extLst>
      <p:ext uri="{BB962C8B-B14F-4D97-AF65-F5344CB8AC3E}">
        <p14:creationId xmlns:p14="http://schemas.microsoft.com/office/powerpoint/2010/main" val="5655216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1190F-E8D8-6236-6365-74283672A3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03C0A1-7BAE-8AE1-1430-146D203B81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D11847-583E-B8F5-DA2C-C71FDBF434E6}"/>
              </a:ext>
            </a:extLst>
          </p:cNvPr>
          <p:cNvSpPr>
            <a:spLocks noGrp="1"/>
          </p:cNvSpPr>
          <p:nvPr>
            <p:ph type="body" idx="1"/>
          </p:nvPr>
        </p:nvSpPr>
        <p:spPr/>
        <p:txBody>
          <a:bodyPr/>
          <a:lstStyle/>
          <a:p>
            <a:r>
              <a:rPr lang="en-AU"/>
              <a:t>Talking points:</a:t>
            </a:r>
          </a:p>
          <a:p>
            <a:pPr marL="171450" indent="-171450">
              <a:buFont typeface="Arial" panose="020B0604020202020204" pitchFamily="34" charset="0"/>
              <a:buChar char="•"/>
            </a:pPr>
            <a:r>
              <a:rPr lang="en-GB"/>
              <a:t>Baseline characteristics were well balanced across treatment groups.</a:t>
            </a:r>
          </a:p>
          <a:p>
            <a:pPr marL="171450" indent="-171450">
              <a:buFont typeface="Arial" panose="020B0604020202020204" pitchFamily="34" charset="0"/>
              <a:buChar char="•"/>
            </a:pPr>
            <a:r>
              <a:rPr lang="en-GB"/>
              <a:t>Call out specific data of interest</a:t>
            </a:r>
          </a:p>
          <a:p>
            <a:pPr marL="0" indent="0">
              <a:buFont typeface="Arial" panose="020B0604020202020204" pitchFamily="34" charset="0"/>
              <a:buNone/>
            </a:pPr>
            <a:endParaRPr lang="en-GB"/>
          </a:p>
          <a:p>
            <a:pPr marL="0" indent="0">
              <a:buFont typeface="Arial" panose="020B0604020202020204" pitchFamily="34" charset="0"/>
              <a:buNone/>
            </a:pPr>
            <a:endParaRPr lang="en-AU"/>
          </a:p>
        </p:txBody>
      </p:sp>
      <p:sp>
        <p:nvSpPr>
          <p:cNvPr id="4" name="Slide Number Placeholder 3">
            <a:extLst>
              <a:ext uri="{FF2B5EF4-FFF2-40B4-BE49-F238E27FC236}">
                <a16:creationId xmlns:a16="http://schemas.microsoft.com/office/drawing/2014/main" id="{BA2D7390-4866-91C2-8204-7990795AAD2D}"/>
              </a:ext>
            </a:extLst>
          </p:cNvPr>
          <p:cNvSpPr>
            <a:spLocks noGrp="1"/>
          </p:cNvSpPr>
          <p:nvPr>
            <p:ph type="sldNum" sz="quarter" idx="5"/>
          </p:nvPr>
        </p:nvSpPr>
        <p:spPr/>
        <p:txBody>
          <a:bodyPr/>
          <a:lstStyle/>
          <a:p>
            <a:fld id="{DC1C1DE5-BCE7-4049-B089-E4E7DE73F05F}" type="slidenum">
              <a:rPr lang="en-GB" smtClean="0"/>
              <a:t>8</a:t>
            </a:fld>
            <a:endParaRPr lang="en-GB"/>
          </a:p>
        </p:txBody>
      </p:sp>
    </p:spTree>
    <p:extLst>
      <p:ext uri="{BB962C8B-B14F-4D97-AF65-F5344CB8AC3E}">
        <p14:creationId xmlns:p14="http://schemas.microsoft.com/office/powerpoint/2010/main" val="2289114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91FAE6-693A-038D-0DE6-C5FBC5287F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D79654-9443-3257-C41C-EFDBADC7C9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017873-82F9-524E-B065-F175E26ECFB6}"/>
              </a:ext>
            </a:extLst>
          </p:cNvPr>
          <p:cNvSpPr>
            <a:spLocks noGrp="1"/>
          </p:cNvSpPr>
          <p:nvPr>
            <p:ph type="body" idx="1"/>
          </p:nvPr>
        </p:nvSpPr>
        <p:spPr/>
        <p:txBody>
          <a:bodyPr/>
          <a:lstStyle/>
          <a:p>
            <a:r>
              <a:rPr lang="en-AU"/>
              <a:t>Talking points:</a:t>
            </a:r>
          </a:p>
          <a:p>
            <a:pPr marL="171450" indent="-171450">
              <a:buFont typeface="Arial" panose="020B0604020202020204" pitchFamily="34" charset="0"/>
              <a:buChar char="•"/>
            </a:pPr>
            <a:r>
              <a:rPr lang="en-GB"/>
              <a:t>Efgartigimod led to significantly greater clinical improvement vs placebo, based on TIS.</a:t>
            </a:r>
          </a:p>
          <a:p>
            <a:pPr marL="171450" indent="-171450">
              <a:buFont typeface="Arial" panose="020B0604020202020204" pitchFamily="34" charset="0"/>
              <a:buChar char="•"/>
            </a:pPr>
            <a:r>
              <a:rPr lang="en-GB"/>
              <a:t>At Week 24, adjusted mean TIS was 50.45 vs 35.65 (P=0.0004 [nominal]).</a:t>
            </a:r>
          </a:p>
          <a:p>
            <a:pPr marL="171450" indent="-171450">
              <a:buFont typeface="Arial" panose="020B0604020202020204" pitchFamily="34" charset="0"/>
              <a:buChar char="•"/>
            </a:pPr>
            <a:r>
              <a:rPr lang="en-GB"/>
              <a:t>Graph shows clear separation between groups over time.</a:t>
            </a:r>
          </a:p>
          <a:p>
            <a:pPr marL="0" indent="0">
              <a:buFont typeface="Arial" panose="020B0604020202020204" pitchFamily="34" charset="0"/>
              <a:buNone/>
            </a:pPr>
            <a:endParaRPr lang="en-GB"/>
          </a:p>
        </p:txBody>
      </p:sp>
      <p:sp>
        <p:nvSpPr>
          <p:cNvPr id="4" name="Slide Number Placeholder 3">
            <a:extLst>
              <a:ext uri="{FF2B5EF4-FFF2-40B4-BE49-F238E27FC236}">
                <a16:creationId xmlns:a16="http://schemas.microsoft.com/office/drawing/2014/main" id="{55E5A895-D848-E24F-5815-481A1302D7FB}"/>
              </a:ext>
            </a:extLst>
          </p:cNvPr>
          <p:cNvSpPr>
            <a:spLocks noGrp="1"/>
          </p:cNvSpPr>
          <p:nvPr>
            <p:ph type="sldNum" sz="quarter" idx="5"/>
          </p:nvPr>
        </p:nvSpPr>
        <p:spPr/>
        <p:txBody>
          <a:bodyPr/>
          <a:lstStyle/>
          <a:p>
            <a:fld id="{DC1C1DE5-BCE7-4049-B089-E4E7DE73F05F}" type="slidenum">
              <a:rPr lang="en-GB" smtClean="0"/>
              <a:t>9</a:t>
            </a:fld>
            <a:endParaRPr lang="en-GB"/>
          </a:p>
        </p:txBody>
      </p:sp>
    </p:spTree>
    <p:extLst>
      <p:ext uri="{BB962C8B-B14F-4D97-AF65-F5344CB8AC3E}">
        <p14:creationId xmlns:p14="http://schemas.microsoft.com/office/powerpoint/2010/main" val="19161510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Primary">
    <p:bg>
      <p:bgPr>
        <a:solidFill>
          <a:schemeClr val="accent3"/>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C28ED19-8A54-1806-4FE2-E6E945941A92}"/>
              </a:ext>
            </a:extLst>
          </p:cNvPr>
          <p:cNvSpPr/>
          <p:nvPr userDrawn="1"/>
        </p:nvSpPr>
        <p:spPr>
          <a:xfrm>
            <a:off x="6773471" y="-2"/>
            <a:ext cx="5418529" cy="6858002"/>
          </a:xfrm>
          <a:prstGeom prst="rect">
            <a:avLst/>
          </a:prstGeom>
          <a:gradFill flip="none" rotWithShape="1">
            <a:gsLst>
              <a:gs pos="100000">
                <a:schemeClr val="accent3">
                  <a:lumMod val="75000"/>
                </a:schemeClr>
              </a:gs>
              <a:gs pos="0">
                <a:schemeClr val="accent3">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4" name="Freeform 13">
            <a:extLst>
              <a:ext uri="{FF2B5EF4-FFF2-40B4-BE49-F238E27FC236}">
                <a16:creationId xmlns:a16="http://schemas.microsoft.com/office/drawing/2014/main" id="{4E35C050-110E-520A-30B9-2BD72FC6423F}"/>
              </a:ext>
            </a:extLst>
          </p:cNvPr>
          <p:cNvSpPr/>
          <p:nvPr userDrawn="1"/>
        </p:nvSpPr>
        <p:spPr>
          <a:xfrm>
            <a:off x="1" y="0"/>
            <a:ext cx="8127999" cy="6858001"/>
          </a:xfrm>
          <a:custGeom>
            <a:avLst/>
            <a:gdLst>
              <a:gd name="connsiteX0" fmla="*/ 0 w 8127999"/>
              <a:gd name="connsiteY0" fmla="*/ 0 h 6858001"/>
              <a:gd name="connsiteX1" fmla="*/ 2550553 w 8127999"/>
              <a:gd name="connsiteY1" fmla="*/ 0 h 6858001"/>
              <a:gd name="connsiteX2" fmla="*/ 2550553 w 8127999"/>
              <a:gd name="connsiteY2" fmla="*/ 1 h 6858001"/>
              <a:gd name="connsiteX3" fmla="*/ 6365822 w 8127999"/>
              <a:gd name="connsiteY3" fmla="*/ 1 h 6858001"/>
              <a:gd name="connsiteX4" fmla="*/ 7108919 w 8127999"/>
              <a:gd name="connsiteY4" fmla="*/ 1 h 6858001"/>
              <a:gd name="connsiteX5" fmla="*/ 7877191 w 8127999"/>
              <a:gd name="connsiteY5" fmla="*/ 1 h 6858001"/>
              <a:gd name="connsiteX6" fmla="*/ 7885290 w 8127999"/>
              <a:gd name="connsiteY6" fmla="*/ 79960 h 6858001"/>
              <a:gd name="connsiteX7" fmla="*/ 7917289 w 8127999"/>
              <a:gd name="connsiteY7" fmla="*/ 6542387 h 6858001"/>
              <a:gd name="connsiteX8" fmla="*/ 7873919 w 8127999"/>
              <a:gd name="connsiteY8" fmla="*/ 6858001 h 6858001"/>
              <a:gd name="connsiteX9" fmla="*/ 7108919 w 8127999"/>
              <a:gd name="connsiteY9" fmla="*/ 6858001 h 6858001"/>
              <a:gd name="connsiteX10" fmla="*/ 6365822 w 8127999"/>
              <a:gd name="connsiteY10" fmla="*/ 6858001 h 6858001"/>
              <a:gd name="connsiteX11" fmla="*/ 1785316 w 8127999"/>
              <a:gd name="connsiteY11" fmla="*/ 6858001 h 6858001"/>
              <a:gd name="connsiteX12" fmla="*/ 1785316 w 8127999"/>
              <a:gd name="connsiteY12" fmla="*/ 6857999 h 6858001"/>
              <a:gd name="connsiteX13" fmla="*/ 0 w 8127999"/>
              <a:gd name="connsiteY13" fmla="*/ 685799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27999" h="6858001">
                <a:moveTo>
                  <a:pt x="0" y="0"/>
                </a:moveTo>
                <a:lnTo>
                  <a:pt x="2550553" y="0"/>
                </a:lnTo>
                <a:lnTo>
                  <a:pt x="2550553" y="1"/>
                </a:lnTo>
                <a:lnTo>
                  <a:pt x="6365822" y="1"/>
                </a:lnTo>
                <a:lnTo>
                  <a:pt x="7108919" y="1"/>
                </a:lnTo>
                <a:lnTo>
                  <a:pt x="7877191" y="1"/>
                </a:lnTo>
                <a:lnTo>
                  <a:pt x="7885290" y="79960"/>
                </a:lnTo>
                <a:cubicBezTo>
                  <a:pt x="7983208" y="992764"/>
                  <a:pt x="8359809" y="3160814"/>
                  <a:pt x="7917289" y="6542387"/>
                </a:cubicBezTo>
                <a:lnTo>
                  <a:pt x="7873919" y="6858001"/>
                </a:lnTo>
                <a:lnTo>
                  <a:pt x="7108919" y="6858001"/>
                </a:lnTo>
                <a:lnTo>
                  <a:pt x="6365822" y="6858001"/>
                </a:lnTo>
                <a:lnTo>
                  <a:pt x="1785316" y="6858001"/>
                </a:lnTo>
                <a:lnTo>
                  <a:pt x="1785316" y="6857999"/>
                </a:lnTo>
                <a:lnTo>
                  <a:pt x="0" y="685799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itle 1">
            <a:extLst>
              <a:ext uri="{FF2B5EF4-FFF2-40B4-BE49-F238E27FC236}">
                <a16:creationId xmlns:a16="http://schemas.microsoft.com/office/drawing/2014/main" id="{4D05E77D-6145-7B32-3827-95E2EB5B0D18}"/>
              </a:ext>
            </a:extLst>
          </p:cNvPr>
          <p:cNvSpPr>
            <a:spLocks noGrp="1"/>
          </p:cNvSpPr>
          <p:nvPr>
            <p:ph type="title" hasCustomPrompt="1"/>
          </p:nvPr>
        </p:nvSpPr>
        <p:spPr>
          <a:xfrm>
            <a:off x="527050" y="2819602"/>
            <a:ext cx="7315200" cy="609398"/>
          </a:xfrm>
        </p:spPr>
        <p:txBody>
          <a:bodyPr wrap="square" anchor="b">
            <a:spAutoFit/>
          </a:bodyPr>
          <a:lstStyle>
            <a:lvl1pPr>
              <a:lnSpc>
                <a:spcPct val="90000"/>
              </a:lnSpc>
              <a:spcAft>
                <a:spcPts val="0"/>
              </a:spcAft>
              <a:defRPr sz="2200">
                <a:solidFill>
                  <a:schemeClr val="accent1"/>
                </a:solidFill>
              </a:defRPr>
            </a:lvl1pPr>
          </a:lstStyle>
          <a:p>
            <a:r>
              <a:rPr lang="en-US"/>
              <a:t>Click to edit</a:t>
            </a:r>
            <a:br>
              <a:rPr lang="en-US"/>
            </a:br>
            <a:r>
              <a:rPr lang="en-US"/>
              <a:t>Master title style</a:t>
            </a:r>
          </a:p>
        </p:txBody>
      </p:sp>
      <p:sp>
        <p:nvSpPr>
          <p:cNvPr id="10" name="Content Placeholder 2">
            <a:extLst>
              <a:ext uri="{FF2B5EF4-FFF2-40B4-BE49-F238E27FC236}">
                <a16:creationId xmlns:a16="http://schemas.microsoft.com/office/drawing/2014/main" id="{4AA6B77C-E6B7-92D2-757D-15BCC8C0AEF6}"/>
              </a:ext>
            </a:extLst>
          </p:cNvPr>
          <p:cNvSpPr>
            <a:spLocks noGrp="1"/>
          </p:cNvSpPr>
          <p:nvPr>
            <p:ph idx="1" hasCustomPrompt="1"/>
          </p:nvPr>
        </p:nvSpPr>
        <p:spPr>
          <a:xfrm>
            <a:off x="527051" y="3428999"/>
            <a:ext cx="7315199" cy="1417320"/>
          </a:xfrm>
        </p:spPr>
        <p:txBody>
          <a:bodyPr wrap="square" anchor="ctr" anchorCtr="0">
            <a:noAutofit/>
          </a:bodyPr>
          <a:lstStyle>
            <a:lvl1pPr marL="0" indent="0">
              <a:spcBef>
                <a:spcPts val="600"/>
              </a:spcBef>
              <a:buNone/>
              <a:defRPr sz="1400">
                <a:solidFill>
                  <a:schemeClr val="tx2">
                    <a:lumMod val="75000"/>
                  </a:schemeClr>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uthors</a:t>
            </a:r>
          </a:p>
        </p:txBody>
      </p:sp>
      <p:sp>
        <p:nvSpPr>
          <p:cNvPr id="20" name="Content Placeholder 2">
            <a:extLst>
              <a:ext uri="{FF2B5EF4-FFF2-40B4-BE49-F238E27FC236}">
                <a16:creationId xmlns:a16="http://schemas.microsoft.com/office/drawing/2014/main" id="{A1ECF00A-9E2F-8851-803B-2A3576FBBD3C}"/>
              </a:ext>
            </a:extLst>
          </p:cNvPr>
          <p:cNvSpPr>
            <a:spLocks noGrp="1"/>
          </p:cNvSpPr>
          <p:nvPr>
            <p:ph idx="10" hasCustomPrompt="1"/>
          </p:nvPr>
        </p:nvSpPr>
        <p:spPr>
          <a:xfrm>
            <a:off x="527051" y="4846319"/>
            <a:ext cx="7315199" cy="1828800"/>
          </a:xfrm>
        </p:spPr>
        <p:txBody>
          <a:bodyPr wrap="square" anchor="t" anchorCtr="0">
            <a:noAutofit/>
          </a:bodyPr>
          <a:lstStyle>
            <a:lvl1pPr marL="0" indent="0">
              <a:spcBef>
                <a:spcPts val="600"/>
              </a:spcBef>
              <a:buNone/>
              <a:defRPr sz="1000" b="0">
                <a:solidFill>
                  <a:schemeClr val="tx2">
                    <a:lumMod val="75000"/>
                  </a:schemeClr>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ffiliations</a:t>
            </a:r>
          </a:p>
        </p:txBody>
      </p:sp>
      <p:grpSp>
        <p:nvGrpSpPr>
          <p:cNvPr id="5" name="Group 4">
            <a:extLst>
              <a:ext uri="{FF2B5EF4-FFF2-40B4-BE49-F238E27FC236}">
                <a16:creationId xmlns:a16="http://schemas.microsoft.com/office/drawing/2014/main" id="{F7E6F778-10E4-901A-34C2-0C74A6B91138}"/>
              </a:ext>
            </a:extLst>
          </p:cNvPr>
          <p:cNvGrpSpPr/>
          <p:nvPr userDrawn="1"/>
        </p:nvGrpSpPr>
        <p:grpSpPr>
          <a:xfrm>
            <a:off x="8356038" y="1085890"/>
            <a:ext cx="3671566" cy="4686222"/>
            <a:chOff x="8356038" y="1085890"/>
            <a:chExt cx="3671566" cy="4686222"/>
          </a:xfrm>
        </p:grpSpPr>
        <p:sp>
          <p:nvSpPr>
            <p:cNvPr id="16" name="Freeform 15">
              <a:extLst>
                <a:ext uri="{FF2B5EF4-FFF2-40B4-BE49-F238E27FC236}">
                  <a16:creationId xmlns:a16="http://schemas.microsoft.com/office/drawing/2014/main" id="{8F080752-8FB4-3570-C9FC-F9D1BCDD1E92}"/>
                </a:ext>
              </a:extLst>
            </p:cNvPr>
            <p:cNvSpPr/>
            <p:nvPr userDrawn="1"/>
          </p:nvSpPr>
          <p:spPr>
            <a:xfrm rot="19320740">
              <a:off x="8896231" y="1085890"/>
              <a:ext cx="3131373" cy="2823382"/>
            </a:xfrm>
            <a:custGeom>
              <a:avLst/>
              <a:gdLst>
                <a:gd name="connsiteX0" fmla="*/ 356452 w 628843"/>
                <a:gd name="connsiteY0" fmla="*/ 3205 h 566992"/>
                <a:gd name="connsiteX1" fmla="*/ 3659 w 628843"/>
                <a:gd name="connsiteY1" fmla="*/ 266001 h 566992"/>
                <a:gd name="connsiteX2" fmla="*/ 62654 w 628843"/>
                <a:gd name="connsiteY2" fmla="*/ 497293 h 566992"/>
                <a:gd name="connsiteX3" fmla="*/ 280555 w 628843"/>
                <a:gd name="connsiteY3" fmla="*/ 551039 h 566992"/>
                <a:gd name="connsiteX4" fmla="*/ 519274 w 628843"/>
                <a:gd name="connsiteY4" fmla="*/ 452613 h 566992"/>
                <a:gd name="connsiteX5" fmla="*/ 627605 w 628843"/>
                <a:gd name="connsiteY5" fmla="*/ 316225 h 566992"/>
                <a:gd name="connsiteX6" fmla="*/ 561366 w 628843"/>
                <a:gd name="connsiteY6" fmla="*/ 124852 h 566992"/>
                <a:gd name="connsiteX7" fmla="*/ 356452 w 628843"/>
                <a:gd name="connsiteY7" fmla="*/ 3205 h 56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843" h="566992">
                  <a:moveTo>
                    <a:pt x="356452" y="3205"/>
                  </a:moveTo>
                  <a:cubicBezTo>
                    <a:pt x="186516" y="-21189"/>
                    <a:pt x="28784" y="96283"/>
                    <a:pt x="3659" y="266001"/>
                  </a:cubicBezTo>
                  <a:cubicBezTo>
                    <a:pt x="-9197" y="347925"/>
                    <a:pt x="12143" y="431545"/>
                    <a:pt x="62654" y="497293"/>
                  </a:cubicBezTo>
                  <a:cubicBezTo>
                    <a:pt x="114013" y="565976"/>
                    <a:pt x="186647" y="583913"/>
                    <a:pt x="280555" y="551039"/>
                  </a:cubicBezTo>
                  <a:cubicBezTo>
                    <a:pt x="361999" y="522992"/>
                    <a:pt x="441680" y="490118"/>
                    <a:pt x="519274" y="452613"/>
                  </a:cubicBezTo>
                  <a:cubicBezTo>
                    <a:pt x="584533" y="420195"/>
                    <a:pt x="620687" y="374733"/>
                    <a:pt x="627605" y="316225"/>
                  </a:cubicBezTo>
                  <a:cubicBezTo>
                    <a:pt x="634522" y="257717"/>
                    <a:pt x="612464" y="193926"/>
                    <a:pt x="561366" y="124852"/>
                  </a:cubicBezTo>
                  <a:cubicBezTo>
                    <a:pt x="512879" y="57669"/>
                    <a:pt x="438679" y="13642"/>
                    <a:pt x="356452" y="3205"/>
                  </a:cubicBezTo>
                </a:path>
              </a:pathLst>
            </a:custGeom>
            <a:solidFill>
              <a:srgbClr val="DBE8F4">
                <a:alpha val="20000"/>
              </a:srgbClr>
            </a:solidFill>
            <a:ln w="4568" cap="flat">
              <a:noFill/>
              <a:prstDash val="solid"/>
              <a:miter/>
            </a:ln>
          </p:spPr>
          <p:txBody>
            <a:bodyPr rtlCol="0" anchor="ctr"/>
            <a:lstStyle/>
            <a:p>
              <a:pPr lvl="0"/>
              <a:endParaRPr lang="en-US"/>
            </a:p>
          </p:txBody>
        </p:sp>
        <p:sp>
          <p:nvSpPr>
            <p:cNvPr id="3" name="Graphic 1013">
              <a:extLst>
                <a:ext uri="{FF2B5EF4-FFF2-40B4-BE49-F238E27FC236}">
                  <a16:creationId xmlns:a16="http://schemas.microsoft.com/office/drawing/2014/main" id="{66516FF4-5C31-F9D7-BB73-C1AE2356E249}"/>
                </a:ext>
              </a:extLst>
            </p:cNvPr>
            <p:cNvSpPr/>
            <p:nvPr userDrawn="1"/>
          </p:nvSpPr>
          <p:spPr>
            <a:xfrm rot="701115">
              <a:off x="8356038" y="2538993"/>
              <a:ext cx="3632120" cy="3233119"/>
            </a:xfrm>
            <a:custGeom>
              <a:avLst/>
              <a:gdLst>
                <a:gd name="connsiteX0" fmla="*/ 59974 w 988434"/>
                <a:gd name="connsiteY0" fmla="*/ 781464 h 879851"/>
                <a:gd name="connsiteX1" fmla="*/ 112051 w 988434"/>
                <a:gd name="connsiteY1" fmla="*/ 830744 h 879851"/>
                <a:gd name="connsiteX2" fmla="*/ 172053 w 988434"/>
                <a:gd name="connsiteY2" fmla="*/ 865419 h 879851"/>
                <a:gd name="connsiteX3" fmla="*/ 196771 w 988434"/>
                <a:gd name="connsiteY3" fmla="*/ 873711 h 879851"/>
                <a:gd name="connsiteX4" fmla="*/ 228093 w 988434"/>
                <a:gd name="connsiteY4" fmla="*/ 879647 h 879851"/>
                <a:gd name="connsiteX5" fmla="*/ 289038 w 988434"/>
                <a:gd name="connsiteY5" fmla="*/ 874370 h 879851"/>
                <a:gd name="connsiteX6" fmla="*/ 344229 w 988434"/>
                <a:gd name="connsiteY6" fmla="*/ 861556 h 879851"/>
                <a:gd name="connsiteX7" fmla="*/ 405174 w 988434"/>
                <a:gd name="connsiteY7" fmla="*/ 839507 h 879851"/>
                <a:gd name="connsiteX8" fmla="*/ 543670 w 988434"/>
                <a:gd name="connsiteY8" fmla="*/ 773455 h 879851"/>
                <a:gd name="connsiteX9" fmla="*/ 742450 w 988434"/>
                <a:gd name="connsiteY9" fmla="*/ 673387 h 879851"/>
                <a:gd name="connsiteX10" fmla="*/ 796226 w 988434"/>
                <a:gd name="connsiteY10" fmla="*/ 649736 h 879851"/>
                <a:gd name="connsiteX11" fmla="*/ 822547 w 988434"/>
                <a:gd name="connsiteY11" fmla="*/ 636827 h 879851"/>
                <a:gd name="connsiteX12" fmla="*/ 932079 w 988434"/>
                <a:gd name="connsiteY12" fmla="*/ 550422 h 879851"/>
                <a:gd name="connsiteX13" fmla="*/ 957363 w 988434"/>
                <a:gd name="connsiteY13" fmla="*/ 507832 h 879851"/>
                <a:gd name="connsiteX14" fmla="*/ 960193 w 988434"/>
                <a:gd name="connsiteY14" fmla="*/ 501048 h 879851"/>
                <a:gd name="connsiteX15" fmla="*/ 984156 w 988434"/>
                <a:gd name="connsiteY15" fmla="*/ 355563 h 879851"/>
                <a:gd name="connsiteX16" fmla="*/ 983590 w 988434"/>
                <a:gd name="connsiteY16" fmla="*/ 354809 h 879851"/>
                <a:gd name="connsiteX17" fmla="*/ 903588 w 988434"/>
                <a:gd name="connsiteY17" fmla="*/ 243717 h 879851"/>
                <a:gd name="connsiteX18" fmla="*/ 885663 w 988434"/>
                <a:gd name="connsiteY18" fmla="*/ 232410 h 879851"/>
                <a:gd name="connsiteX19" fmla="*/ 851416 w 988434"/>
                <a:gd name="connsiteY19" fmla="*/ 211398 h 879851"/>
                <a:gd name="connsiteX20" fmla="*/ 828113 w 988434"/>
                <a:gd name="connsiteY20" fmla="*/ 200090 h 879851"/>
                <a:gd name="connsiteX21" fmla="*/ 573388 w 988434"/>
                <a:gd name="connsiteY21" fmla="*/ 74770 h 879851"/>
                <a:gd name="connsiteX22" fmla="*/ 541500 w 988434"/>
                <a:gd name="connsiteY22" fmla="*/ 57527 h 879851"/>
                <a:gd name="connsiteX23" fmla="*/ 450082 w 988434"/>
                <a:gd name="connsiteY23" fmla="*/ 15408 h 879851"/>
                <a:gd name="connsiteX24" fmla="*/ 409797 w 988434"/>
                <a:gd name="connsiteY24" fmla="*/ 5608 h 879851"/>
                <a:gd name="connsiteX25" fmla="*/ 349418 w 988434"/>
                <a:gd name="connsiteY25" fmla="*/ 49 h 879851"/>
                <a:gd name="connsiteX26" fmla="*/ 305171 w 988434"/>
                <a:gd name="connsiteY26" fmla="*/ 7681 h 879851"/>
                <a:gd name="connsiteX27" fmla="*/ 261585 w 988434"/>
                <a:gd name="connsiteY27" fmla="*/ 24925 h 879851"/>
                <a:gd name="connsiteX28" fmla="*/ 221961 w 988434"/>
                <a:gd name="connsiteY28" fmla="*/ 53852 h 879851"/>
                <a:gd name="connsiteX29" fmla="*/ 180827 w 988434"/>
                <a:gd name="connsiteY29" fmla="*/ 95217 h 879851"/>
                <a:gd name="connsiteX30" fmla="*/ 146958 w 988434"/>
                <a:gd name="connsiteY30" fmla="*/ 141670 h 879851"/>
                <a:gd name="connsiteX31" fmla="*/ 78748 w 988434"/>
                <a:gd name="connsiteY31" fmla="*/ 271891 h 879851"/>
                <a:gd name="connsiteX32" fmla="*/ 54408 w 988434"/>
                <a:gd name="connsiteY32" fmla="*/ 339922 h 879851"/>
                <a:gd name="connsiteX33" fmla="*/ 8651 w 988434"/>
                <a:gd name="connsiteY33" fmla="*/ 522154 h 879851"/>
                <a:gd name="connsiteX34" fmla="*/ 160 w 988434"/>
                <a:gd name="connsiteY34" fmla="*/ 610350 h 879851"/>
                <a:gd name="connsiteX35" fmla="*/ 2802 w 988434"/>
                <a:gd name="connsiteY35" fmla="*/ 659253 h 879851"/>
                <a:gd name="connsiteX36" fmla="*/ 32614 w 988434"/>
                <a:gd name="connsiteY36" fmla="*/ 742925 h 879851"/>
                <a:gd name="connsiteX37" fmla="*/ 59974 w 988434"/>
                <a:gd name="connsiteY37" fmla="*/ 781558 h 87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88434" h="879851">
                  <a:moveTo>
                    <a:pt x="59974" y="781464"/>
                  </a:moveTo>
                  <a:cubicBezTo>
                    <a:pt x="75635" y="799649"/>
                    <a:pt x="93088" y="816139"/>
                    <a:pt x="112051" y="830744"/>
                  </a:cubicBezTo>
                  <a:cubicBezTo>
                    <a:pt x="129788" y="845726"/>
                    <a:pt x="150166" y="857504"/>
                    <a:pt x="172053" y="865419"/>
                  </a:cubicBezTo>
                  <a:cubicBezTo>
                    <a:pt x="180072" y="868905"/>
                    <a:pt x="188280" y="871638"/>
                    <a:pt x="196771" y="873711"/>
                  </a:cubicBezTo>
                  <a:cubicBezTo>
                    <a:pt x="207054" y="876349"/>
                    <a:pt x="217526" y="878328"/>
                    <a:pt x="228093" y="879647"/>
                  </a:cubicBezTo>
                  <a:cubicBezTo>
                    <a:pt x="248565" y="880495"/>
                    <a:pt x="269038" y="878705"/>
                    <a:pt x="289038" y="874370"/>
                  </a:cubicBezTo>
                  <a:cubicBezTo>
                    <a:pt x="307813" y="872015"/>
                    <a:pt x="326304" y="867680"/>
                    <a:pt x="344229" y="861556"/>
                  </a:cubicBezTo>
                  <a:cubicBezTo>
                    <a:pt x="367060" y="853075"/>
                    <a:pt x="387438" y="845726"/>
                    <a:pt x="405174" y="839507"/>
                  </a:cubicBezTo>
                  <a:cubicBezTo>
                    <a:pt x="452723" y="818589"/>
                    <a:pt x="498857" y="796540"/>
                    <a:pt x="543670" y="773455"/>
                  </a:cubicBezTo>
                  <a:lnTo>
                    <a:pt x="742450" y="673387"/>
                  </a:lnTo>
                  <a:cubicBezTo>
                    <a:pt x="759998" y="665283"/>
                    <a:pt x="777923" y="657368"/>
                    <a:pt x="796226" y="649736"/>
                  </a:cubicBezTo>
                  <a:cubicBezTo>
                    <a:pt x="804716" y="645213"/>
                    <a:pt x="813490" y="640785"/>
                    <a:pt x="822547" y="636827"/>
                  </a:cubicBezTo>
                  <a:cubicBezTo>
                    <a:pt x="864813" y="616192"/>
                    <a:pt x="902267" y="586793"/>
                    <a:pt x="932079" y="550422"/>
                  </a:cubicBezTo>
                  <a:cubicBezTo>
                    <a:pt x="941608" y="536854"/>
                    <a:pt x="950099" y="522625"/>
                    <a:pt x="957363" y="507832"/>
                  </a:cubicBezTo>
                  <a:cubicBezTo>
                    <a:pt x="958118" y="505476"/>
                    <a:pt x="959061" y="503215"/>
                    <a:pt x="960193" y="501048"/>
                  </a:cubicBezTo>
                  <a:cubicBezTo>
                    <a:pt x="986326" y="447999"/>
                    <a:pt x="994346" y="399566"/>
                    <a:pt x="984156" y="355563"/>
                  </a:cubicBezTo>
                  <a:lnTo>
                    <a:pt x="983590" y="354809"/>
                  </a:lnTo>
                  <a:cubicBezTo>
                    <a:pt x="973401" y="314198"/>
                    <a:pt x="946797" y="277167"/>
                    <a:pt x="903588" y="243717"/>
                  </a:cubicBezTo>
                  <a:cubicBezTo>
                    <a:pt x="897833" y="240231"/>
                    <a:pt x="891889" y="236085"/>
                    <a:pt x="885663" y="232410"/>
                  </a:cubicBezTo>
                  <a:cubicBezTo>
                    <a:pt x="874341" y="225908"/>
                    <a:pt x="862832" y="218841"/>
                    <a:pt x="851416" y="211398"/>
                  </a:cubicBezTo>
                  <a:cubicBezTo>
                    <a:pt x="843774" y="208100"/>
                    <a:pt x="836133" y="204331"/>
                    <a:pt x="828113" y="200090"/>
                  </a:cubicBezTo>
                  <a:cubicBezTo>
                    <a:pt x="741035" y="162589"/>
                    <a:pt x="656032" y="120752"/>
                    <a:pt x="573388" y="74770"/>
                  </a:cubicBezTo>
                  <a:cubicBezTo>
                    <a:pt x="562538" y="68834"/>
                    <a:pt x="551972" y="63086"/>
                    <a:pt x="541500" y="57527"/>
                  </a:cubicBezTo>
                  <a:cubicBezTo>
                    <a:pt x="511782" y="41791"/>
                    <a:pt x="481309" y="27751"/>
                    <a:pt x="450082" y="15408"/>
                  </a:cubicBezTo>
                  <a:cubicBezTo>
                    <a:pt x="435836" y="11262"/>
                    <a:pt x="422439" y="8058"/>
                    <a:pt x="409797" y="5608"/>
                  </a:cubicBezTo>
                  <a:cubicBezTo>
                    <a:pt x="389796" y="1462"/>
                    <a:pt x="369607" y="-328"/>
                    <a:pt x="349418" y="49"/>
                  </a:cubicBezTo>
                  <a:cubicBezTo>
                    <a:pt x="334417" y="1180"/>
                    <a:pt x="319605" y="3724"/>
                    <a:pt x="305171" y="7681"/>
                  </a:cubicBezTo>
                  <a:cubicBezTo>
                    <a:pt x="290170" y="12016"/>
                    <a:pt x="275547" y="17763"/>
                    <a:pt x="261585" y="24925"/>
                  </a:cubicBezTo>
                  <a:cubicBezTo>
                    <a:pt x="247622" y="33499"/>
                    <a:pt x="234319" y="43110"/>
                    <a:pt x="221961" y="53852"/>
                  </a:cubicBezTo>
                  <a:cubicBezTo>
                    <a:pt x="207054" y="66384"/>
                    <a:pt x="193280" y="80141"/>
                    <a:pt x="180827" y="95217"/>
                  </a:cubicBezTo>
                  <a:cubicBezTo>
                    <a:pt x="168751" y="110105"/>
                    <a:pt x="157430" y="125558"/>
                    <a:pt x="146958" y="141670"/>
                  </a:cubicBezTo>
                  <a:cubicBezTo>
                    <a:pt x="120542" y="183036"/>
                    <a:pt x="97711" y="226568"/>
                    <a:pt x="78748" y="271891"/>
                  </a:cubicBezTo>
                  <a:cubicBezTo>
                    <a:pt x="70257" y="293939"/>
                    <a:pt x="62144" y="316554"/>
                    <a:pt x="54408" y="339922"/>
                  </a:cubicBezTo>
                  <a:cubicBezTo>
                    <a:pt x="35633" y="399755"/>
                    <a:pt x="20444" y="460531"/>
                    <a:pt x="8651" y="522154"/>
                  </a:cubicBezTo>
                  <a:cubicBezTo>
                    <a:pt x="4029" y="551364"/>
                    <a:pt x="1104" y="580857"/>
                    <a:pt x="160" y="610350"/>
                  </a:cubicBezTo>
                  <a:cubicBezTo>
                    <a:pt x="-406" y="626651"/>
                    <a:pt x="538" y="643046"/>
                    <a:pt x="2802" y="659253"/>
                  </a:cubicBezTo>
                  <a:cubicBezTo>
                    <a:pt x="6010" y="689122"/>
                    <a:pt x="16199" y="717767"/>
                    <a:pt x="32614" y="742925"/>
                  </a:cubicBezTo>
                  <a:cubicBezTo>
                    <a:pt x="40634" y="756494"/>
                    <a:pt x="49785" y="769497"/>
                    <a:pt x="59974" y="781558"/>
                  </a:cubicBezTo>
                  <a:close/>
                </a:path>
              </a:pathLst>
            </a:custGeom>
            <a:solidFill>
              <a:schemeClr val="accent5">
                <a:alpha val="45000"/>
              </a:schemeClr>
            </a:solidFill>
            <a:ln w="9434"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2318440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 Dark">
    <p:bg>
      <p:bgPr>
        <a:solidFill>
          <a:schemeClr val="accent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E81B9A-7481-D45A-8000-FAA36612D410}"/>
              </a:ext>
            </a:extLst>
          </p:cNvPr>
          <p:cNvSpPr/>
          <p:nvPr userDrawn="1"/>
        </p:nvSpPr>
        <p:spPr>
          <a:xfrm>
            <a:off x="6614555" y="0"/>
            <a:ext cx="5577445" cy="6857999"/>
          </a:xfrm>
          <a:prstGeom prst="rect">
            <a:avLst/>
          </a:prstGeom>
          <a:gradFill flip="none" rotWithShape="1">
            <a:gsLst>
              <a:gs pos="0">
                <a:schemeClr val="accent3">
                  <a:lumMod val="75000"/>
                </a:schemeClr>
              </a:gs>
              <a:gs pos="100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Footer Placeholder 4">
            <a:extLst>
              <a:ext uri="{FF2B5EF4-FFF2-40B4-BE49-F238E27FC236}">
                <a16:creationId xmlns:a16="http://schemas.microsoft.com/office/drawing/2014/main" id="{D5B6BAC8-364F-8C10-21A8-18A2903988F9}"/>
              </a:ext>
            </a:extLst>
          </p:cNvPr>
          <p:cNvSpPr>
            <a:spLocks noGrp="1"/>
          </p:cNvSpPr>
          <p:nvPr>
            <p:ph type="ftr" sz="quarter" idx="11"/>
          </p:nvPr>
        </p:nvSpPr>
        <p:spPr>
          <a:xfrm>
            <a:off x="7035783" y="6566905"/>
            <a:ext cx="4616955" cy="116955"/>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638800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Secondary">
    <p:bg>
      <p:bgPr>
        <a:solidFill>
          <a:schemeClr val="accent3"/>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C28ED19-8A54-1806-4FE2-E6E945941A92}"/>
              </a:ext>
            </a:extLst>
          </p:cNvPr>
          <p:cNvSpPr/>
          <p:nvPr userDrawn="1"/>
        </p:nvSpPr>
        <p:spPr>
          <a:xfrm>
            <a:off x="6773471" y="-2"/>
            <a:ext cx="5418529" cy="6858002"/>
          </a:xfrm>
          <a:prstGeom prst="rect">
            <a:avLst/>
          </a:prstGeom>
          <a:gradFill flip="none" rotWithShape="1">
            <a:gsLst>
              <a:gs pos="100000">
                <a:schemeClr val="accent3">
                  <a:lumMod val="75000"/>
                </a:schemeClr>
              </a:gs>
              <a:gs pos="0">
                <a:schemeClr val="accent3">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4" name="Freeform 13">
            <a:extLst>
              <a:ext uri="{FF2B5EF4-FFF2-40B4-BE49-F238E27FC236}">
                <a16:creationId xmlns:a16="http://schemas.microsoft.com/office/drawing/2014/main" id="{4E35C050-110E-520A-30B9-2BD72FC6423F}"/>
              </a:ext>
            </a:extLst>
          </p:cNvPr>
          <p:cNvSpPr/>
          <p:nvPr userDrawn="1"/>
        </p:nvSpPr>
        <p:spPr>
          <a:xfrm>
            <a:off x="1" y="0"/>
            <a:ext cx="8127999" cy="6858001"/>
          </a:xfrm>
          <a:custGeom>
            <a:avLst/>
            <a:gdLst>
              <a:gd name="connsiteX0" fmla="*/ 0 w 8127999"/>
              <a:gd name="connsiteY0" fmla="*/ 0 h 6858001"/>
              <a:gd name="connsiteX1" fmla="*/ 2550553 w 8127999"/>
              <a:gd name="connsiteY1" fmla="*/ 0 h 6858001"/>
              <a:gd name="connsiteX2" fmla="*/ 2550553 w 8127999"/>
              <a:gd name="connsiteY2" fmla="*/ 1 h 6858001"/>
              <a:gd name="connsiteX3" fmla="*/ 6365822 w 8127999"/>
              <a:gd name="connsiteY3" fmla="*/ 1 h 6858001"/>
              <a:gd name="connsiteX4" fmla="*/ 7108919 w 8127999"/>
              <a:gd name="connsiteY4" fmla="*/ 1 h 6858001"/>
              <a:gd name="connsiteX5" fmla="*/ 7877191 w 8127999"/>
              <a:gd name="connsiteY5" fmla="*/ 1 h 6858001"/>
              <a:gd name="connsiteX6" fmla="*/ 7885290 w 8127999"/>
              <a:gd name="connsiteY6" fmla="*/ 79960 h 6858001"/>
              <a:gd name="connsiteX7" fmla="*/ 7917289 w 8127999"/>
              <a:gd name="connsiteY7" fmla="*/ 6542387 h 6858001"/>
              <a:gd name="connsiteX8" fmla="*/ 7873919 w 8127999"/>
              <a:gd name="connsiteY8" fmla="*/ 6858001 h 6858001"/>
              <a:gd name="connsiteX9" fmla="*/ 7108919 w 8127999"/>
              <a:gd name="connsiteY9" fmla="*/ 6858001 h 6858001"/>
              <a:gd name="connsiteX10" fmla="*/ 6365822 w 8127999"/>
              <a:gd name="connsiteY10" fmla="*/ 6858001 h 6858001"/>
              <a:gd name="connsiteX11" fmla="*/ 1785316 w 8127999"/>
              <a:gd name="connsiteY11" fmla="*/ 6858001 h 6858001"/>
              <a:gd name="connsiteX12" fmla="*/ 1785316 w 8127999"/>
              <a:gd name="connsiteY12" fmla="*/ 6857999 h 6858001"/>
              <a:gd name="connsiteX13" fmla="*/ 0 w 8127999"/>
              <a:gd name="connsiteY13" fmla="*/ 685799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27999" h="6858001">
                <a:moveTo>
                  <a:pt x="0" y="0"/>
                </a:moveTo>
                <a:lnTo>
                  <a:pt x="2550553" y="0"/>
                </a:lnTo>
                <a:lnTo>
                  <a:pt x="2550553" y="1"/>
                </a:lnTo>
                <a:lnTo>
                  <a:pt x="6365822" y="1"/>
                </a:lnTo>
                <a:lnTo>
                  <a:pt x="7108919" y="1"/>
                </a:lnTo>
                <a:lnTo>
                  <a:pt x="7877191" y="1"/>
                </a:lnTo>
                <a:lnTo>
                  <a:pt x="7885290" y="79960"/>
                </a:lnTo>
                <a:cubicBezTo>
                  <a:pt x="7983208" y="992764"/>
                  <a:pt x="8359809" y="3160814"/>
                  <a:pt x="7917289" y="6542387"/>
                </a:cubicBezTo>
                <a:lnTo>
                  <a:pt x="7873919" y="6858001"/>
                </a:lnTo>
                <a:lnTo>
                  <a:pt x="7108919" y="6858001"/>
                </a:lnTo>
                <a:lnTo>
                  <a:pt x="6365822" y="6858001"/>
                </a:lnTo>
                <a:lnTo>
                  <a:pt x="1785316" y="6858001"/>
                </a:lnTo>
                <a:lnTo>
                  <a:pt x="1785316" y="6857999"/>
                </a:lnTo>
                <a:lnTo>
                  <a:pt x="0" y="685799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itle 1">
            <a:extLst>
              <a:ext uri="{FF2B5EF4-FFF2-40B4-BE49-F238E27FC236}">
                <a16:creationId xmlns:a16="http://schemas.microsoft.com/office/drawing/2014/main" id="{4D05E77D-6145-7B32-3827-95E2EB5B0D18}"/>
              </a:ext>
            </a:extLst>
          </p:cNvPr>
          <p:cNvSpPr>
            <a:spLocks noGrp="1"/>
          </p:cNvSpPr>
          <p:nvPr>
            <p:ph type="title" hasCustomPrompt="1"/>
          </p:nvPr>
        </p:nvSpPr>
        <p:spPr>
          <a:xfrm>
            <a:off x="527050" y="2819602"/>
            <a:ext cx="7315200" cy="609398"/>
          </a:xfrm>
        </p:spPr>
        <p:txBody>
          <a:bodyPr wrap="square" anchor="b">
            <a:spAutoFit/>
          </a:bodyPr>
          <a:lstStyle>
            <a:lvl1pPr>
              <a:lnSpc>
                <a:spcPct val="90000"/>
              </a:lnSpc>
              <a:spcAft>
                <a:spcPts val="0"/>
              </a:spcAft>
              <a:defRPr sz="2200">
                <a:solidFill>
                  <a:schemeClr val="accent1"/>
                </a:solidFill>
              </a:defRPr>
            </a:lvl1pPr>
          </a:lstStyle>
          <a:p>
            <a:r>
              <a:rPr lang="en-US"/>
              <a:t>Click to edit</a:t>
            </a:r>
            <a:br>
              <a:rPr lang="en-US"/>
            </a:br>
            <a:r>
              <a:rPr lang="en-US"/>
              <a:t>Master title style</a:t>
            </a:r>
          </a:p>
        </p:txBody>
      </p:sp>
      <p:sp>
        <p:nvSpPr>
          <p:cNvPr id="10" name="Content Placeholder 2">
            <a:extLst>
              <a:ext uri="{FF2B5EF4-FFF2-40B4-BE49-F238E27FC236}">
                <a16:creationId xmlns:a16="http://schemas.microsoft.com/office/drawing/2014/main" id="{4AA6B77C-E6B7-92D2-757D-15BCC8C0AEF6}"/>
              </a:ext>
            </a:extLst>
          </p:cNvPr>
          <p:cNvSpPr>
            <a:spLocks noGrp="1"/>
          </p:cNvSpPr>
          <p:nvPr>
            <p:ph idx="1" hasCustomPrompt="1"/>
          </p:nvPr>
        </p:nvSpPr>
        <p:spPr>
          <a:xfrm>
            <a:off x="527051" y="3428999"/>
            <a:ext cx="7315199" cy="1417320"/>
          </a:xfrm>
        </p:spPr>
        <p:txBody>
          <a:bodyPr wrap="square" anchor="ctr" anchorCtr="0">
            <a:noAutofit/>
          </a:bodyPr>
          <a:lstStyle>
            <a:lvl1pPr marL="0" indent="0">
              <a:spcBef>
                <a:spcPts val="600"/>
              </a:spcBef>
              <a:buNone/>
              <a:defRPr sz="1400">
                <a:solidFill>
                  <a:schemeClr val="tx2">
                    <a:lumMod val="75000"/>
                  </a:schemeClr>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uthors</a:t>
            </a:r>
          </a:p>
        </p:txBody>
      </p:sp>
      <p:sp>
        <p:nvSpPr>
          <p:cNvPr id="20" name="Content Placeholder 2">
            <a:extLst>
              <a:ext uri="{FF2B5EF4-FFF2-40B4-BE49-F238E27FC236}">
                <a16:creationId xmlns:a16="http://schemas.microsoft.com/office/drawing/2014/main" id="{A1ECF00A-9E2F-8851-803B-2A3576FBBD3C}"/>
              </a:ext>
            </a:extLst>
          </p:cNvPr>
          <p:cNvSpPr>
            <a:spLocks noGrp="1"/>
          </p:cNvSpPr>
          <p:nvPr>
            <p:ph idx="10" hasCustomPrompt="1"/>
          </p:nvPr>
        </p:nvSpPr>
        <p:spPr>
          <a:xfrm>
            <a:off x="527051" y="4846319"/>
            <a:ext cx="7315199" cy="1828800"/>
          </a:xfrm>
        </p:spPr>
        <p:txBody>
          <a:bodyPr wrap="square" anchor="t" anchorCtr="0">
            <a:noAutofit/>
          </a:bodyPr>
          <a:lstStyle>
            <a:lvl1pPr marL="0" indent="0">
              <a:spcBef>
                <a:spcPts val="600"/>
              </a:spcBef>
              <a:buNone/>
              <a:defRPr sz="1000" b="0">
                <a:solidFill>
                  <a:schemeClr val="tx2">
                    <a:lumMod val="75000"/>
                  </a:schemeClr>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ffiliations</a:t>
            </a:r>
          </a:p>
        </p:txBody>
      </p:sp>
      <p:sp>
        <p:nvSpPr>
          <p:cNvPr id="3" name="Graphic 1013">
            <a:extLst>
              <a:ext uri="{FF2B5EF4-FFF2-40B4-BE49-F238E27FC236}">
                <a16:creationId xmlns:a16="http://schemas.microsoft.com/office/drawing/2014/main" id="{66516FF4-5C31-F9D7-BB73-C1AE2356E249}"/>
              </a:ext>
            </a:extLst>
          </p:cNvPr>
          <p:cNvSpPr/>
          <p:nvPr userDrawn="1"/>
        </p:nvSpPr>
        <p:spPr>
          <a:xfrm rot="701115">
            <a:off x="8356038" y="2538993"/>
            <a:ext cx="3632120" cy="3233119"/>
          </a:xfrm>
          <a:custGeom>
            <a:avLst/>
            <a:gdLst>
              <a:gd name="connsiteX0" fmla="*/ 59974 w 988434"/>
              <a:gd name="connsiteY0" fmla="*/ 781464 h 879851"/>
              <a:gd name="connsiteX1" fmla="*/ 112051 w 988434"/>
              <a:gd name="connsiteY1" fmla="*/ 830744 h 879851"/>
              <a:gd name="connsiteX2" fmla="*/ 172053 w 988434"/>
              <a:gd name="connsiteY2" fmla="*/ 865419 h 879851"/>
              <a:gd name="connsiteX3" fmla="*/ 196771 w 988434"/>
              <a:gd name="connsiteY3" fmla="*/ 873711 h 879851"/>
              <a:gd name="connsiteX4" fmla="*/ 228093 w 988434"/>
              <a:gd name="connsiteY4" fmla="*/ 879647 h 879851"/>
              <a:gd name="connsiteX5" fmla="*/ 289038 w 988434"/>
              <a:gd name="connsiteY5" fmla="*/ 874370 h 879851"/>
              <a:gd name="connsiteX6" fmla="*/ 344229 w 988434"/>
              <a:gd name="connsiteY6" fmla="*/ 861556 h 879851"/>
              <a:gd name="connsiteX7" fmla="*/ 405174 w 988434"/>
              <a:gd name="connsiteY7" fmla="*/ 839507 h 879851"/>
              <a:gd name="connsiteX8" fmla="*/ 543670 w 988434"/>
              <a:gd name="connsiteY8" fmla="*/ 773455 h 879851"/>
              <a:gd name="connsiteX9" fmla="*/ 742450 w 988434"/>
              <a:gd name="connsiteY9" fmla="*/ 673387 h 879851"/>
              <a:gd name="connsiteX10" fmla="*/ 796226 w 988434"/>
              <a:gd name="connsiteY10" fmla="*/ 649736 h 879851"/>
              <a:gd name="connsiteX11" fmla="*/ 822547 w 988434"/>
              <a:gd name="connsiteY11" fmla="*/ 636827 h 879851"/>
              <a:gd name="connsiteX12" fmla="*/ 932079 w 988434"/>
              <a:gd name="connsiteY12" fmla="*/ 550422 h 879851"/>
              <a:gd name="connsiteX13" fmla="*/ 957363 w 988434"/>
              <a:gd name="connsiteY13" fmla="*/ 507832 h 879851"/>
              <a:gd name="connsiteX14" fmla="*/ 960193 w 988434"/>
              <a:gd name="connsiteY14" fmla="*/ 501048 h 879851"/>
              <a:gd name="connsiteX15" fmla="*/ 984156 w 988434"/>
              <a:gd name="connsiteY15" fmla="*/ 355563 h 879851"/>
              <a:gd name="connsiteX16" fmla="*/ 983590 w 988434"/>
              <a:gd name="connsiteY16" fmla="*/ 354809 h 879851"/>
              <a:gd name="connsiteX17" fmla="*/ 903588 w 988434"/>
              <a:gd name="connsiteY17" fmla="*/ 243717 h 879851"/>
              <a:gd name="connsiteX18" fmla="*/ 885663 w 988434"/>
              <a:gd name="connsiteY18" fmla="*/ 232410 h 879851"/>
              <a:gd name="connsiteX19" fmla="*/ 851416 w 988434"/>
              <a:gd name="connsiteY19" fmla="*/ 211398 h 879851"/>
              <a:gd name="connsiteX20" fmla="*/ 828113 w 988434"/>
              <a:gd name="connsiteY20" fmla="*/ 200090 h 879851"/>
              <a:gd name="connsiteX21" fmla="*/ 573388 w 988434"/>
              <a:gd name="connsiteY21" fmla="*/ 74770 h 879851"/>
              <a:gd name="connsiteX22" fmla="*/ 541500 w 988434"/>
              <a:gd name="connsiteY22" fmla="*/ 57527 h 879851"/>
              <a:gd name="connsiteX23" fmla="*/ 450082 w 988434"/>
              <a:gd name="connsiteY23" fmla="*/ 15408 h 879851"/>
              <a:gd name="connsiteX24" fmla="*/ 409797 w 988434"/>
              <a:gd name="connsiteY24" fmla="*/ 5608 h 879851"/>
              <a:gd name="connsiteX25" fmla="*/ 349418 w 988434"/>
              <a:gd name="connsiteY25" fmla="*/ 49 h 879851"/>
              <a:gd name="connsiteX26" fmla="*/ 305171 w 988434"/>
              <a:gd name="connsiteY26" fmla="*/ 7681 h 879851"/>
              <a:gd name="connsiteX27" fmla="*/ 261585 w 988434"/>
              <a:gd name="connsiteY27" fmla="*/ 24925 h 879851"/>
              <a:gd name="connsiteX28" fmla="*/ 221961 w 988434"/>
              <a:gd name="connsiteY28" fmla="*/ 53852 h 879851"/>
              <a:gd name="connsiteX29" fmla="*/ 180827 w 988434"/>
              <a:gd name="connsiteY29" fmla="*/ 95217 h 879851"/>
              <a:gd name="connsiteX30" fmla="*/ 146958 w 988434"/>
              <a:gd name="connsiteY30" fmla="*/ 141670 h 879851"/>
              <a:gd name="connsiteX31" fmla="*/ 78748 w 988434"/>
              <a:gd name="connsiteY31" fmla="*/ 271891 h 879851"/>
              <a:gd name="connsiteX32" fmla="*/ 54408 w 988434"/>
              <a:gd name="connsiteY32" fmla="*/ 339922 h 879851"/>
              <a:gd name="connsiteX33" fmla="*/ 8651 w 988434"/>
              <a:gd name="connsiteY33" fmla="*/ 522154 h 879851"/>
              <a:gd name="connsiteX34" fmla="*/ 160 w 988434"/>
              <a:gd name="connsiteY34" fmla="*/ 610350 h 879851"/>
              <a:gd name="connsiteX35" fmla="*/ 2802 w 988434"/>
              <a:gd name="connsiteY35" fmla="*/ 659253 h 879851"/>
              <a:gd name="connsiteX36" fmla="*/ 32614 w 988434"/>
              <a:gd name="connsiteY36" fmla="*/ 742925 h 879851"/>
              <a:gd name="connsiteX37" fmla="*/ 59974 w 988434"/>
              <a:gd name="connsiteY37" fmla="*/ 781558 h 87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88434" h="879851">
                <a:moveTo>
                  <a:pt x="59974" y="781464"/>
                </a:moveTo>
                <a:cubicBezTo>
                  <a:pt x="75635" y="799649"/>
                  <a:pt x="93088" y="816139"/>
                  <a:pt x="112051" y="830744"/>
                </a:cubicBezTo>
                <a:cubicBezTo>
                  <a:pt x="129788" y="845726"/>
                  <a:pt x="150166" y="857504"/>
                  <a:pt x="172053" y="865419"/>
                </a:cubicBezTo>
                <a:cubicBezTo>
                  <a:pt x="180072" y="868905"/>
                  <a:pt x="188280" y="871638"/>
                  <a:pt x="196771" y="873711"/>
                </a:cubicBezTo>
                <a:cubicBezTo>
                  <a:pt x="207054" y="876349"/>
                  <a:pt x="217526" y="878328"/>
                  <a:pt x="228093" y="879647"/>
                </a:cubicBezTo>
                <a:cubicBezTo>
                  <a:pt x="248565" y="880495"/>
                  <a:pt x="269038" y="878705"/>
                  <a:pt x="289038" y="874370"/>
                </a:cubicBezTo>
                <a:cubicBezTo>
                  <a:pt x="307813" y="872015"/>
                  <a:pt x="326304" y="867680"/>
                  <a:pt x="344229" y="861556"/>
                </a:cubicBezTo>
                <a:cubicBezTo>
                  <a:pt x="367060" y="853075"/>
                  <a:pt x="387438" y="845726"/>
                  <a:pt x="405174" y="839507"/>
                </a:cubicBezTo>
                <a:cubicBezTo>
                  <a:pt x="452723" y="818589"/>
                  <a:pt x="498857" y="796540"/>
                  <a:pt x="543670" y="773455"/>
                </a:cubicBezTo>
                <a:lnTo>
                  <a:pt x="742450" y="673387"/>
                </a:lnTo>
                <a:cubicBezTo>
                  <a:pt x="759998" y="665283"/>
                  <a:pt x="777923" y="657368"/>
                  <a:pt x="796226" y="649736"/>
                </a:cubicBezTo>
                <a:cubicBezTo>
                  <a:pt x="804716" y="645213"/>
                  <a:pt x="813490" y="640785"/>
                  <a:pt x="822547" y="636827"/>
                </a:cubicBezTo>
                <a:cubicBezTo>
                  <a:pt x="864813" y="616192"/>
                  <a:pt x="902267" y="586793"/>
                  <a:pt x="932079" y="550422"/>
                </a:cubicBezTo>
                <a:cubicBezTo>
                  <a:pt x="941608" y="536854"/>
                  <a:pt x="950099" y="522625"/>
                  <a:pt x="957363" y="507832"/>
                </a:cubicBezTo>
                <a:cubicBezTo>
                  <a:pt x="958118" y="505476"/>
                  <a:pt x="959061" y="503215"/>
                  <a:pt x="960193" y="501048"/>
                </a:cubicBezTo>
                <a:cubicBezTo>
                  <a:pt x="986326" y="447999"/>
                  <a:pt x="994346" y="399566"/>
                  <a:pt x="984156" y="355563"/>
                </a:cubicBezTo>
                <a:lnTo>
                  <a:pt x="983590" y="354809"/>
                </a:lnTo>
                <a:cubicBezTo>
                  <a:pt x="973401" y="314198"/>
                  <a:pt x="946797" y="277167"/>
                  <a:pt x="903588" y="243717"/>
                </a:cubicBezTo>
                <a:cubicBezTo>
                  <a:pt x="897833" y="240231"/>
                  <a:pt x="891889" y="236085"/>
                  <a:pt x="885663" y="232410"/>
                </a:cubicBezTo>
                <a:cubicBezTo>
                  <a:pt x="874341" y="225908"/>
                  <a:pt x="862832" y="218841"/>
                  <a:pt x="851416" y="211398"/>
                </a:cubicBezTo>
                <a:cubicBezTo>
                  <a:pt x="843774" y="208100"/>
                  <a:pt x="836133" y="204331"/>
                  <a:pt x="828113" y="200090"/>
                </a:cubicBezTo>
                <a:cubicBezTo>
                  <a:pt x="741035" y="162589"/>
                  <a:pt x="656032" y="120752"/>
                  <a:pt x="573388" y="74770"/>
                </a:cubicBezTo>
                <a:cubicBezTo>
                  <a:pt x="562538" y="68834"/>
                  <a:pt x="551972" y="63086"/>
                  <a:pt x="541500" y="57527"/>
                </a:cubicBezTo>
                <a:cubicBezTo>
                  <a:pt x="511782" y="41791"/>
                  <a:pt x="481309" y="27751"/>
                  <a:pt x="450082" y="15408"/>
                </a:cubicBezTo>
                <a:cubicBezTo>
                  <a:pt x="435836" y="11262"/>
                  <a:pt x="422439" y="8058"/>
                  <a:pt x="409797" y="5608"/>
                </a:cubicBezTo>
                <a:cubicBezTo>
                  <a:pt x="389796" y="1462"/>
                  <a:pt x="369607" y="-328"/>
                  <a:pt x="349418" y="49"/>
                </a:cubicBezTo>
                <a:cubicBezTo>
                  <a:pt x="334417" y="1180"/>
                  <a:pt x="319605" y="3724"/>
                  <a:pt x="305171" y="7681"/>
                </a:cubicBezTo>
                <a:cubicBezTo>
                  <a:pt x="290170" y="12016"/>
                  <a:pt x="275547" y="17763"/>
                  <a:pt x="261585" y="24925"/>
                </a:cubicBezTo>
                <a:cubicBezTo>
                  <a:pt x="247622" y="33499"/>
                  <a:pt x="234319" y="43110"/>
                  <a:pt x="221961" y="53852"/>
                </a:cubicBezTo>
                <a:cubicBezTo>
                  <a:pt x="207054" y="66384"/>
                  <a:pt x="193280" y="80141"/>
                  <a:pt x="180827" y="95217"/>
                </a:cubicBezTo>
                <a:cubicBezTo>
                  <a:pt x="168751" y="110105"/>
                  <a:pt x="157430" y="125558"/>
                  <a:pt x="146958" y="141670"/>
                </a:cubicBezTo>
                <a:cubicBezTo>
                  <a:pt x="120542" y="183036"/>
                  <a:pt x="97711" y="226568"/>
                  <a:pt x="78748" y="271891"/>
                </a:cubicBezTo>
                <a:cubicBezTo>
                  <a:pt x="70257" y="293939"/>
                  <a:pt x="62144" y="316554"/>
                  <a:pt x="54408" y="339922"/>
                </a:cubicBezTo>
                <a:cubicBezTo>
                  <a:pt x="35633" y="399755"/>
                  <a:pt x="20444" y="460531"/>
                  <a:pt x="8651" y="522154"/>
                </a:cubicBezTo>
                <a:cubicBezTo>
                  <a:pt x="4029" y="551364"/>
                  <a:pt x="1104" y="580857"/>
                  <a:pt x="160" y="610350"/>
                </a:cubicBezTo>
                <a:cubicBezTo>
                  <a:pt x="-406" y="626651"/>
                  <a:pt x="538" y="643046"/>
                  <a:pt x="2802" y="659253"/>
                </a:cubicBezTo>
                <a:cubicBezTo>
                  <a:pt x="6010" y="689122"/>
                  <a:pt x="16199" y="717767"/>
                  <a:pt x="32614" y="742925"/>
                </a:cubicBezTo>
                <a:cubicBezTo>
                  <a:pt x="40634" y="756494"/>
                  <a:pt x="49785" y="769497"/>
                  <a:pt x="59974" y="781558"/>
                </a:cubicBezTo>
                <a:close/>
              </a:path>
            </a:pathLst>
          </a:custGeom>
          <a:solidFill>
            <a:schemeClr val="accent5">
              <a:alpha val="45000"/>
            </a:schemeClr>
          </a:solidFill>
          <a:ln w="9434" cap="flat">
            <a:noFill/>
            <a:prstDash val="solid"/>
            <a:miter/>
          </a:ln>
        </p:spPr>
        <p:txBody>
          <a:bodyPr rtlCol="0" anchor="ctr"/>
          <a:lstStyle/>
          <a:p>
            <a:pPr lvl="0"/>
            <a:endParaRPr lang="en-US"/>
          </a:p>
        </p:txBody>
      </p:sp>
      <p:sp>
        <p:nvSpPr>
          <p:cNvPr id="2" name="Freeform 1">
            <a:extLst>
              <a:ext uri="{FF2B5EF4-FFF2-40B4-BE49-F238E27FC236}">
                <a16:creationId xmlns:a16="http://schemas.microsoft.com/office/drawing/2014/main" id="{B1CF0568-6D4A-517E-0D6C-CEF45698922B}"/>
              </a:ext>
            </a:extLst>
          </p:cNvPr>
          <p:cNvSpPr/>
          <p:nvPr userDrawn="1"/>
        </p:nvSpPr>
        <p:spPr>
          <a:xfrm rot="19320740">
            <a:off x="8896231" y="1085890"/>
            <a:ext cx="3131373" cy="2823382"/>
          </a:xfrm>
          <a:custGeom>
            <a:avLst/>
            <a:gdLst>
              <a:gd name="connsiteX0" fmla="*/ 356452 w 628843"/>
              <a:gd name="connsiteY0" fmla="*/ 3205 h 566992"/>
              <a:gd name="connsiteX1" fmla="*/ 3659 w 628843"/>
              <a:gd name="connsiteY1" fmla="*/ 266001 h 566992"/>
              <a:gd name="connsiteX2" fmla="*/ 62654 w 628843"/>
              <a:gd name="connsiteY2" fmla="*/ 497293 h 566992"/>
              <a:gd name="connsiteX3" fmla="*/ 280555 w 628843"/>
              <a:gd name="connsiteY3" fmla="*/ 551039 h 566992"/>
              <a:gd name="connsiteX4" fmla="*/ 519274 w 628843"/>
              <a:gd name="connsiteY4" fmla="*/ 452613 h 566992"/>
              <a:gd name="connsiteX5" fmla="*/ 627605 w 628843"/>
              <a:gd name="connsiteY5" fmla="*/ 316225 h 566992"/>
              <a:gd name="connsiteX6" fmla="*/ 561366 w 628843"/>
              <a:gd name="connsiteY6" fmla="*/ 124852 h 566992"/>
              <a:gd name="connsiteX7" fmla="*/ 356452 w 628843"/>
              <a:gd name="connsiteY7" fmla="*/ 3205 h 56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843" h="566992">
                <a:moveTo>
                  <a:pt x="356452" y="3205"/>
                </a:moveTo>
                <a:cubicBezTo>
                  <a:pt x="186516" y="-21189"/>
                  <a:pt x="28784" y="96283"/>
                  <a:pt x="3659" y="266001"/>
                </a:cubicBezTo>
                <a:cubicBezTo>
                  <a:pt x="-9197" y="347925"/>
                  <a:pt x="12143" y="431545"/>
                  <a:pt x="62654" y="497293"/>
                </a:cubicBezTo>
                <a:cubicBezTo>
                  <a:pt x="114013" y="565976"/>
                  <a:pt x="186647" y="583913"/>
                  <a:pt x="280555" y="551039"/>
                </a:cubicBezTo>
                <a:cubicBezTo>
                  <a:pt x="361999" y="522992"/>
                  <a:pt x="441680" y="490118"/>
                  <a:pt x="519274" y="452613"/>
                </a:cubicBezTo>
                <a:cubicBezTo>
                  <a:pt x="584533" y="420195"/>
                  <a:pt x="620687" y="374733"/>
                  <a:pt x="627605" y="316225"/>
                </a:cubicBezTo>
                <a:cubicBezTo>
                  <a:pt x="634522" y="257717"/>
                  <a:pt x="612464" y="193926"/>
                  <a:pt x="561366" y="124852"/>
                </a:cubicBezTo>
                <a:cubicBezTo>
                  <a:pt x="512879" y="57669"/>
                  <a:pt x="438679" y="13642"/>
                  <a:pt x="356452" y="3205"/>
                </a:cubicBezTo>
              </a:path>
            </a:pathLst>
          </a:custGeom>
          <a:solidFill>
            <a:schemeClr val="accent3">
              <a:lumMod val="75000"/>
            </a:schemeClr>
          </a:solidFill>
          <a:ln w="4568" cap="flat">
            <a:noFill/>
            <a:prstDash val="solid"/>
            <a:miter/>
          </a:ln>
        </p:spPr>
        <p:txBody>
          <a:bodyPr rtlCol="0" anchor="ctr"/>
          <a:lstStyle/>
          <a:p>
            <a:endParaRPr lang="en-US"/>
          </a:p>
        </p:txBody>
      </p:sp>
      <p:grpSp>
        <p:nvGrpSpPr>
          <p:cNvPr id="4" name="Graphic 18">
            <a:extLst>
              <a:ext uri="{FF2B5EF4-FFF2-40B4-BE49-F238E27FC236}">
                <a16:creationId xmlns:a16="http://schemas.microsoft.com/office/drawing/2014/main" id="{D49F14D7-CDA4-C177-17C3-F59E2C8C80D0}"/>
              </a:ext>
            </a:extLst>
          </p:cNvPr>
          <p:cNvGrpSpPr/>
          <p:nvPr userDrawn="1"/>
        </p:nvGrpSpPr>
        <p:grpSpPr>
          <a:xfrm>
            <a:off x="9528748" y="2206019"/>
            <a:ext cx="1866339" cy="583124"/>
            <a:chOff x="10559510" y="6248400"/>
            <a:chExt cx="1298564" cy="405727"/>
          </a:xfrm>
        </p:grpSpPr>
        <p:sp>
          <p:nvSpPr>
            <p:cNvPr id="6" name="Freeform 5">
              <a:extLst>
                <a:ext uri="{FF2B5EF4-FFF2-40B4-BE49-F238E27FC236}">
                  <a16:creationId xmlns:a16="http://schemas.microsoft.com/office/drawing/2014/main" id="{116AEF06-C11B-E723-1317-7076D5FF9669}"/>
                </a:ext>
              </a:extLst>
            </p:cNvPr>
            <p:cNvSpPr/>
            <p:nvPr/>
          </p:nvSpPr>
          <p:spPr>
            <a:xfrm>
              <a:off x="11683312" y="6459620"/>
              <a:ext cx="87407" cy="87362"/>
            </a:xfrm>
            <a:custGeom>
              <a:avLst/>
              <a:gdLst>
                <a:gd name="connsiteX0" fmla="*/ 0 w 87407"/>
                <a:gd name="connsiteY0" fmla="*/ 43681 h 87362"/>
                <a:gd name="connsiteX1" fmla="*/ 43690 w 87407"/>
                <a:gd name="connsiteY1" fmla="*/ 87363 h 87362"/>
                <a:gd name="connsiteX2" fmla="*/ 87408 w 87407"/>
                <a:gd name="connsiteY2" fmla="*/ 43681 h 87362"/>
                <a:gd name="connsiteX3" fmla="*/ 43690 w 87407"/>
                <a:gd name="connsiteY3" fmla="*/ 0 h 87362"/>
                <a:gd name="connsiteX4" fmla="*/ 0 w 87407"/>
                <a:gd name="connsiteY4" fmla="*/ 43681 h 87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07" h="87362">
                  <a:moveTo>
                    <a:pt x="0" y="43681"/>
                  </a:moveTo>
                  <a:cubicBezTo>
                    <a:pt x="0" y="67823"/>
                    <a:pt x="19556" y="87363"/>
                    <a:pt x="43690" y="87363"/>
                  </a:cubicBezTo>
                  <a:cubicBezTo>
                    <a:pt x="67825" y="87363"/>
                    <a:pt x="87408" y="67823"/>
                    <a:pt x="87408" y="43681"/>
                  </a:cubicBezTo>
                  <a:cubicBezTo>
                    <a:pt x="87408" y="19539"/>
                    <a:pt x="67825" y="0"/>
                    <a:pt x="43690" y="0"/>
                  </a:cubicBezTo>
                  <a:cubicBezTo>
                    <a:pt x="19556" y="0"/>
                    <a:pt x="0" y="19566"/>
                    <a:pt x="0" y="43681"/>
                  </a:cubicBezTo>
                </a:path>
              </a:pathLst>
            </a:custGeom>
            <a:solidFill>
              <a:schemeClr val="accent2"/>
            </a:solidFill>
            <a:ln w="268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DD9700C1-152A-FAA6-E1E0-910C53A6E4A2}"/>
                </a:ext>
              </a:extLst>
            </p:cNvPr>
            <p:cNvSpPr/>
            <p:nvPr/>
          </p:nvSpPr>
          <p:spPr>
            <a:xfrm>
              <a:off x="10559510" y="6418038"/>
              <a:ext cx="1039869" cy="236088"/>
            </a:xfrm>
            <a:custGeom>
              <a:avLst/>
              <a:gdLst>
                <a:gd name="connsiteX0" fmla="*/ 80674 w 1039869"/>
                <a:gd name="connsiteY0" fmla="*/ 33777 h 236088"/>
                <a:gd name="connsiteX1" fmla="*/ 104620 w 1039869"/>
                <a:gd name="connsiteY1" fmla="*/ 38487 h 236088"/>
                <a:gd name="connsiteX2" fmla="*/ 111031 w 1039869"/>
                <a:gd name="connsiteY2" fmla="*/ 57380 h 236088"/>
                <a:gd name="connsiteX3" fmla="*/ 111031 w 1039869"/>
                <a:gd name="connsiteY3" fmla="*/ 67500 h 236088"/>
                <a:gd name="connsiteX4" fmla="*/ 48943 w 1039869"/>
                <a:gd name="connsiteY4" fmla="*/ 67500 h 236088"/>
                <a:gd name="connsiteX5" fmla="*/ 12822 w 1039869"/>
                <a:gd name="connsiteY5" fmla="*/ 78293 h 236088"/>
                <a:gd name="connsiteX6" fmla="*/ 0 w 1039869"/>
                <a:gd name="connsiteY6" fmla="*/ 108974 h 236088"/>
                <a:gd name="connsiteX7" fmla="*/ 0 w 1039869"/>
                <a:gd name="connsiteY7" fmla="*/ 125849 h 236088"/>
                <a:gd name="connsiteX8" fmla="*/ 14519 w 1039869"/>
                <a:gd name="connsiteY8" fmla="*/ 161080 h 236088"/>
                <a:gd name="connsiteX9" fmla="*/ 52310 w 1039869"/>
                <a:gd name="connsiteY9" fmla="*/ 173729 h 236088"/>
                <a:gd name="connsiteX10" fmla="*/ 115421 w 1039869"/>
                <a:gd name="connsiteY10" fmla="*/ 144716 h 236088"/>
                <a:gd name="connsiteX11" fmla="*/ 119812 w 1039869"/>
                <a:gd name="connsiteY11" fmla="*/ 170015 h 236088"/>
                <a:gd name="connsiteX12" fmla="*/ 152216 w 1039869"/>
                <a:gd name="connsiteY12" fmla="*/ 170015 h 236088"/>
                <a:gd name="connsiteX13" fmla="*/ 152216 w 1039869"/>
                <a:gd name="connsiteY13" fmla="*/ 57703 h 236088"/>
                <a:gd name="connsiteX14" fmla="*/ 137213 w 1039869"/>
                <a:gd name="connsiteY14" fmla="*/ 12865 h 236088"/>
                <a:gd name="connsiteX15" fmla="*/ 90128 w 1039869"/>
                <a:gd name="connsiteY15" fmla="*/ 27 h 236088"/>
                <a:gd name="connsiteX16" fmla="*/ 7434 w 1039869"/>
                <a:gd name="connsiteY16" fmla="*/ 8101 h 236088"/>
                <a:gd name="connsiteX17" fmla="*/ 11475 w 1039869"/>
                <a:gd name="connsiteY17" fmla="*/ 37114 h 236088"/>
                <a:gd name="connsiteX18" fmla="*/ 80674 w 1039869"/>
                <a:gd name="connsiteY18" fmla="*/ 33750 h 236088"/>
                <a:gd name="connsiteX19" fmla="*/ 44714 w 1039869"/>
                <a:gd name="connsiteY19" fmla="*/ 100523 h 236088"/>
                <a:gd name="connsiteX20" fmla="*/ 58398 w 1039869"/>
                <a:gd name="connsiteY20" fmla="*/ 95464 h 236088"/>
                <a:gd name="connsiteX21" fmla="*/ 111058 w 1039869"/>
                <a:gd name="connsiteY21" fmla="*/ 95464 h 236088"/>
                <a:gd name="connsiteX22" fmla="*/ 111058 w 1039869"/>
                <a:gd name="connsiteY22" fmla="*/ 121113 h 236088"/>
                <a:gd name="connsiteX23" fmla="*/ 62465 w 1039869"/>
                <a:gd name="connsiteY23" fmla="*/ 140679 h 236088"/>
                <a:gd name="connsiteX24" fmla="*/ 40862 w 1039869"/>
                <a:gd name="connsiteY24" fmla="*/ 120440 h 236088"/>
                <a:gd name="connsiteX25" fmla="*/ 40862 w 1039869"/>
                <a:gd name="connsiteY25" fmla="*/ 114034 h 236088"/>
                <a:gd name="connsiteX26" fmla="*/ 44741 w 1039869"/>
                <a:gd name="connsiteY26" fmla="*/ 100550 h 236088"/>
                <a:gd name="connsiteX27" fmla="*/ 293604 w 1039869"/>
                <a:gd name="connsiteY27" fmla="*/ 27 h 236088"/>
                <a:gd name="connsiteX28" fmla="*/ 225429 w 1039869"/>
                <a:gd name="connsiteY28" fmla="*/ 29013 h 236088"/>
                <a:gd name="connsiteX29" fmla="*/ 221711 w 1039869"/>
                <a:gd name="connsiteY29" fmla="*/ 4737 h 236088"/>
                <a:gd name="connsiteX30" fmla="*/ 189657 w 1039869"/>
                <a:gd name="connsiteY30" fmla="*/ 4737 h 236088"/>
                <a:gd name="connsiteX31" fmla="*/ 189657 w 1039869"/>
                <a:gd name="connsiteY31" fmla="*/ 169988 h 236088"/>
                <a:gd name="connsiteX32" fmla="*/ 230843 w 1039869"/>
                <a:gd name="connsiteY32" fmla="*/ 169988 h 236088"/>
                <a:gd name="connsiteX33" fmla="*/ 230843 w 1039869"/>
                <a:gd name="connsiteY33" fmla="*/ 53290 h 236088"/>
                <a:gd name="connsiteX34" fmla="*/ 285496 w 1039869"/>
                <a:gd name="connsiteY34" fmla="*/ 38460 h 236088"/>
                <a:gd name="connsiteX35" fmla="*/ 297321 w 1039869"/>
                <a:gd name="connsiteY35" fmla="*/ 38460 h 236088"/>
                <a:gd name="connsiteX36" fmla="*/ 301712 w 1039869"/>
                <a:gd name="connsiteY36" fmla="*/ 0 h 236088"/>
                <a:gd name="connsiteX37" fmla="*/ 293631 w 1039869"/>
                <a:gd name="connsiteY37" fmla="*/ 0 h 236088"/>
                <a:gd name="connsiteX38" fmla="*/ 489187 w 1039869"/>
                <a:gd name="connsiteY38" fmla="*/ 4764 h 236088"/>
                <a:gd name="connsiteX39" fmla="*/ 436877 w 1039869"/>
                <a:gd name="connsiteY39" fmla="*/ 4764 h 236088"/>
                <a:gd name="connsiteX40" fmla="*/ 395369 w 1039869"/>
                <a:gd name="connsiteY40" fmla="*/ 27 h 236088"/>
                <a:gd name="connsiteX41" fmla="*/ 336971 w 1039869"/>
                <a:gd name="connsiteY41" fmla="*/ 12165 h 236088"/>
                <a:gd name="connsiteX42" fmla="*/ 320432 w 1039869"/>
                <a:gd name="connsiteY42" fmla="*/ 53639 h 236088"/>
                <a:gd name="connsiteX43" fmla="*/ 343732 w 1039869"/>
                <a:gd name="connsiteY43" fmla="*/ 98155 h 236088"/>
                <a:gd name="connsiteX44" fmla="*/ 330049 w 1039869"/>
                <a:gd name="connsiteY44" fmla="*/ 122270 h 236088"/>
                <a:gd name="connsiteX45" fmla="*/ 339315 w 1039869"/>
                <a:gd name="connsiteY45" fmla="*/ 149076 h 236088"/>
                <a:gd name="connsiteX46" fmla="*/ 319409 w 1039869"/>
                <a:gd name="connsiteY46" fmla="*/ 164605 h 236088"/>
                <a:gd name="connsiteX47" fmla="*/ 313348 w 1039869"/>
                <a:gd name="connsiteY47" fmla="*/ 185518 h 236088"/>
                <a:gd name="connsiteX48" fmla="*/ 331234 w 1039869"/>
                <a:gd name="connsiteY48" fmla="*/ 225135 h 236088"/>
                <a:gd name="connsiteX49" fmla="*/ 397039 w 1039869"/>
                <a:gd name="connsiteY49" fmla="*/ 236089 h 236088"/>
                <a:gd name="connsiteX50" fmla="*/ 462332 w 1039869"/>
                <a:gd name="connsiteY50" fmla="*/ 224785 h 236088"/>
                <a:gd name="connsiteX51" fmla="*/ 480379 w 1039869"/>
                <a:gd name="connsiteY51" fmla="*/ 183149 h 236088"/>
                <a:gd name="connsiteX52" fmla="*/ 469766 w 1039869"/>
                <a:gd name="connsiteY52" fmla="*/ 149776 h 236088"/>
                <a:gd name="connsiteX53" fmla="*/ 434830 w 1039869"/>
                <a:gd name="connsiteY53" fmla="*/ 134946 h 236088"/>
                <a:gd name="connsiteX54" fmla="*/ 374412 w 1039869"/>
                <a:gd name="connsiteY54" fmla="*/ 126495 h 236088"/>
                <a:gd name="connsiteX55" fmla="*/ 362938 w 1039869"/>
                <a:gd name="connsiteY55" fmla="*/ 117883 h 236088"/>
                <a:gd name="connsiteX56" fmla="*/ 364635 w 1039869"/>
                <a:gd name="connsiteY56" fmla="*/ 104211 h 236088"/>
                <a:gd name="connsiteX57" fmla="*/ 395019 w 1039869"/>
                <a:gd name="connsiteY57" fmla="*/ 106579 h 236088"/>
                <a:gd name="connsiteX58" fmla="*/ 453066 w 1039869"/>
                <a:gd name="connsiteY58" fmla="*/ 94279 h 236088"/>
                <a:gd name="connsiteX59" fmla="*/ 469605 w 1039869"/>
                <a:gd name="connsiteY59" fmla="*/ 53316 h 236088"/>
                <a:gd name="connsiteX60" fmla="*/ 465214 w 1039869"/>
                <a:gd name="connsiteY60" fmla="*/ 27022 h 236088"/>
                <a:gd name="connsiteX61" fmla="*/ 486817 w 1039869"/>
                <a:gd name="connsiteY61" fmla="*/ 24653 h 236088"/>
                <a:gd name="connsiteX62" fmla="*/ 489187 w 1039869"/>
                <a:gd name="connsiteY62" fmla="*/ 4764 h 236088"/>
                <a:gd name="connsiteX63" fmla="*/ 357901 w 1039869"/>
                <a:gd name="connsiteY63" fmla="*/ 53316 h 236088"/>
                <a:gd name="connsiteX64" fmla="*/ 366008 w 1039869"/>
                <a:gd name="connsiteY64" fmla="*/ 34288 h 236088"/>
                <a:gd name="connsiteX65" fmla="*/ 395045 w 1039869"/>
                <a:gd name="connsiteY65" fmla="*/ 29040 h 236088"/>
                <a:gd name="connsiteX66" fmla="*/ 423894 w 1039869"/>
                <a:gd name="connsiteY66" fmla="*/ 34288 h 236088"/>
                <a:gd name="connsiteX67" fmla="*/ 431813 w 1039869"/>
                <a:gd name="connsiteY67" fmla="*/ 53316 h 236088"/>
                <a:gd name="connsiteX68" fmla="*/ 423894 w 1039869"/>
                <a:gd name="connsiteY68" fmla="*/ 72533 h 236088"/>
                <a:gd name="connsiteX69" fmla="*/ 395045 w 1039869"/>
                <a:gd name="connsiteY69" fmla="*/ 77916 h 236088"/>
                <a:gd name="connsiteX70" fmla="*/ 366008 w 1039869"/>
                <a:gd name="connsiteY70" fmla="*/ 72533 h 236088"/>
                <a:gd name="connsiteX71" fmla="*/ 357901 w 1039869"/>
                <a:gd name="connsiteY71" fmla="*/ 53316 h 236088"/>
                <a:gd name="connsiteX72" fmla="*/ 435854 w 1039869"/>
                <a:gd name="connsiteY72" fmla="*/ 168508 h 236088"/>
                <a:gd name="connsiteX73" fmla="*/ 440918 w 1039869"/>
                <a:gd name="connsiteY73" fmla="*/ 181481 h 236088"/>
                <a:gd name="connsiteX74" fmla="*/ 432487 w 1039869"/>
                <a:gd name="connsiteY74" fmla="*/ 199351 h 236088"/>
                <a:gd name="connsiteX75" fmla="*/ 396715 w 1039869"/>
                <a:gd name="connsiteY75" fmla="*/ 203388 h 236088"/>
                <a:gd name="connsiteX76" fmla="*/ 361106 w 1039869"/>
                <a:gd name="connsiteY76" fmla="*/ 199513 h 236088"/>
                <a:gd name="connsiteX77" fmla="*/ 352837 w 1039869"/>
                <a:gd name="connsiteY77" fmla="*/ 181131 h 236088"/>
                <a:gd name="connsiteX78" fmla="*/ 365658 w 1039869"/>
                <a:gd name="connsiteY78" fmla="*/ 157850 h 236088"/>
                <a:gd name="connsiteX79" fmla="*/ 412904 w 1039869"/>
                <a:gd name="connsiteY79" fmla="*/ 163583 h 236088"/>
                <a:gd name="connsiteX80" fmla="*/ 435854 w 1039869"/>
                <a:gd name="connsiteY80" fmla="*/ 168481 h 236088"/>
                <a:gd name="connsiteX81" fmla="*/ 657781 w 1039869"/>
                <a:gd name="connsiteY81" fmla="*/ 57354 h 236088"/>
                <a:gd name="connsiteX82" fmla="*/ 639895 w 1039869"/>
                <a:gd name="connsiteY82" fmla="*/ 14372 h 236088"/>
                <a:gd name="connsiteX83" fmla="*/ 582521 w 1039869"/>
                <a:gd name="connsiteY83" fmla="*/ 27 h 236088"/>
                <a:gd name="connsiteX84" fmla="*/ 521107 w 1039869"/>
                <a:gd name="connsiteY84" fmla="*/ 19405 h 236088"/>
                <a:gd name="connsiteX85" fmla="*/ 502548 w 1039869"/>
                <a:gd name="connsiteY85" fmla="*/ 87040 h 236088"/>
                <a:gd name="connsiteX86" fmla="*/ 521430 w 1039869"/>
                <a:gd name="connsiteY86" fmla="*/ 154163 h 236088"/>
                <a:gd name="connsiteX87" fmla="*/ 585215 w 1039869"/>
                <a:gd name="connsiteY87" fmla="*/ 174052 h 236088"/>
                <a:gd name="connsiteX88" fmla="*/ 653390 w 1039869"/>
                <a:gd name="connsiteY88" fmla="*/ 162910 h 236088"/>
                <a:gd name="connsiteX89" fmla="*/ 649673 w 1039869"/>
                <a:gd name="connsiteY89" fmla="*/ 136615 h 236088"/>
                <a:gd name="connsiteX90" fmla="*/ 590279 w 1039869"/>
                <a:gd name="connsiteY90" fmla="*/ 140652 h 236088"/>
                <a:gd name="connsiteX91" fmla="*/ 558225 w 1039869"/>
                <a:gd name="connsiteY91" fmla="*/ 133385 h 236088"/>
                <a:gd name="connsiteX92" fmla="*/ 546076 w 1039869"/>
                <a:gd name="connsiteY92" fmla="*/ 104561 h 236088"/>
                <a:gd name="connsiteX93" fmla="*/ 613578 w 1039869"/>
                <a:gd name="connsiteY93" fmla="*/ 104561 h 236088"/>
                <a:gd name="connsiteX94" fmla="*/ 657781 w 1039869"/>
                <a:gd name="connsiteY94" fmla="*/ 57354 h 236088"/>
                <a:gd name="connsiteX95" fmla="*/ 554346 w 1039869"/>
                <a:gd name="connsiteY95" fmla="*/ 41340 h 236088"/>
                <a:gd name="connsiteX96" fmla="*/ 584218 w 1039869"/>
                <a:gd name="connsiteY96" fmla="*/ 32404 h 236088"/>
                <a:gd name="connsiteX97" fmla="*/ 609861 w 1039869"/>
                <a:gd name="connsiteY97" fmla="*/ 37787 h 236088"/>
                <a:gd name="connsiteX98" fmla="*/ 616945 w 1039869"/>
                <a:gd name="connsiteY98" fmla="*/ 56681 h 236088"/>
                <a:gd name="connsiteX99" fmla="*/ 602104 w 1039869"/>
                <a:gd name="connsiteY99" fmla="*/ 75897 h 236088"/>
                <a:gd name="connsiteX100" fmla="*/ 545403 w 1039869"/>
                <a:gd name="connsiteY100" fmla="*/ 75897 h 236088"/>
                <a:gd name="connsiteX101" fmla="*/ 554346 w 1039869"/>
                <a:gd name="connsiteY101" fmla="*/ 41340 h 236088"/>
                <a:gd name="connsiteX102" fmla="*/ 687841 w 1039869"/>
                <a:gd name="connsiteY102" fmla="*/ 4764 h 236088"/>
                <a:gd name="connsiteX103" fmla="*/ 687841 w 1039869"/>
                <a:gd name="connsiteY103" fmla="*/ 170015 h 236088"/>
                <a:gd name="connsiteX104" fmla="*/ 729027 w 1039869"/>
                <a:gd name="connsiteY104" fmla="*/ 170015 h 236088"/>
                <a:gd name="connsiteX105" fmla="*/ 729027 w 1039869"/>
                <a:gd name="connsiteY105" fmla="*/ 55012 h 236088"/>
                <a:gd name="connsiteX106" fmla="*/ 759895 w 1039869"/>
                <a:gd name="connsiteY106" fmla="*/ 39510 h 236088"/>
                <a:gd name="connsiteX107" fmla="*/ 783357 w 1039869"/>
                <a:gd name="connsiteY107" fmla="*/ 34800 h 236088"/>
                <a:gd name="connsiteX108" fmla="*/ 797202 w 1039869"/>
                <a:gd name="connsiteY108" fmla="*/ 39698 h 236088"/>
                <a:gd name="connsiteX109" fmla="*/ 800919 w 1039869"/>
                <a:gd name="connsiteY109" fmla="*/ 58403 h 236088"/>
                <a:gd name="connsiteX110" fmla="*/ 800919 w 1039869"/>
                <a:gd name="connsiteY110" fmla="*/ 170042 h 236088"/>
                <a:gd name="connsiteX111" fmla="*/ 842078 w 1039869"/>
                <a:gd name="connsiteY111" fmla="*/ 170042 h 236088"/>
                <a:gd name="connsiteX112" fmla="*/ 842078 w 1039869"/>
                <a:gd name="connsiteY112" fmla="*/ 45942 h 236088"/>
                <a:gd name="connsiteX113" fmla="*/ 830280 w 1039869"/>
                <a:gd name="connsiteY113" fmla="*/ 11869 h 236088"/>
                <a:gd name="connsiteX114" fmla="*/ 796529 w 1039869"/>
                <a:gd name="connsiteY114" fmla="*/ 54 h 236088"/>
                <a:gd name="connsiteX115" fmla="*/ 724959 w 1039869"/>
                <a:gd name="connsiteY115" fmla="*/ 29040 h 236088"/>
                <a:gd name="connsiteX116" fmla="*/ 722266 w 1039869"/>
                <a:gd name="connsiteY116" fmla="*/ 4764 h 236088"/>
                <a:gd name="connsiteX117" fmla="*/ 687841 w 1039869"/>
                <a:gd name="connsiteY117" fmla="*/ 4764 h 236088"/>
                <a:gd name="connsiteX118" fmla="*/ 996664 w 1039869"/>
                <a:gd name="connsiteY118" fmla="*/ 170015 h 236088"/>
                <a:gd name="connsiteX119" fmla="*/ 1039870 w 1039869"/>
                <a:gd name="connsiteY119" fmla="*/ 170015 h 236088"/>
                <a:gd name="connsiteX120" fmla="*/ 987560 w 1039869"/>
                <a:gd name="connsiteY120" fmla="*/ 85021 h 236088"/>
                <a:gd name="connsiteX121" fmla="*/ 1035829 w 1039869"/>
                <a:gd name="connsiteY121" fmla="*/ 4764 h 236088"/>
                <a:gd name="connsiteX122" fmla="*/ 992974 w 1039869"/>
                <a:gd name="connsiteY122" fmla="*/ 4764 h 236088"/>
                <a:gd name="connsiteX123" fmla="*/ 955506 w 1039869"/>
                <a:gd name="connsiteY123" fmla="*/ 69519 h 236088"/>
                <a:gd name="connsiteX124" fmla="*/ 950092 w 1039869"/>
                <a:gd name="connsiteY124" fmla="*/ 69519 h 236088"/>
                <a:gd name="connsiteX125" fmla="*/ 912623 w 1039869"/>
                <a:gd name="connsiteY125" fmla="*/ 4764 h 236088"/>
                <a:gd name="connsiteX126" fmla="*/ 869768 w 1039869"/>
                <a:gd name="connsiteY126" fmla="*/ 4764 h 236088"/>
                <a:gd name="connsiteX127" fmla="*/ 918038 w 1039869"/>
                <a:gd name="connsiteY127" fmla="*/ 85021 h 236088"/>
                <a:gd name="connsiteX128" fmla="*/ 865728 w 1039869"/>
                <a:gd name="connsiteY128" fmla="*/ 170015 h 236088"/>
                <a:gd name="connsiteX129" fmla="*/ 908933 w 1039869"/>
                <a:gd name="connsiteY129" fmla="*/ 170015 h 236088"/>
                <a:gd name="connsiteX130" fmla="*/ 950442 w 1039869"/>
                <a:gd name="connsiteY130" fmla="*/ 99178 h 236088"/>
                <a:gd name="connsiteX131" fmla="*/ 955156 w 1039869"/>
                <a:gd name="connsiteY131" fmla="*/ 99178 h 236088"/>
                <a:gd name="connsiteX132" fmla="*/ 996664 w 1039869"/>
                <a:gd name="connsiteY132" fmla="*/ 170015 h 236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039869" h="236088">
                  <a:moveTo>
                    <a:pt x="80674" y="33777"/>
                  </a:moveTo>
                  <a:cubicBezTo>
                    <a:pt x="92580" y="33777"/>
                    <a:pt x="100580" y="35365"/>
                    <a:pt x="104620" y="38487"/>
                  </a:cubicBezTo>
                  <a:cubicBezTo>
                    <a:pt x="108660" y="41636"/>
                    <a:pt x="110815" y="47934"/>
                    <a:pt x="111031" y="57380"/>
                  </a:cubicBezTo>
                  <a:lnTo>
                    <a:pt x="111031" y="67500"/>
                  </a:lnTo>
                  <a:lnTo>
                    <a:pt x="48943" y="67500"/>
                  </a:lnTo>
                  <a:cubicBezTo>
                    <a:pt x="33401" y="67500"/>
                    <a:pt x="21387" y="71080"/>
                    <a:pt x="12822" y="78293"/>
                  </a:cubicBezTo>
                  <a:cubicBezTo>
                    <a:pt x="4256" y="85479"/>
                    <a:pt x="0" y="95706"/>
                    <a:pt x="0" y="108974"/>
                  </a:cubicBezTo>
                  <a:lnTo>
                    <a:pt x="0" y="125849"/>
                  </a:lnTo>
                  <a:cubicBezTo>
                    <a:pt x="0" y="140894"/>
                    <a:pt x="4849" y="152656"/>
                    <a:pt x="14519" y="161080"/>
                  </a:cubicBezTo>
                  <a:cubicBezTo>
                    <a:pt x="24189" y="169504"/>
                    <a:pt x="36795" y="173729"/>
                    <a:pt x="52310" y="173729"/>
                  </a:cubicBezTo>
                  <a:cubicBezTo>
                    <a:pt x="77064" y="173729"/>
                    <a:pt x="98101" y="164040"/>
                    <a:pt x="115421" y="144716"/>
                  </a:cubicBezTo>
                  <a:lnTo>
                    <a:pt x="119812" y="170015"/>
                  </a:lnTo>
                  <a:lnTo>
                    <a:pt x="152216" y="170015"/>
                  </a:lnTo>
                  <a:lnTo>
                    <a:pt x="152216" y="57703"/>
                  </a:lnTo>
                  <a:cubicBezTo>
                    <a:pt x="152216" y="36361"/>
                    <a:pt x="147206" y="21397"/>
                    <a:pt x="137213" y="12865"/>
                  </a:cubicBezTo>
                  <a:cubicBezTo>
                    <a:pt x="127192" y="4306"/>
                    <a:pt x="111516" y="27"/>
                    <a:pt x="90128" y="27"/>
                  </a:cubicBezTo>
                  <a:cubicBezTo>
                    <a:pt x="64027" y="27"/>
                    <a:pt x="36472" y="2718"/>
                    <a:pt x="7434" y="8101"/>
                  </a:cubicBezTo>
                  <a:lnTo>
                    <a:pt x="11475" y="37114"/>
                  </a:lnTo>
                  <a:cubicBezTo>
                    <a:pt x="40270" y="34880"/>
                    <a:pt x="63327" y="33750"/>
                    <a:pt x="80674" y="33750"/>
                  </a:cubicBezTo>
                  <a:moveTo>
                    <a:pt x="44714" y="100523"/>
                  </a:moveTo>
                  <a:cubicBezTo>
                    <a:pt x="47300" y="97375"/>
                    <a:pt x="51852" y="95679"/>
                    <a:pt x="58398" y="95464"/>
                  </a:cubicBezTo>
                  <a:lnTo>
                    <a:pt x="111058" y="95464"/>
                  </a:lnTo>
                  <a:lnTo>
                    <a:pt x="111058" y="121113"/>
                  </a:lnTo>
                  <a:cubicBezTo>
                    <a:pt x="95085" y="134166"/>
                    <a:pt x="78869" y="140679"/>
                    <a:pt x="62465" y="140679"/>
                  </a:cubicBezTo>
                  <a:cubicBezTo>
                    <a:pt x="48054" y="140679"/>
                    <a:pt x="40862" y="133924"/>
                    <a:pt x="40862" y="120440"/>
                  </a:cubicBezTo>
                  <a:lnTo>
                    <a:pt x="40862" y="114034"/>
                  </a:lnTo>
                  <a:cubicBezTo>
                    <a:pt x="40862" y="108194"/>
                    <a:pt x="42155" y="103699"/>
                    <a:pt x="44741" y="100550"/>
                  </a:cubicBezTo>
                  <a:moveTo>
                    <a:pt x="293604" y="27"/>
                  </a:moveTo>
                  <a:cubicBezTo>
                    <a:pt x="271786" y="27"/>
                    <a:pt x="249052" y="9716"/>
                    <a:pt x="225429" y="29013"/>
                  </a:cubicBezTo>
                  <a:lnTo>
                    <a:pt x="221711" y="4737"/>
                  </a:lnTo>
                  <a:lnTo>
                    <a:pt x="189657" y="4737"/>
                  </a:lnTo>
                  <a:lnTo>
                    <a:pt x="189657" y="169988"/>
                  </a:lnTo>
                  <a:lnTo>
                    <a:pt x="230843" y="169988"/>
                  </a:lnTo>
                  <a:lnTo>
                    <a:pt x="230843" y="53290"/>
                  </a:lnTo>
                  <a:cubicBezTo>
                    <a:pt x="255597" y="43412"/>
                    <a:pt x="273806" y="38460"/>
                    <a:pt x="285496" y="38460"/>
                  </a:cubicBezTo>
                  <a:lnTo>
                    <a:pt x="297321" y="38460"/>
                  </a:lnTo>
                  <a:lnTo>
                    <a:pt x="301712" y="0"/>
                  </a:lnTo>
                  <a:lnTo>
                    <a:pt x="293631" y="0"/>
                  </a:lnTo>
                  <a:close/>
                  <a:moveTo>
                    <a:pt x="489187" y="4764"/>
                  </a:moveTo>
                  <a:lnTo>
                    <a:pt x="436877" y="4764"/>
                  </a:lnTo>
                  <a:cubicBezTo>
                    <a:pt x="425618" y="1615"/>
                    <a:pt x="411773" y="27"/>
                    <a:pt x="395369" y="27"/>
                  </a:cubicBezTo>
                  <a:cubicBezTo>
                    <a:pt x="367463" y="27"/>
                    <a:pt x="348015" y="4091"/>
                    <a:pt x="336971" y="12165"/>
                  </a:cubicBezTo>
                  <a:cubicBezTo>
                    <a:pt x="325927" y="20266"/>
                    <a:pt x="320432" y="34100"/>
                    <a:pt x="320432" y="53639"/>
                  </a:cubicBezTo>
                  <a:cubicBezTo>
                    <a:pt x="320432" y="75897"/>
                    <a:pt x="328190" y="90727"/>
                    <a:pt x="343732" y="98155"/>
                  </a:cubicBezTo>
                  <a:cubicBezTo>
                    <a:pt x="335867" y="103322"/>
                    <a:pt x="331288" y="111370"/>
                    <a:pt x="330049" y="122270"/>
                  </a:cubicBezTo>
                  <a:cubicBezTo>
                    <a:pt x="328809" y="133170"/>
                    <a:pt x="331907" y="142105"/>
                    <a:pt x="339315" y="149076"/>
                  </a:cubicBezTo>
                  <a:cubicBezTo>
                    <a:pt x="330075" y="154028"/>
                    <a:pt x="323449" y="159196"/>
                    <a:pt x="319409" y="164605"/>
                  </a:cubicBezTo>
                  <a:cubicBezTo>
                    <a:pt x="315368" y="169988"/>
                    <a:pt x="313348" y="176959"/>
                    <a:pt x="313348" y="185518"/>
                  </a:cubicBezTo>
                  <a:cubicBezTo>
                    <a:pt x="313348" y="204626"/>
                    <a:pt x="319301" y="217841"/>
                    <a:pt x="331234" y="225135"/>
                  </a:cubicBezTo>
                  <a:cubicBezTo>
                    <a:pt x="343140" y="232455"/>
                    <a:pt x="365092" y="236089"/>
                    <a:pt x="397039" y="236089"/>
                  </a:cubicBezTo>
                  <a:cubicBezTo>
                    <a:pt x="428985" y="236089"/>
                    <a:pt x="450318" y="232321"/>
                    <a:pt x="462332" y="224785"/>
                  </a:cubicBezTo>
                  <a:cubicBezTo>
                    <a:pt x="474372" y="217276"/>
                    <a:pt x="480379" y="203361"/>
                    <a:pt x="480379" y="183149"/>
                  </a:cubicBezTo>
                  <a:cubicBezTo>
                    <a:pt x="480379" y="168535"/>
                    <a:pt x="476824" y="157393"/>
                    <a:pt x="469766" y="149776"/>
                  </a:cubicBezTo>
                  <a:cubicBezTo>
                    <a:pt x="462682" y="142132"/>
                    <a:pt x="451019" y="137180"/>
                    <a:pt x="434830" y="134946"/>
                  </a:cubicBezTo>
                  <a:lnTo>
                    <a:pt x="374412" y="126495"/>
                  </a:lnTo>
                  <a:cubicBezTo>
                    <a:pt x="368325" y="125823"/>
                    <a:pt x="364500" y="122943"/>
                    <a:pt x="362938" y="117883"/>
                  </a:cubicBezTo>
                  <a:cubicBezTo>
                    <a:pt x="361375" y="112823"/>
                    <a:pt x="361941" y="108275"/>
                    <a:pt x="364635" y="104211"/>
                  </a:cubicBezTo>
                  <a:cubicBezTo>
                    <a:pt x="372742" y="105799"/>
                    <a:pt x="382843" y="106579"/>
                    <a:pt x="395019" y="106579"/>
                  </a:cubicBezTo>
                  <a:cubicBezTo>
                    <a:pt x="422682" y="106579"/>
                    <a:pt x="442049" y="102488"/>
                    <a:pt x="453066" y="94279"/>
                  </a:cubicBezTo>
                  <a:cubicBezTo>
                    <a:pt x="464083" y="86071"/>
                    <a:pt x="469605" y="72425"/>
                    <a:pt x="469605" y="53316"/>
                  </a:cubicBezTo>
                  <a:cubicBezTo>
                    <a:pt x="469605" y="42982"/>
                    <a:pt x="468150" y="34208"/>
                    <a:pt x="465214" y="27022"/>
                  </a:cubicBezTo>
                  <a:lnTo>
                    <a:pt x="486817" y="24653"/>
                  </a:lnTo>
                  <a:lnTo>
                    <a:pt x="489187" y="4764"/>
                  </a:lnTo>
                  <a:close/>
                  <a:moveTo>
                    <a:pt x="357901" y="53316"/>
                  </a:moveTo>
                  <a:cubicBezTo>
                    <a:pt x="357901" y="44112"/>
                    <a:pt x="360621" y="37760"/>
                    <a:pt x="366008" y="34288"/>
                  </a:cubicBezTo>
                  <a:cubicBezTo>
                    <a:pt x="371422" y="30790"/>
                    <a:pt x="381066" y="29040"/>
                    <a:pt x="395045" y="29040"/>
                  </a:cubicBezTo>
                  <a:cubicBezTo>
                    <a:pt x="409025" y="29040"/>
                    <a:pt x="418615" y="30816"/>
                    <a:pt x="423894" y="34288"/>
                  </a:cubicBezTo>
                  <a:cubicBezTo>
                    <a:pt x="429174" y="37760"/>
                    <a:pt x="431813" y="44112"/>
                    <a:pt x="431813" y="53316"/>
                  </a:cubicBezTo>
                  <a:cubicBezTo>
                    <a:pt x="431813" y="62521"/>
                    <a:pt x="429174" y="68953"/>
                    <a:pt x="423894" y="72533"/>
                  </a:cubicBezTo>
                  <a:cubicBezTo>
                    <a:pt x="418615" y="76139"/>
                    <a:pt x="408998" y="77916"/>
                    <a:pt x="395045" y="77916"/>
                  </a:cubicBezTo>
                  <a:cubicBezTo>
                    <a:pt x="381093" y="77916"/>
                    <a:pt x="371422" y="76113"/>
                    <a:pt x="366008" y="72533"/>
                  </a:cubicBezTo>
                  <a:cubicBezTo>
                    <a:pt x="360621" y="68927"/>
                    <a:pt x="357901" y="62548"/>
                    <a:pt x="357901" y="53316"/>
                  </a:cubicBezTo>
                  <a:moveTo>
                    <a:pt x="435854" y="168508"/>
                  </a:moveTo>
                  <a:cubicBezTo>
                    <a:pt x="439248" y="170419"/>
                    <a:pt x="440918" y="174725"/>
                    <a:pt x="440918" y="181481"/>
                  </a:cubicBezTo>
                  <a:cubicBezTo>
                    <a:pt x="440918" y="190712"/>
                    <a:pt x="438089" y="196660"/>
                    <a:pt x="432487" y="199351"/>
                  </a:cubicBezTo>
                  <a:cubicBezTo>
                    <a:pt x="426857" y="202043"/>
                    <a:pt x="414951" y="203388"/>
                    <a:pt x="396715" y="203388"/>
                  </a:cubicBezTo>
                  <a:cubicBezTo>
                    <a:pt x="378480" y="203388"/>
                    <a:pt x="366628" y="202097"/>
                    <a:pt x="361106" y="199513"/>
                  </a:cubicBezTo>
                  <a:cubicBezTo>
                    <a:pt x="355611" y="196929"/>
                    <a:pt x="352837" y="190793"/>
                    <a:pt x="352837" y="181131"/>
                  </a:cubicBezTo>
                  <a:cubicBezTo>
                    <a:pt x="352837" y="173487"/>
                    <a:pt x="357119" y="165736"/>
                    <a:pt x="365658" y="157850"/>
                  </a:cubicBezTo>
                  <a:lnTo>
                    <a:pt x="412904" y="163583"/>
                  </a:lnTo>
                  <a:cubicBezTo>
                    <a:pt x="424837" y="164928"/>
                    <a:pt x="432487" y="166570"/>
                    <a:pt x="435854" y="168481"/>
                  </a:cubicBezTo>
                  <a:moveTo>
                    <a:pt x="657781" y="57354"/>
                  </a:moveTo>
                  <a:cubicBezTo>
                    <a:pt x="657781" y="38245"/>
                    <a:pt x="651828" y="23900"/>
                    <a:pt x="639895" y="14372"/>
                  </a:cubicBezTo>
                  <a:cubicBezTo>
                    <a:pt x="627962" y="4791"/>
                    <a:pt x="608838" y="27"/>
                    <a:pt x="582521" y="27"/>
                  </a:cubicBezTo>
                  <a:cubicBezTo>
                    <a:pt x="553942" y="27"/>
                    <a:pt x="533470" y="6486"/>
                    <a:pt x="521107" y="19405"/>
                  </a:cubicBezTo>
                  <a:cubicBezTo>
                    <a:pt x="508743" y="32324"/>
                    <a:pt x="502548" y="54877"/>
                    <a:pt x="502548" y="87040"/>
                  </a:cubicBezTo>
                  <a:cubicBezTo>
                    <a:pt x="502548" y="119202"/>
                    <a:pt x="508851" y="140894"/>
                    <a:pt x="521430" y="154163"/>
                  </a:cubicBezTo>
                  <a:cubicBezTo>
                    <a:pt x="534036" y="167431"/>
                    <a:pt x="555316" y="174052"/>
                    <a:pt x="585215" y="174052"/>
                  </a:cubicBezTo>
                  <a:cubicBezTo>
                    <a:pt x="615114" y="174052"/>
                    <a:pt x="637875" y="170338"/>
                    <a:pt x="653390" y="162910"/>
                  </a:cubicBezTo>
                  <a:lnTo>
                    <a:pt x="649673" y="136615"/>
                  </a:lnTo>
                  <a:cubicBezTo>
                    <a:pt x="626939" y="139306"/>
                    <a:pt x="607141" y="140652"/>
                    <a:pt x="590279" y="140652"/>
                  </a:cubicBezTo>
                  <a:cubicBezTo>
                    <a:pt x="575437" y="140652"/>
                    <a:pt x="564743" y="138230"/>
                    <a:pt x="558225" y="133385"/>
                  </a:cubicBezTo>
                  <a:cubicBezTo>
                    <a:pt x="551706" y="128568"/>
                    <a:pt x="547639" y="118959"/>
                    <a:pt x="546076" y="104561"/>
                  </a:cubicBezTo>
                  <a:lnTo>
                    <a:pt x="613578" y="104561"/>
                  </a:lnTo>
                  <a:cubicBezTo>
                    <a:pt x="643073" y="104561"/>
                    <a:pt x="657781" y="88816"/>
                    <a:pt x="657781" y="57354"/>
                  </a:cubicBezTo>
                  <a:moveTo>
                    <a:pt x="554346" y="41340"/>
                  </a:moveTo>
                  <a:cubicBezTo>
                    <a:pt x="559841" y="35392"/>
                    <a:pt x="569807" y="32404"/>
                    <a:pt x="584218" y="32404"/>
                  </a:cubicBezTo>
                  <a:cubicBezTo>
                    <a:pt x="596582" y="32404"/>
                    <a:pt x="605147" y="34181"/>
                    <a:pt x="609861" y="37787"/>
                  </a:cubicBezTo>
                  <a:cubicBezTo>
                    <a:pt x="614575" y="41394"/>
                    <a:pt x="616945" y="47691"/>
                    <a:pt x="616945" y="56681"/>
                  </a:cubicBezTo>
                  <a:cubicBezTo>
                    <a:pt x="616945" y="69492"/>
                    <a:pt x="611989" y="75897"/>
                    <a:pt x="602104" y="75897"/>
                  </a:cubicBezTo>
                  <a:lnTo>
                    <a:pt x="545403" y="75897"/>
                  </a:lnTo>
                  <a:cubicBezTo>
                    <a:pt x="545834" y="58834"/>
                    <a:pt x="548824" y="47288"/>
                    <a:pt x="554346" y="41340"/>
                  </a:cubicBezTo>
                  <a:moveTo>
                    <a:pt x="687841" y="4764"/>
                  </a:moveTo>
                  <a:lnTo>
                    <a:pt x="687841" y="170015"/>
                  </a:lnTo>
                  <a:lnTo>
                    <a:pt x="729027" y="170015"/>
                  </a:lnTo>
                  <a:lnTo>
                    <a:pt x="729027" y="55012"/>
                  </a:lnTo>
                  <a:cubicBezTo>
                    <a:pt x="741633" y="47826"/>
                    <a:pt x="751922" y="42659"/>
                    <a:pt x="759895" y="39510"/>
                  </a:cubicBezTo>
                  <a:cubicBezTo>
                    <a:pt x="767896" y="36361"/>
                    <a:pt x="775707" y="34800"/>
                    <a:pt x="783357" y="34800"/>
                  </a:cubicBezTo>
                  <a:cubicBezTo>
                    <a:pt x="790118" y="34800"/>
                    <a:pt x="794724" y="36441"/>
                    <a:pt x="797202" y="39698"/>
                  </a:cubicBezTo>
                  <a:cubicBezTo>
                    <a:pt x="799680" y="42955"/>
                    <a:pt x="800919" y="49199"/>
                    <a:pt x="800919" y="58403"/>
                  </a:cubicBezTo>
                  <a:lnTo>
                    <a:pt x="800919" y="170042"/>
                  </a:lnTo>
                  <a:lnTo>
                    <a:pt x="842078" y="170042"/>
                  </a:lnTo>
                  <a:lnTo>
                    <a:pt x="842078" y="45942"/>
                  </a:lnTo>
                  <a:cubicBezTo>
                    <a:pt x="842078" y="31086"/>
                    <a:pt x="838145" y="19728"/>
                    <a:pt x="830280" y="11869"/>
                  </a:cubicBezTo>
                  <a:cubicBezTo>
                    <a:pt x="822387" y="3983"/>
                    <a:pt x="811155" y="54"/>
                    <a:pt x="796529" y="54"/>
                  </a:cubicBezTo>
                  <a:cubicBezTo>
                    <a:pt x="774468" y="54"/>
                    <a:pt x="750630" y="9743"/>
                    <a:pt x="724959" y="29040"/>
                  </a:cubicBezTo>
                  <a:lnTo>
                    <a:pt x="722266" y="4764"/>
                  </a:lnTo>
                  <a:lnTo>
                    <a:pt x="687841" y="4764"/>
                  </a:lnTo>
                  <a:close/>
                  <a:moveTo>
                    <a:pt x="996664" y="170015"/>
                  </a:moveTo>
                  <a:lnTo>
                    <a:pt x="1039870" y="170015"/>
                  </a:lnTo>
                  <a:lnTo>
                    <a:pt x="987560" y="85021"/>
                  </a:lnTo>
                  <a:lnTo>
                    <a:pt x="1035829" y="4764"/>
                  </a:lnTo>
                  <a:lnTo>
                    <a:pt x="992974" y="4764"/>
                  </a:lnTo>
                  <a:lnTo>
                    <a:pt x="955506" y="69519"/>
                  </a:lnTo>
                  <a:lnTo>
                    <a:pt x="950092" y="69519"/>
                  </a:lnTo>
                  <a:lnTo>
                    <a:pt x="912623" y="4764"/>
                  </a:lnTo>
                  <a:lnTo>
                    <a:pt x="869768" y="4764"/>
                  </a:lnTo>
                  <a:lnTo>
                    <a:pt x="918038" y="85021"/>
                  </a:lnTo>
                  <a:lnTo>
                    <a:pt x="865728" y="170015"/>
                  </a:lnTo>
                  <a:lnTo>
                    <a:pt x="908933" y="170015"/>
                  </a:lnTo>
                  <a:lnTo>
                    <a:pt x="950442" y="99178"/>
                  </a:lnTo>
                  <a:lnTo>
                    <a:pt x="955156" y="99178"/>
                  </a:lnTo>
                  <a:lnTo>
                    <a:pt x="996664" y="170015"/>
                  </a:lnTo>
                  <a:close/>
                </a:path>
              </a:pathLst>
            </a:custGeom>
            <a:solidFill>
              <a:schemeClr val="bg1"/>
            </a:solidFill>
            <a:ln w="2688"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C17525C0-88E0-7536-7C55-7DF351A2CB2D}"/>
                </a:ext>
              </a:extLst>
            </p:cNvPr>
            <p:cNvSpPr/>
            <p:nvPr/>
          </p:nvSpPr>
          <p:spPr>
            <a:xfrm>
              <a:off x="11640026" y="6248453"/>
              <a:ext cx="218048" cy="174644"/>
            </a:xfrm>
            <a:custGeom>
              <a:avLst/>
              <a:gdLst>
                <a:gd name="connsiteX0" fmla="*/ 174412 w 218048"/>
                <a:gd name="connsiteY0" fmla="*/ 0 h 174644"/>
                <a:gd name="connsiteX1" fmla="*/ 143192 w 218048"/>
                <a:gd name="connsiteY1" fmla="*/ 13107 h 174644"/>
                <a:gd name="connsiteX2" fmla="*/ 53172 w 218048"/>
                <a:gd name="connsiteY2" fmla="*/ 102919 h 174644"/>
                <a:gd name="connsiteX3" fmla="*/ 53172 w 218048"/>
                <a:gd name="connsiteY3" fmla="*/ 102865 h 174644"/>
                <a:gd name="connsiteX4" fmla="*/ 24647 w 218048"/>
                <a:gd name="connsiteY4" fmla="*/ 113469 h 174644"/>
                <a:gd name="connsiteX5" fmla="*/ 0 w 218048"/>
                <a:gd name="connsiteY5" fmla="*/ 105825 h 174644"/>
                <a:gd name="connsiteX6" fmla="*/ 25266 w 218048"/>
                <a:gd name="connsiteY6" fmla="*/ 131071 h 174644"/>
                <a:gd name="connsiteX7" fmla="*/ 25266 w 218048"/>
                <a:gd name="connsiteY7" fmla="*/ 131071 h 174644"/>
                <a:gd name="connsiteX8" fmla="*/ 56728 w 218048"/>
                <a:gd name="connsiteY8" fmla="*/ 162506 h 174644"/>
                <a:gd name="connsiteX9" fmla="*/ 86950 w 218048"/>
                <a:gd name="connsiteY9" fmla="*/ 174644 h 174644"/>
                <a:gd name="connsiteX10" fmla="*/ 117953 w 218048"/>
                <a:gd name="connsiteY10" fmla="*/ 161753 h 174644"/>
                <a:gd name="connsiteX11" fmla="*/ 117953 w 218048"/>
                <a:gd name="connsiteY11" fmla="*/ 161753 h 174644"/>
                <a:gd name="connsiteX12" fmla="*/ 204688 w 218048"/>
                <a:gd name="connsiteY12" fmla="*/ 75144 h 174644"/>
                <a:gd name="connsiteX13" fmla="*/ 218048 w 218048"/>
                <a:gd name="connsiteY13" fmla="*/ 43735 h 174644"/>
                <a:gd name="connsiteX14" fmla="*/ 174412 w 218048"/>
                <a:gd name="connsiteY14" fmla="*/ 0 h 174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8048" h="174644">
                  <a:moveTo>
                    <a:pt x="174412" y="0"/>
                  </a:moveTo>
                  <a:cubicBezTo>
                    <a:pt x="162182" y="0"/>
                    <a:pt x="151139" y="5033"/>
                    <a:pt x="143192" y="13107"/>
                  </a:cubicBezTo>
                  <a:lnTo>
                    <a:pt x="53172" y="102919"/>
                  </a:lnTo>
                  <a:lnTo>
                    <a:pt x="53172" y="102865"/>
                  </a:lnTo>
                  <a:cubicBezTo>
                    <a:pt x="45522" y="109459"/>
                    <a:pt x="35556" y="113469"/>
                    <a:pt x="24647" y="113469"/>
                  </a:cubicBezTo>
                  <a:cubicBezTo>
                    <a:pt x="15515" y="113469"/>
                    <a:pt x="7030" y="110616"/>
                    <a:pt x="0" y="105825"/>
                  </a:cubicBezTo>
                  <a:lnTo>
                    <a:pt x="25266" y="131071"/>
                  </a:lnTo>
                  <a:lnTo>
                    <a:pt x="25266" y="131071"/>
                  </a:lnTo>
                  <a:cubicBezTo>
                    <a:pt x="27125" y="132928"/>
                    <a:pt x="48781" y="154890"/>
                    <a:pt x="56728" y="162506"/>
                  </a:cubicBezTo>
                  <a:cubicBezTo>
                    <a:pt x="64593" y="170015"/>
                    <a:pt x="75233" y="174644"/>
                    <a:pt x="86950" y="174644"/>
                  </a:cubicBezTo>
                  <a:cubicBezTo>
                    <a:pt x="98667" y="174644"/>
                    <a:pt x="110007" y="169719"/>
                    <a:pt x="117953" y="161753"/>
                  </a:cubicBezTo>
                  <a:lnTo>
                    <a:pt x="117953" y="161753"/>
                  </a:lnTo>
                  <a:cubicBezTo>
                    <a:pt x="117953" y="161753"/>
                    <a:pt x="204688" y="75144"/>
                    <a:pt x="204688" y="75144"/>
                  </a:cubicBezTo>
                  <a:cubicBezTo>
                    <a:pt x="212903" y="67204"/>
                    <a:pt x="218048" y="56062"/>
                    <a:pt x="218048" y="43735"/>
                  </a:cubicBezTo>
                  <a:cubicBezTo>
                    <a:pt x="218102" y="19539"/>
                    <a:pt x="198546" y="0"/>
                    <a:pt x="174412" y="0"/>
                  </a:cubicBezTo>
                </a:path>
              </a:pathLst>
            </a:custGeom>
            <a:solidFill>
              <a:schemeClr val="bg1"/>
            </a:solidFill>
            <a:ln w="268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F4BA570-2FBD-721C-7367-FEB4A8B8BD89}"/>
                </a:ext>
              </a:extLst>
            </p:cNvPr>
            <p:cNvSpPr/>
            <p:nvPr/>
          </p:nvSpPr>
          <p:spPr>
            <a:xfrm>
              <a:off x="11595904" y="6248400"/>
              <a:ext cx="131071" cy="113522"/>
            </a:xfrm>
            <a:custGeom>
              <a:avLst/>
              <a:gdLst>
                <a:gd name="connsiteX0" fmla="*/ 0 w 131071"/>
                <a:gd name="connsiteY0" fmla="*/ 43681 h 113522"/>
                <a:gd name="connsiteX1" fmla="*/ 13118 w 131071"/>
                <a:gd name="connsiteY1" fmla="*/ 74848 h 113522"/>
                <a:gd name="connsiteX2" fmla="*/ 44175 w 131071"/>
                <a:gd name="connsiteY2" fmla="*/ 105879 h 113522"/>
                <a:gd name="connsiteX3" fmla="*/ 68768 w 131071"/>
                <a:gd name="connsiteY3" fmla="*/ 113523 h 113522"/>
                <a:gd name="connsiteX4" fmla="*/ 97293 w 131071"/>
                <a:gd name="connsiteY4" fmla="*/ 102919 h 113522"/>
                <a:gd name="connsiteX5" fmla="*/ 97293 w 131071"/>
                <a:gd name="connsiteY5" fmla="*/ 102973 h 113522"/>
                <a:gd name="connsiteX6" fmla="*/ 131071 w 131071"/>
                <a:gd name="connsiteY6" fmla="*/ 69276 h 113522"/>
                <a:gd name="connsiteX7" fmla="*/ 75152 w 131071"/>
                <a:gd name="connsiteY7" fmla="*/ 13403 h 113522"/>
                <a:gd name="connsiteX8" fmla="*/ 43717 w 131071"/>
                <a:gd name="connsiteY8" fmla="*/ 0 h 113522"/>
                <a:gd name="connsiteX9" fmla="*/ 0 w 131071"/>
                <a:gd name="connsiteY9" fmla="*/ 43681 h 11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71" h="113522">
                  <a:moveTo>
                    <a:pt x="0" y="43681"/>
                  </a:moveTo>
                  <a:cubicBezTo>
                    <a:pt x="0" y="55900"/>
                    <a:pt x="5037" y="66935"/>
                    <a:pt x="13118" y="74848"/>
                  </a:cubicBezTo>
                  <a:lnTo>
                    <a:pt x="44175" y="105879"/>
                  </a:lnTo>
                  <a:cubicBezTo>
                    <a:pt x="51179" y="110670"/>
                    <a:pt x="59637" y="113523"/>
                    <a:pt x="68768" y="113523"/>
                  </a:cubicBezTo>
                  <a:cubicBezTo>
                    <a:pt x="79677" y="113523"/>
                    <a:pt x="89643" y="109513"/>
                    <a:pt x="97293" y="102919"/>
                  </a:cubicBezTo>
                  <a:lnTo>
                    <a:pt x="97293" y="102973"/>
                  </a:lnTo>
                  <a:lnTo>
                    <a:pt x="131071" y="69276"/>
                  </a:lnTo>
                  <a:lnTo>
                    <a:pt x="75152" y="13403"/>
                  </a:lnTo>
                  <a:cubicBezTo>
                    <a:pt x="67206" y="5141"/>
                    <a:pt x="56081" y="0"/>
                    <a:pt x="43717" y="0"/>
                  </a:cubicBezTo>
                  <a:cubicBezTo>
                    <a:pt x="19583" y="0"/>
                    <a:pt x="0" y="19566"/>
                    <a:pt x="0" y="43681"/>
                  </a:cubicBezTo>
                </a:path>
              </a:pathLst>
            </a:custGeom>
            <a:solidFill>
              <a:schemeClr val="accent2"/>
            </a:solidFill>
            <a:ln w="2688" cap="flat">
              <a:noFill/>
              <a:prstDash val="solid"/>
              <a:miter/>
            </a:ln>
          </p:spPr>
          <p:txBody>
            <a:bodyPr rtlCol="0" anchor="ctr"/>
            <a:lstStyle/>
            <a:p>
              <a:endParaRPr lang="en-US"/>
            </a:p>
          </p:txBody>
        </p:sp>
      </p:grpSp>
    </p:spTree>
    <p:extLst>
      <p:ext uri="{BB962C8B-B14F-4D97-AF65-F5344CB8AC3E}">
        <p14:creationId xmlns:p14="http://schemas.microsoft.com/office/powerpoint/2010/main" val="1411230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ETHODS | 2-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E399E5B-0894-0045-409E-EBB4FD9E9819}"/>
              </a:ext>
            </a:extLst>
          </p:cNvPr>
          <p:cNvSpPr>
            <a:spLocks noGrp="1"/>
          </p:cNvSpPr>
          <p:nvPr>
            <p:ph idx="1"/>
          </p:nvPr>
        </p:nvSpPr>
        <p:spPr>
          <a:xfrm>
            <a:off x="361948" y="1628774"/>
            <a:ext cx="5486400" cy="438912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4">
            <a:extLst>
              <a:ext uri="{FF2B5EF4-FFF2-40B4-BE49-F238E27FC236}">
                <a16:creationId xmlns:a16="http://schemas.microsoft.com/office/drawing/2014/main" id="{C86EB9AB-AE4A-A607-10A1-2B92F961C4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CE4BE1-11C6-0632-5AA8-03B626544C42}"/>
              </a:ext>
            </a:extLst>
          </p:cNvPr>
          <p:cNvSpPr>
            <a:spLocks noGrp="1"/>
          </p:cNvSpPr>
          <p:nvPr>
            <p:ph type="sldNum" sz="quarter" idx="12"/>
          </p:nvPr>
        </p:nvSpPr>
        <p:spPr/>
        <p:txBody>
          <a:bodyPr/>
          <a:lstStyle/>
          <a:p>
            <a:fld id="{A366880C-2072-4A02-B747-1981AA856017}" type="slidenum">
              <a:rPr lang="en-US" smtClean="0"/>
              <a:t>‹#›</a:t>
            </a:fld>
            <a:endParaRPr lang="en-US"/>
          </a:p>
        </p:txBody>
      </p:sp>
      <p:sp>
        <p:nvSpPr>
          <p:cNvPr id="4" name="Content Placeholder 2">
            <a:extLst>
              <a:ext uri="{FF2B5EF4-FFF2-40B4-BE49-F238E27FC236}">
                <a16:creationId xmlns:a16="http://schemas.microsoft.com/office/drawing/2014/main" id="{1FF2DED6-D2CF-8025-2FF6-6C7CEB18B1DF}"/>
              </a:ext>
            </a:extLst>
          </p:cNvPr>
          <p:cNvSpPr>
            <a:spLocks noGrp="1"/>
          </p:cNvSpPr>
          <p:nvPr>
            <p:ph idx="13"/>
          </p:nvPr>
        </p:nvSpPr>
        <p:spPr>
          <a:xfrm>
            <a:off x="6096000" y="1630680"/>
            <a:ext cx="5486400" cy="438912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Round Same Side Corner Rectangle 19">
            <a:extLst>
              <a:ext uri="{FF2B5EF4-FFF2-40B4-BE49-F238E27FC236}">
                <a16:creationId xmlns:a16="http://schemas.microsoft.com/office/drawing/2014/main" id="{7BD36A71-5403-380A-AAB2-A5EC64223D49}"/>
              </a:ext>
            </a:extLst>
          </p:cNvPr>
          <p:cNvSpPr/>
          <p:nvPr userDrawn="1"/>
        </p:nvSpPr>
        <p:spPr>
          <a:xfrm rot="5400000">
            <a:off x="6384676" y="-4681017"/>
            <a:ext cx="457200" cy="10832486"/>
          </a:xfrm>
          <a:prstGeom prst="round2SameRect">
            <a:avLst>
              <a:gd name="adj1" fmla="val 50000"/>
              <a:gd name="adj2" fmla="val 0"/>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91440" bIns="914400" rtlCol="0" anchor="ctr"/>
          <a:lstStyle/>
          <a:p>
            <a:pPr marL="13138" marR="42955" algn="ctr" defTabSz="685307">
              <a:lnSpc>
                <a:spcPct val="90000"/>
              </a:lnSpc>
              <a:defRPr/>
            </a:pPr>
            <a:endParaRPr lang="en-GB" sz="2200"/>
          </a:p>
        </p:txBody>
      </p:sp>
      <p:sp>
        <p:nvSpPr>
          <p:cNvPr id="21" name="Title 1">
            <a:extLst>
              <a:ext uri="{FF2B5EF4-FFF2-40B4-BE49-F238E27FC236}">
                <a16:creationId xmlns:a16="http://schemas.microsoft.com/office/drawing/2014/main" id="{18922A07-F9C8-931F-3034-5BA6D7101533}"/>
              </a:ext>
            </a:extLst>
          </p:cNvPr>
          <p:cNvSpPr>
            <a:spLocks noGrp="1"/>
          </p:cNvSpPr>
          <p:nvPr>
            <p:ph type="title"/>
          </p:nvPr>
        </p:nvSpPr>
        <p:spPr>
          <a:xfrm rot="5400000">
            <a:off x="5786159" y="-5279535"/>
            <a:ext cx="457200" cy="12029521"/>
          </a:xfrm>
          <a:prstGeom prst="round2SameRect">
            <a:avLst>
              <a:gd name="adj1" fmla="val 5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bIns="182880" rtlCol="0" anchor="ctr"/>
          <a:lstStyle>
            <a:lvl1pPr algn="ctr">
              <a:defRPr lang="en-US" sz="2200" dirty="0">
                <a:solidFill>
                  <a:schemeClr val="accent3"/>
                </a:solidFill>
                <a:latin typeface="+mn-lt"/>
                <a:ea typeface="+mn-ea"/>
                <a:cs typeface="+mn-cs"/>
              </a:defRPr>
            </a:lvl1pPr>
          </a:lstStyle>
          <a:p>
            <a:pPr marL="13138" marR="42955" lvl="0" algn="ctr" defTabSz="685307">
              <a:lnSpc>
                <a:spcPct val="90000"/>
              </a:lnSpc>
            </a:pPr>
            <a:endParaRPr lang="en-US"/>
          </a:p>
        </p:txBody>
      </p:sp>
      <p:grpSp>
        <p:nvGrpSpPr>
          <p:cNvPr id="25" name="Group 24">
            <a:extLst>
              <a:ext uri="{FF2B5EF4-FFF2-40B4-BE49-F238E27FC236}">
                <a16:creationId xmlns:a16="http://schemas.microsoft.com/office/drawing/2014/main" id="{F313B973-AD97-F261-E534-1DD296DB70EE}"/>
              </a:ext>
            </a:extLst>
          </p:cNvPr>
          <p:cNvGrpSpPr/>
          <p:nvPr userDrawn="1"/>
        </p:nvGrpSpPr>
        <p:grpSpPr>
          <a:xfrm>
            <a:off x="0" y="506626"/>
            <a:ext cx="2107350" cy="457200"/>
            <a:chOff x="-9547" y="506626"/>
            <a:chExt cx="2107350" cy="457200"/>
          </a:xfrm>
        </p:grpSpPr>
        <p:sp>
          <p:nvSpPr>
            <p:cNvPr id="22" name="Title 1">
              <a:extLst>
                <a:ext uri="{FF2B5EF4-FFF2-40B4-BE49-F238E27FC236}">
                  <a16:creationId xmlns:a16="http://schemas.microsoft.com/office/drawing/2014/main" id="{6E20FD2D-BA22-BCD6-D472-CBC4F8B70CD3}"/>
                </a:ext>
              </a:extLst>
            </p:cNvPr>
            <p:cNvSpPr txBox="1">
              <a:spLocks/>
            </p:cNvSpPr>
            <p:nvPr userDrawn="1"/>
          </p:nvSpPr>
          <p:spPr>
            <a:xfrm rot="5400000">
              <a:off x="954781" y="-179196"/>
              <a:ext cx="457200" cy="1828844"/>
            </a:xfrm>
            <a:prstGeom prst="round2SameRect">
              <a:avLst>
                <a:gd name="adj1" fmla="val 50000"/>
                <a:gd name="adj2" fmla="val 0"/>
              </a:avLst>
            </a:prstGeom>
            <a:solidFill>
              <a:schemeClr val="accent3">
                <a:alpha val="25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23" name="Title 1">
              <a:extLst>
                <a:ext uri="{FF2B5EF4-FFF2-40B4-BE49-F238E27FC236}">
                  <a16:creationId xmlns:a16="http://schemas.microsoft.com/office/drawing/2014/main" id="{A0946431-E4DF-F0FE-708A-506D83316A54}"/>
                </a:ext>
              </a:extLst>
            </p:cNvPr>
            <p:cNvSpPr txBox="1">
              <a:spLocks/>
            </p:cNvSpPr>
            <p:nvPr userDrawn="1"/>
          </p:nvSpPr>
          <p:spPr>
            <a:xfrm rot="5400000">
              <a:off x="815528" y="-179196"/>
              <a:ext cx="457200" cy="1828844"/>
            </a:xfrm>
            <a:prstGeom prst="round2SameRect">
              <a:avLst>
                <a:gd name="adj1" fmla="val 50000"/>
                <a:gd name="adj2" fmla="val 0"/>
              </a:avLst>
            </a:prstGeom>
            <a:solidFill>
              <a:schemeClr val="accent3">
                <a:alpha val="50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24" name="Title 1">
              <a:extLst>
                <a:ext uri="{FF2B5EF4-FFF2-40B4-BE49-F238E27FC236}">
                  <a16:creationId xmlns:a16="http://schemas.microsoft.com/office/drawing/2014/main" id="{C13B58C4-FCB8-F99D-F66D-89C8592AB8CC}"/>
                </a:ext>
              </a:extLst>
            </p:cNvPr>
            <p:cNvSpPr txBox="1">
              <a:spLocks/>
            </p:cNvSpPr>
            <p:nvPr userDrawn="1"/>
          </p:nvSpPr>
          <p:spPr>
            <a:xfrm rot="5400000">
              <a:off x="676275" y="-179196"/>
              <a:ext cx="457200" cy="1828844"/>
            </a:xfrm>
            <a:prstGeom prst="round2SameRect">
              <a:avLst>
                <a:gd name="adj1" fmla="val 50000"/>
                <a:gd name="adj2" fmla="val 0"/>
              </a:avLst>
            </a:prstGeom>
            <a:solidFill>
              <a:schemeClr val="accent3"/>
            </a:solidFill>
            <a:ln>
              <a:solidFill>
                <a:schemeClr val="accent3"/>
              </a:solidFill>
            </a:ln>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grpSp>
    </p:spTree>
    <p:extLst>
      <p:ext uri="{BB962C8B-B14F-4D97-AF65-F5344CB8AC3E}">
        <p14:creationId xmlns:p14="http://schemas.microsoft.com/office/powerpoint/2010/main" val="130608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OA | Dark">
    <p:spTree>
      <p:nvGrpSpPr>
        <p:cNvPr id="1" name=""/>
        <p:cNvGrpSpPr/>
        <p:nvPr/>
      </p:nvGrpSpPr>
      <p:grpSpPr>
        <a:xfrm>
          <a:off x="0" y="0"/>
          <a:ext cx="0" cy="0"/>
          <a:chOff x="0" y="0"/>
          <a:chExt cx="0" cy="0"/>
        </a:xfrm>
      </p:grpSpPr>
      <p:pic>
        <p:nvPicPr>
          <p:cNvPr id="9" name="Picture 8" descr="A blue background with white spots&#10;&#10;AI-generated content may be incorrect.">
            <a:extLst>
              <a:ext uri="{FF2B5EF4-FFF2-40B4-BE49-F238E27FC236}">
                <a16:creationId xmlns:a16="http://schemas.microsoft.com/office/drawing/2014/main" id="{D8E3CE8C-8CF6-7D1C-5FE2-F1CAF51F467F}"/>
              </a:ext>
            </a:extLst>
          </p:cNvPr>
          <p:cNvPicPr>
            <a:picLocks noChangeAspect="1"/>
          </p:cNvPicPr>
          <p:nvPr userDrawn="1"/>
        </p:nvPicPr>
        <p:blipFill>
          <a:blip r:embed="rId2"/>
          <a:srcRect l="2742" r="28709"/>
          <a:stretch/>
        </p:blipFill>
        <p:spPr>
          <a:xfrm rot="5400000">
            <a:off x="5714999" y="381002"/>
            <a:ext cx="6858002" cy="6096000"/>
          </a:xfrm>
          <a:prstGeom prst="rect">
            <a:avLst/>
          </a:prstGeom>
        </p:spPr>
      </p:pic>
      <p:sp>
        <p:nvSpPr>
          <p:cNvPr id="10" name="Freeform 9">
            <a:extLst>
              <a:ext uri="{FF2B5EF4-FFF2-40B4-BE49-F238E27FC236}">
                <a16:creationId xmlns:a16="http://schemas.microsoft.com/office/drawing/2014/main" id="{3F4BF997-08AE-716E-62B8-0A2141C5F2A6}"/>
              </a:ext>
            </a:extLst>
          </p:cNvPr>
          <p:cNvSpPr/>
          <p:nvPr userDrawn="1"/>
        </p:nvSpPr>
        <p:spPr>
          <a:xfrm>
            <a:off x="0" y="1"/>
            <a:ext cx="6342683" cy="6858000"/>
          </a:xfrm>
          <a:custGeom>
            <a:avLst/>
            <a:gdLst>
              <a:gd name="connsiteX0" fmla="*/ 0 w 6342683"/>
              <a:gd name="connsiteY0" fmla="*/ 0 h 6858000"/>
              <a:gd name="connsiteX1" fmla="*/ 4580506 w 6342683"/>
              <a:gd name="connsiteY1" fmla="*/ 0 h 6858000"/>
              <a:gd name="connsiteX2" fmla="*/ 5323603 w 6342683"/>
              <a:gd name="connsiteY2" fmla="*/ 0 h 6858000"/>
              <a:gd name="connsiteX3" fmla="*/ 6091875 w 6342683"/>
              <a:gd name="connsiteY3" fmla="*/ 0 h 6858000"/>
              <a:gd name="connsiteX4" fmla="*/ 6099974 w 6342683"/>
              <a:gd name="connsiteY4" fmla="*/ 79959 h 6858000"/>
              <a:gd name="connsiteX5" fmla="*/ 6131973 w 6342683"/>
              <a:gd name="connsiteY5" fmla="*/ 6542386 h 6858000"/>
              <a:gd name="connsiteX6" fmla="*/ 6088603 w 6342683"/>
              <a:gd name="connsiteY6" fmla="*/ 6858000 h 6858000"/>
              <a:gd name="connsiteX7" fmla="*/ 5323603 w 6342683"/>
              <a:gd name="connsiteY7" fmla="*/ 6858000 h 6858000"/>
              <a:gd name="connsiteX8" fmla="*/ 4580506 w 6342683"/>
              <a:gd name="connsiteY8" fmla="*/ 6858000 h 6858000"/>
              <a:gd name="connsiteX9" fmla="*/ 0 w 6342683"/>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42683" h="6858000">
                <a:moveTo>
                  <a:pt x="0" y="0"/>
                </a:moveTo>
                <a:lnTo>
                  <a:pt x="4580506" y="0"/>
                </a:lnTo>
                <a:lnTo>
                  <a:pt x="5323603" y="0"/>
                </a:lnTo>
                <a:lnTo>
                  <a:pt x="6091875" y="0"/>
                </a:lnTo>
                <a:lnTo>
                  <a:pt x="6099974" y="79959"/>
                </a:lnTo>
                <a:cubicBezTo>
                  <a:pt x="6197892" y="992763"/>
                  <a:pt x="6574493" y="3160813"/>
                  <a:pt x="6131973" y="6542386"/>
                </a:cubicBezTo>
                <a:lnTo>
                  <a:pt x="6088603" y="6858000"/>
                </a:lnTo>
                <a:lnTo>
                  <a:pt x="5323603" y="6858000"/>
                </a:lnTo>
                <a:lnTo>
                  <a:pt x="458050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Content Placeholder 2">
            <a:extLst>
              <a:ext uri="{FF2B5EF4-FFF2-40B4-BE49-F238E27FC236}">
                <a16:creationId xmlns:a16="http://schemas.microsoft.com/office/drawing/2014/main" id="{1E399E5B-0894-0045-409E-EBB4FD9E9819}"/>
              </a:ext>
            </a:extLst>
          </p:cNvPr>
          <p:cNvSpPr>
            <a:spLocks noGrp="1"/>
          </p:cNvSpPr>
          <p:nvPr>
            <p:ph idx="1"/>
          </p:nvPr>
        </p:nvSpPr>
        <p:spPr>
          <a:xfrm>
            <a:off x="361948" y="1628774"/>
            <a:ext cx="5734052" cy="438912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4">
            <a:extLst>
              <a:ext uri="{FF2B5EF4-FFF2-40B4-BE49-F238E27FC236}">
                <a16:creationId xmlns:a16="http://schemas.microsoft.com/office/drawing/2014/main" id="{C86EB9AB-AE4A-A607-10A1-2B92F961C40A}"/>
              </a:ext>
            </a:extLst>
          </p:cNvPr>
          <p:cNvSpPr>
            <a:spLocks noGrp="1"/>
          </p:cNvSpPr>
          <p:nvPr>
            <p:ph type="ftr" sz="quarter" idx="11"/>
          </p:nvPr>
        </p:nvSpPr>
        <p:spPr>
          <a:xfrm>
            <a:off x="904876" y="6566905"/>
            <a:ext cx="5191124" cy="116955"/>
          </a:xfrm>
        </p:spPr>
        <p:txBody>
          <a:bodyPr/>
          <a:lstStyle>
            <a:lvl1pPr>
              <a:defRPr>
                <a:solidFill>
                  <a:schemeClr val="tx2">
                    <a:lumMod val="75000"/>
                  </a:schemeClr>
                </a:solidFill>
              </a:defRPr>
            </a:lvl1pPr>
          </a:lstStyle>
          <a:p>
            <a:endParaRPr lang="en-US"/>
          </a:p>
        </p:txBody>
      </p:sp>
      <p:sp>
        <p:nvSpPr>
          <p:cNvPr id="7" name="Freeform 4">
            <a:extLst>
              <a:ext uri="{FF2B5EF4-FFF2-40B4-BE49-F238E27FC236}">
                <a16:creationId xmlns:a16="http://schemas.microsoft.com/office/drawing/2014/main" id="{4BCFB53A-429A-7EED-F0E1-EB44399E032F}"/>
              </a:ext>
            </a:extLst>
          </p:cNvPr>
          <p:cNvSpPr/>
          <p:nvPr userDrawn="1"/>
        </p:nvSpPr>
        <p:spPr>
          <a:xfrm rot="19320740">
            <a:off x="329727" y="6383093"/>
            <a:ext cx="366500" cy="330454"/>
          </a:xfrm>
          <a:custGeom>
            <a:avLst/>
            <a:gdLst>
              <a:gd name="connsiteX0" fmla="*/ 356452 w 628843"/>
              <a:gd name="connsiteY0" fmla="*/ 3205 h 566992"/>
              <a:gd name="connsiteX1" fmla="*/ 3659 w 628843"/>
              <a:gd name="connsiteY1" fmla="*/ 266001 h 566992"/>
              <a:gd name="connsiteX2" fmla="*/ 62654 w 628843"/>
              <a:gd name="connsiteY2" fmla="*/ 497293 h 566992"/>
              <a:gd name="connsiteX3" fmla="*/ 280555 w 628843"/>
              <a:gd name="connsiteY3" fmla="*/ 551039 h 566992"/>
              <a:gd name="connsiteX4" fmla="*/ 519274 w 628843"/>
              <a:gd name="connsiteY4" fmla="*/ 452613 h 566992"/>
              <a:gd name="connsiteX5" fmla="*/ 627605 w 628843"/>
              <a:gd name="connsiteY5" fmla="*/ 316225 h 566992"/>
              <a:gd name="connsiteX6" fmla="*/ 561366 w 628843"/>
              <a:gd name="connsiteY6" fmla="*/ 124852 h 566992"/>
              <a:gd name="connsiteX7" fmla="*/ 356452 w 628843"/>
              <a:gd name="connsiteY7" fmla="*/ 3205 h 56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843" h="566992">
                <a:moveTo>
                  <a:pt x="356452" y="3205"/>
                </a:moveTo>
                <a:cubicBezTo>
                  <a:pt x="186516" y="-21189"/>
                  <a:pt x="28784" y="96283"/>
                  <a:pt x="3659" y="266001"/>
                </a:cubicBezTo>
                <a:cubicBezTo>
                  <a:pt x="-9197" y="347925"/>
                  <a:pt x="12143" y="431545"/>
                  <a:pt x="62654" y="497293"/>
                </a:cubicBezTo>
                <a:cubicBezTo>
                  <a:pt x="114013" y="565976"/>
                  <a:pt x="186647" y="583913"/>
                  <a:pt x="280555" y="551039"/>
                </a:cubicBezTo>
                <a:cubicBezTo>
                  <a:pt x="361999" y="522992"/>
                  <a:pt x="441680" y="490118"/>
                  <a:pt x="519274" y="452613"/>
                </a:cubicBezTo>
                <a:cubicBezTo>
                  <a:pt x="584533" y="420195"/>
                  <a:pt x="620687" y="374733"/>
                  <a:pt x="627605" y="316225"/>
                </a:cubicBezTo>
                <a:cubicBezTo>
                  <a:pt x="634522" y="257717"/>
                  <a:pt x="612464" y="193926"/>
                  <a:pt x="561366" y="124852"/>
                </a:cubicBezTo>
                <a:cubicBezTo>
                  <a:pt x="512879" y="57669"/>
                  <a:pt x="438679" y="13642"/>
                  <a:pt x="356452" y="3205"/>
                </a:cubicBezTo>
              </a:path>
            </a:pathLst>
          </a:custGeom>
          <a:solidFill>
            <a:schemeClr val="accent1">
              <a:lumMod val="40000"/>
              <a:lumOff val="60000"/>
            </a:schemeClr>
          </a:solidFill>
          <a:ln w="4568" cap="flat">
            <a:noFill/>
            <a:prstDash val="solid"/>
            <a:miter/>
          </a:ln>
        </p:spPr>
        <p:txBody>
          <a:bodyPr rtlCol="0" anchor="ctr"/>
          <a:lstStyle/>
          <a:p>
            <a:endParaRPr lang="en-US"/>
          </a:p>
        </p:txBody>
      </p:sp>
      <p:sp>
        <p:nvSpPr>
          <p:cNvPr id="8" name="Slide Number Placeholder 5">
            <a:extLst>
              <a:ext uri="{FF2B5EF4-FFF2-40B4-BE49-F238E27FC236}">
                <a16:creationId xmlns:a16="http://schemas.microsoft.com/office/drawing/2014/main" id="{88EE0E20-790F-C7FB-7AFD-18B841B9128B}"/>
              </a:ext>
            </a:extLst>
          </p:cNvPr>
          <p:cNvSpPr>
            <a:spLocks noGrp="1" noChangeAspect="1"/>
          </p:cNvSpPr>
          <p:nvPr>
            <p:ph type="sldNum" sz="quarter" idx="4"/>
          </p:nvPr>
        </p:nvSpPr>
        <p:spPr>
          <a:xfrm>
            <a:off x="361949" y="6409540"/>
            <a:ext cx="274320" cy="274320"/>
          </a:xfrm>
          <a:prstGeom prst="roundRect">
            <a:avLst>
              <a:gd name="adj" fmla="val 50000"/>
            </a:avLst>
          </a:prstGeom>
          <a:noFill/>
          <a:ln>
            <a:noFill/>
          </a:ln>
        </p:spPr>
        <p:txBody>
          <a:bodyPr vert="horz" wrap="square" lIns="0" tIns="0" rIns="0" bIns="0" rtlCol="0" anchor="ctr">
            <a:noAutofit/>
          </a:bodyPr>
          <a:lstStyle>
            <a:lvl1pPr algn="ctr">
              <a:defRPr sz="800" b="0" i="0">
                <a:solidFill>
                  <a:schemeClr val="tx2">
                    <a:lumMod val="75000"/>
                  </a:schemeClr>
                </a:solidFill>
                <a:latin typeface="Calibri" panose="020F0502020204030204" pitchFamily="34" charset="0"/>
              </a:defRPr>
            </a:lvl1pPr>
          </a:lstStyle>
          <a:p>
            <a:fld id="{1916DDDD-2DB5-41B0-89CB-F50E795279FE}" type="slidenum">
              <a:rPr lang="en-GB" smtClean="0"/>
              <a:pPr/>
              <a:t>‹#›</a:t>
            </a:fld>
            <a:endParaRPr lang="en-GB"/>
          </a:p>
        </p:txBody>
      </p:sp>
      <p:grpSp>
        <p:nvGrpSpPr>
          <p:cNvPr id="13" name="Group 12">
            <a:extLst>
              <a:ext uri="{FF2B5EF4-FFF2-40B4-BE49-F238E27FC236}">
                <a16:creationId xmlns:a16="http://schemas.microsoft.com/office/drawing/2014/main" id="{6D1C0CD4-B247-8D92-AEF5-9D03CF428C1C}"/>
              </a:ext>
            </a:extLst>
          </p:cNvPr>
          <p:cNvGrpSpPr/>
          <p:nvPr userDrawn="1"/>
        </p:nvGrpSpPr>
        <p:grpSpPr>
          <a:xfrm>
            <a:off x="3670703" y="506626"/>
            <a:ext cx="1968097" cy="457200"/>
            <a:chOff x="129706" y="506626"/>
            <a:chExt cx="1968097" cy="457200"/>
          </a:xfrm>
        </p:grpSpPr>
        <p:sp>
          <p:nvSpPr>
            <p:cNvPr id="14" name="Title 1">
              <a:extLst>
                <a:ext uri="{FF2B5EF4-FFF2-40B4-BE49-F238E27FC236}">
                  <a16:creationId xmlns:a16="http://schemas.microsoft.com/office/drawing/2014/main" id="{DEEE3A05-8D9F-2F65-B31F-D8649DBE1A0C}"/>
                </a:ext>
              </a:extLst>
            </p:cNvPr>
            <p:cNvSpPr txBox="1">
              <a:spLocks/>
            </p:cNvSpPr>
            <p:nvPr userDrawn="1"/>
          </p:nvSpPr>
          <p:spPr>
            <a:xfrm rot="5400000">
              <a:off x="954781" y="-179196"/>
              <a:ext cx="457200" cy="1828844"/>
            </a:xfrm>
            <a:prstGeom prst="round2SameRect">
              <a:avLst>
                <a:gd name="adj1" fmla="val 50000"/>
                <a:gd name="adj2" fmla="val 0"/>
              </a:avLst>
            </a:prstGeom>
            <a:solidFill>
              <a:schemeClr val="accent3">
                <a:alpha val="25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15" name="Title 1">
              <a:extLst>
                <a:ext uri="{FF2B5EF4-FFF2-40B4-BE49-F238E27FC236}">
                  <a16:creationId xmlns:a16="http://schemas.microsoft.com/office/drawing/2014/main" id="{F9BAE30B-4708-2C3E-2A1F-32F4E15EF15A}"/>
                </a:ext>
              </a:extLst>
            </p:cNvPr>
            <p:cNvSpPr txBox="1">
              <a:spLocks/>
            </p:cNvSpPr>
            <p:nvPr userDrawn="1"/>
          </p:nvSpPr>
          <p:spPr>
            <a:xfrm rot="5400000">
              <a:off x="815528" y="-179196"/>
              <a:ext cx="457200" cy="1828844"/>
            </a:xfrm>
            <a:prstGeom prst="round2SameRect">
              <a:avLst>
                <a:gd name="adj1" fmla="val 50000"/>
                <a:gd name="adj2" fmla="val 0"/>
              </a:avLst>
            </a:prstGeom>
            <a:solidFill>
              <a:schemeClr val="accent3">
                <a:alpha val="50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grpSp>
      <p:sp>
        <p:nvSpPr>
          <p:cNvPr id="2" name="Title 1">
            <a:extLst>
              <a:ext uri="{FF2B5EF4-FFF2-40B4-BE49-F238E27FC236}">
                <a16:creationId xmlns:a16="http://schemas.microsoft.com/office/drawing/2014/main" id="{3ABB45FD-3F7B-89AD-ABF7-DBEFCB217E87}"/>
              </a:ext>
            </a:extLst>
          </p:cNvPr>
          <p:cNvSpPr>
            <a:spLocks noGrp="1"/>
          </p:cNvSpPr>
          <p:nvPr>
            <p:ph type="title" hasCustomPrompt="1"/>
          </p:nvPr>
        </p:nvSpPr>
        <p:spPr>
          <a:xfrm rot="5400000">
            <a:off x="2452301" y="-1945675"/>
            <a:ext cx="457200" cy="5361802"/>
          </a:xfrm>
          <a:prstGeom prst="round2SameRect">
            <a:avLst>
              <a:gd name="adj1" fmla="val 50000"/>
              <a:gd name="adj2" fmla="val 0"/>
            </a:avLst>
          </a:prstGeom>
          <a:solidFill>
            <a:schemeClr val="accent3"/>
          </a:solidFill>
        </p:spPr>
        <p:txBody>
          <a:bodyPr vert="vert270" bIns="365760" anchor="ctr" anchorCtr="0">
            <a:noAutofit/>
          </a:bodyPr>
          <a:lstStyle>
            <a:lvl1pPr>
              <a:defRPr sz="2000" b="1" i="0">
                <a:solidFill>
                  <a:schemeClr val="bg1"/>
                </a:solidFill>
                <a:latin typeface="Calibri" panose="020F0502020204030204" pitchFamily="34" charset="0"/>
                <a:cs typeface="Calibri" panose="020F0502020204030204" pitchFamily="34" charset="0"/>
              </a:defRPr>
            </a:lvl1pPr>
          </a:lstStyle>
          <a:p>
            <a:r>
              <a:rPr lang="en-US"/>
              <a:t>SECTION</a:t>
            </a:r>
          </a:p>
        </p:txBody>
      </p:sp>
    </p:spTree>
    <p:extLst>
      <p:ext uri="{BB962C8B-B14F-4D97-AF65-F5344CB8AC3E}">
        <p14:creationId xmlns:p14="http://schemas.microsoft.com/office/powerpoint/2010/main" val="392677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5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OA | Light">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3F4BF997-08AE-716E-62B8-0A2141C5F2A6}"/>
              </a:ext>
            </a:extLst>
          </p:cNvPr>
          <p:cNvSpPr/>
          <p:nvPr userDrawn="1"/>
        </p:nvSpPr>
        <p:spPr>
          <a:xfrm>
            <a:off x="0" y="1"/>
            <a:ext cx="6342683" cy="6858000"/>
          </a:xfrm>
          <a:custGeom>
            <a:avLst/>
            <a:gdLst>
              <a:gd name="connsiteX0" fmla="*/ 0 w 6342683"/>
              <a:gd name="connsiteY0" fmla="*/ 0 h 6858000"/>
              <a:gd name="connsiteX1" fmla="*/ 4580506 w 6342683"/>
              <a:gd name="connsiteY1" fmla="*/ 0 h 6858000"/>
              <a:gd name="connsiteX2" fmla="*/ 5323603 w 6342683"/>
              <a:gd name="connsiteY2" fmla="*/ 0 h 6858000"/>
              <a:gd name="connsiteX3" fmla="*/ 6091875 w 6342683"/>
              <a:gd name="connsiteY3" fmla="*/ 0 h 6858000"/>
              <a:gd name="connsiteX4" fmla="*/ 6099974 w 6342683"/>
              <a:gd name="connsiteY4" fmla="*/ 79959 h 6858000"/>
              <a:gd name="connsiteX5" fmla="*/ 6131973 w 6342683"/>
              <a:gd name="connsiteY5" fmla="*/ 6542386 h 6858000"/>
              <a:gd name="connsiteX6" fmla="*/ 6088603 w 6342683"/>
              <a:gd name="connsiteY6" fmla="*/ 6858000 h 6858000"/>
              <a:gd name="connsiteX7" fmla="*/ 5323603 w 6342683"/>
              <a:gd name="connsiteY7" fmla="*/ 6858000 h 6858000"/>
              <a:gd name="connsiteX8" fmla="*/ 4580506 w 6342683"/>
              <a:gd name="connsiteY8" fmla="*/ 6858000 h 6858000"/>
              <a:gd name="connsiteX9" fmla="*/ 0 w 6342683"/>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42683" h="6858000">
                <a:moveTo>
                  <a:pt x="0" y="0"/>
                </a:moveTo>
                <a:lnTo>
                  <a:pt x="4580506" y="0"/>
                </a:lnTo>
                <a:lnTo>
                  <a:pt x="5323603" y="0"/>
                </a:lnTo>
                <a:lnTo>
                  <a:pt x="6091875" y="0"/>
                </a:lnTo>
                <a:lnTo>
                  <a:pt x="6099974" y="79959"/>
                </a:lnTo>
                <a:cubicBezTo>
                  <a:pt x="6197892" y="992763"/>
                  <a:pt x="6574493" y="3160813"/>
                  <a:pt x="6131973" y="6542386"/>
                </a:cubicBezTo>
                <a:lnTo>
                  <a:pt x="6088603" y="6858000"/>
                </a:lnTo>
                <a:lnTo>
                  <a:pt x="5323603" y="6858000"/>
                </a:lnTo>
                <a:lnTo>
                  <a:pt x="4580506" y="6858000"/>
                </a:lnTo>
                <a:lnTo>
                  <a:pt x="0" y="6858000"/>
                </a:lnTo>
                <a:close/>
              </a:path>
            </a:pathLst>
          </a:custGeom>
          <a:gradFill flip="none" rotWithShape="1">
            <a:gsLst>
              <a:gs pos="0">
                <a:schemeClr val="accent3">
                  <a:lumMod val="75000"/>
                </a:schemeClr>
              </a:gs>
              <a:gs pos="100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3" name="Content Placeholder 2">
            <a:extLst>
              <a:ext uri="{FF2B5EF4-FFF2-40B4-BE49-F238E27FC236}">
                <a16:creationId xmlns:a16="http://schemas.microsoft.com/office/drawing/2014/main" id="{1E399E5B-0894-0045-409E-EBB4FD9E9819}"/>
              </a:ext>
            </a:extLst>
          </p:cNvPr>
          <p:cNvSpPr>
            <a:spLocks noGrp="1"/>
          </p:cNvSpPr>
          <p:nvPr>
            <p:ph idx="1"/>
          </p:nvPr>
        </p:nvSpPr>
        <p:spPr>
          <a:xfrm>
            <a:off x="361948" y="1628774"/>
            <a:ext cx="5734052" cy="4389120"/>
          </a:xfrm>
        </p:spPr>
        <p:txBody>
          <a:bodyPr vert="horz" lIns="0" tIns="0" rIns="0" bIns="0" rtlCol="0">
            <a:noAutofit/>
          </a:bodyPr>
          <a:lstStyle>
            <a:lvl1pPr>
              <a:defRPr lang="en-US" dirty="0" smtClean="0">
                <a:solidFill>
                  <a:schemeClr val="bg1"/>
                </a:solidFill>
              </a:defRPr>
            </a:lvl1pPr>
            <a:lvl2pPr marL="228600" indent="-228600">
              <a:buFontTx/>
              <a:buBlip>
                <a:blip r:embed="rId2"/>
              </a:buBlip>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4">
            <a:extLst>
              <a:ext uri="{FF2B5EF4-FFF2-40B4-BE49-F238E27FC236}">
                <a16:creationId xmlns:a16="http://schemas.microsoft.com/office/drawing/2014/main" id="{C86EB9AB-AE4A-A607-10A1-2B92F961C40A}"/>
              </a:ext>
            </a:extLst>
          </p:cNvPr>
          <p:cNvSpPr>
            <a:spLocks noGrp="1"/>
          </p:cNvSpPr>
          <p:nvPr>
            <p:ph type="ftr" sz="quarter" idx="11"/>
          </p:nvPr>
        </p:nvSpPr>
        <p:spPr>
          <a:xfrm>
            <a:off x="904876" y="6674377"/>
            <a:ext cx="5191124" cy="116955"/>
          </a:xfrm>
        </p:spPr>
        <p:txBody>
          <a:bodyPr/>
          <a:lstStyle>
            <a:lvl1pPr>
              <a:defRPr>
                <a:solidFill>
                  <a:schemeClr val="bg1"/>
                </a:solidFill>
              </a:defRPr>
            </a:lvl1pPr>
          </a:lstStyle>
          <a:p>
            <a:endParaRPr lang="en-US"/>
          </a:p>
        </p:txBody>
      </p:sp>
      <p:sp>
        <p:nvSpPr>
          <p:cNvPr id="7" name="Freeform 4">
            <a:extLst>
              <a:ext uri="{FF2B5EF4-FFF2-40B4-BE49-F238E27FC236}">
                <a16:creationId xmlns:a16="http://schemas.microsoft.com/office/drawing/2014/main" id="{4BCFB53A-429A-7EED-F0E1-EB44399E032F}"/>
              </a:ext>
            </a:extLst>
          </p:cNvPr>
          <p:cNvSpPr/>
          <p:nvPr userDrawn="1"/>
        </p:nvSpPr>
        <p:spPr>
          <a:xfrm rot="19320740">
            <a:off x="329727" y="6383093"/>
            <a:ext cx="366500" cy="330454"/>
          </a:xfrm>
          <a:custGeom>
            <a:avLst/>
            <a:gdLst>
              <a:gd name="connsiteX0" fmla="*/ 356452 w 628843"/>
              <a:gd name="connsiteY0" fmla="*/ 3205 h 566992"/>
              <a:gd name="connsiteX1" fmla="*/ 3659 w 628843"/>
              <a:gd name="connsiteY1" fmla="*/ 266001 h 566992"/>
              <a:gd name="connsiteX2" fmla="*/ 62654 w 628843"/>
              <a:gd name="connsiteY2" fmla="*/ 497293 h 566992"/>
              <a:gd name="connsiteX3" fmla="*/ 280555 w 628843"/>
              <a:gd name="connsiteY3" fmla="*/ 551039 h 566992"/>
              <a:gd name="connsiteX4" fmla="*/ 519274 w 628843"/>
              <a:gd name="connsiteY4" fmla="*/ 452613 h 566992"/>
              <a:gd name="connsiteX5" fmla="*/ 627605 w 628843"/>
              <a:gd name="connsiteY5" fmla="*/ 316225 h 566992"/>
              <a:gd name="connsiteX6" fmla="*/ 561366 w 628843"/>
              <a:gd name="connsiteY6" fmla="*/ 124852 h 566992"/>
              <a:gd name="connsiteX7" fmla="*/ 356452 w 628843"/>
              <a:gd name="connsiteY7" fmla="*/ 3205 h 56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843" h="566992">
                <a:moveTo>
                  <a:pt x="356452" y="3205"/>
                </a:moveTo>
                <a:cubicBezTo>
                  <a:pt x="186516" y="-21189"/>
                  <a:pt x="28784" y="96283"/>
                  <a:pt x="3659" y="266001"/>
                </a:cubicBezTo>
                <a:cubicBezTo>
                  <a:pt x="-9197" y="347925"/>
                  <a:pt x="12143" y="431545"/>
                  <a:pt x="62654" y="497293"/>
                </a:cubicBezTo>
                <a:cubicBezTo>
                  <a:pt x="114013" y="565976"/>
                  <a:pt x="186647" y="583913"/>
                  <a:pt x="280555" y="551039"/>
                </a:cubicBezTo>
                <a:cubicBezTo>
                  <a:pt x="361999" y="522992"/>
                  <a:pt x="441680" y="490118"/>
                  <a:pt x="519274" y="452613"/>
                </a:cubicBezTo>
                <a:cubicBezTo>
                  <a:pt x="584533" y="420195"/>
                  <a:pt x="620687" y="374733"/>
                  <a:pt x="627605" y="316225"/>
                </a:cubicBezTo>
                <a:cubicBezTo>
                  <a:pt x="634522" y="257717"/>
                  <a:pt x="612464" y="193926"/>
                  <a:pt x="561366" y="124852"/>
                </a:cubicBezTo>
                <a:cubicBezTo>
                  <a:pt x="512879" y="57669"/>
                  <a:pt x="438679" y="13642"/>
                  <a:pt x="356452" y="3205"/>
                </a:cubicBezTo>
              </a:path>
            </a:pathLst>
          </a:custGeom>
          <a:solidFill>
            <a:schemeClr val="accent1">
              <a:lumMod val="40000"/>
              <a:lumOff val="60000"/>
            </a:schemeClr>
          </a:solidFill>
          <a:ln w="4568" cap="flat">
            <a:noFill/>
            <a:prstDash val="solid"/>
            <a:miter/>
          </a:ln>
        </p:spPr>
        <p:txBody>
          <a:bodyPr rtlCol="0" anchor="ctr"/>
          <a:lstStyle/>
          <a:p>
            <a:endParaRPr lang="en-US"/>
          </a:p>
        </p:txBody>
      </p:sp>
      <p:sp>
        <p:nvSpPr>
          <p:cNvPr id="8" name="Slide Number Placeholder 5">
            <a:extLst>
              <a:ext uri="{FF2B5EF4-FFF2-40B4-BE49-F238E27FC236}">
                <a16:creationId xmlns:a16="http://schemas.microsoft.com/office/drawing/2014/main" id="{88EE0E20-790F-C7FB-7AFD-18B841B9128B}"/>
              </a:ext>
            </a:extLst>
          </p:cNvPr>
          <p:cNvSpPr>
            <a:spLocks noGrp="1" noChangeAspect="1"/>
          </p:cNvSpPr>
          <p:nvPr>
            <p:ph type="sldNum" sz="quarter" idx="4"/>
          </p:nvPr>
        </p:nvSpPr>
        <p:spPr>
          <a:xfrm>
            <a:off x="361949" y="6409540"/>
            <a:ext cx="274320" cy="274320"/>
          </a:xfrm>
          <a:prstGeom prst="roundRect">
            <a:avLst>
              <a:gd name="adj" fmla="val 50000"/>
            </a:avLst>
          </a:prstGeom>
          <a:noFill/>
          <a:ln>
            <a:noFill/>
          </a:ln>
        </p:spPr>
        <p:txBody>
          <a:bodyPr vert="horz" wrap="square" lIns="0" tIns="0" rIns="0" bIns="0" rtlCol="0" anchor="ctr">
            <a:noAutofit/>
          </a:bodyPr>
          <a:lstStyle>
            <a:lvl1pPr algn="ctr">
              <a:defRPr sz="800" b="0" i="0">
                <a:solidFill>
                  <a:schemeClr val="tx2">
                    <a:lumMod val="75000"/>
                  </a:schemeClr>
                </a:solidFill>
                <a:latin typeface="Calibri" panose="020F0502020204030204" pitchFamily="34" charset="0"/>
              </a:defRPr>
            </a:lvl1pPr>
          </a:lstStyle>
          <a:p>
            <a:fld id="{1916DDDD-2DB5-41B0-89CB-F50E795279FE}" type="slidenum">
              <a:rPr lang="en-GB" smtClean="0"/>
              <a:pPr/>
              <a:t>‹#›</a:t>
            </a:fld>
            <a:endParaRPr lang="en-GB"/>
          </a:p>
        </p:txBody>
      </p:sp>
      <p:grpSp>
        <p:nvGrpSpPr>
          <p:cNvPr id="4" name="Group 3">
            <a:extLst>
              <a:ext uri="{FF2B5EF4-FFF2-40B4-BE49-F238E27FC236}">
                <a16:creationId xmlns:a16="http://schemas.microsoft.com/office/drawing/2014/main" id="{ED7433F8-5E84-6A03-05FE-13AB42323DBD}"/>
              </a:ext>
            </a:extLst>
          </p:cNvPr>
          <p:cNvGrpSpPr/>
          <p:nvPr userDrawn="1"/>
        </p:nvGrpSpPr>
        <p:grpSpPr>
          <a:xfrm>
            <a:off x="3670703" y="506626"/>
            <a:ext cx="1968097" cy="457200"/>
            <a:chOff x="129706" y="506626"/>
            <a:chExt cx="1968097" cy="457200"/>
          </a:xfrm>
        </p:grpSpPr>
        <p:sp>
          <p:nvSpPr>
            <p:cNvPr id="12" name="Title 1">
              <a:extLst>
                <a:ext uri="{FF2B5EF4-FFF2-40B4-BE49-F238E27FC236}">
                  <a16:creationId xmlns:a16="http://schemas.microsoft.com/office/drawing/2014/main" id="{7271CA09-C68D-814B-0EED-4B9A1B2BBDB8}"/>
                </a:ext>
              </a:extLst>
            </p:cNvPr>
            <p:cNvSpPr txBox="1">
              <a:spLocks/>
            </p:cNvSpPr>
            <p:nvPr userDrawn="1"/>
          </p:nvSpPr>
          <p:spPr>
            <a:xfrm rot="5400000">
              <a:off x="954781" y="-179196"/>
              <a:ext cx="457200" cy="1828844"/>
            </a:xfrm>
            <a:prstGeom prst="round2SameRect">
              <a:avLst>
                <a:gd name="adj1" fmla="val 50000"/>
                <a:gd name="adj2" fmla="val 0"/>
              </a:avLst>
            </a:prstGeom>
            <a:solidFill>
              <a:schemeClr val="accent2">
                <a:alpha val="15000"/>
              </a:schemeClr>
            </a:solidFill>
          </p:spPr>
          <p:txBody>
            <a:bodyPr vert="vert270" bIns="365760" anchor="ctr" anchorCtr="0">
              <a:noAutofit/>
            </a:bodyPr>
            <a:lstStyle>
              <a:defPPr>
                <a:defRPr lang="en-US"/>
              </a:defPPr>
              <a:lvl1pPr>
                <a:lnSpc>
                  <a:spcPct val="100000"/>
                </a:lnSpc>
                <a:spcBef>
                  <a:spcPts val="0"/>
                </a:spcBef>
                <a:spcAft>
                  <a:spcPts val="600"/>
                </a:spcAft>
                <a:buNone/>
                <a:defRPr sz="2000" b="1" i="0">
                  <a:solidFill>
                    <a:schemeClr val="bg1"/>
                  </a:solidFill>
                  <a:latin typeface="Calibri" panose="020F0502020204030204" pitchFamily="34" charset="0"/>
                  <a:ea typeface="+mj-ea"/>
                  <a:cs typeface="Calibri" panose="020F0502020204030204" pitchFamily="34" charset="0"/>
                </a:defRPr>
              </a:lvl1pPr>
            </a:lstStyle>
            <a:p>
              <a:pPr lvl="0"/>
              <a:endParaRPr lang="en-US"/>
            </a:p>
          </p:txBody>
        </p:sp>
        <p:sp>
          <p:nvSpPr>
            <p:cNvPr id="13" name="Title 1">
              <a:extLst>
                <a:ext uri="{FF2B5EF4-FFF2-40B4-BE49-F238E27FC236}">
                  <a16:creationId xmlns:a16="http://schemas.microsoft.com/office/drawing/2014/main" id="{0590F610-B1AF-7907-6C26-73BFFA990502}"/>
                </a:ext>
              </a:extLst>
            </p:cNvPr>
            <p:cNvSpPr txBox="1">
              <a:spLocks/>
            </p:cNvSpPr>
            <p:nvPr userDrawn="1"/>
          </p:nvSpPr>
          <p:spPr>
            <a:xfrm rot="5400000">
              <a:off x="815528" y="-179196"/>
              <a:ext cx="457200" cy="1828844"/>
            </a:xfrm>
            <a:prstGeom prst="round2SameRect">
              <a:avLst>
                <a:gd name="adj1" fmla="val 50000"/>
                <a:gd name="adj2" fmla="val 0"/>
              </a:avLst>
            </a:prstGeom>
            <a:solidFill>
              <a:schemeClr val="accent2">
                <a:alpha val="15000"/>
              </a:schemeClr>
            </a:solidFill>
          </p:spPr>
          <p:txBody>
            <a:bodyPr vert="vert270" bIns="365760" anchor="ctr" anchorCtr="0">
              <a:noAutofit/>
            </a:bodyPr>
            <a:lstStyle>
              <a:defPPr>
                <a:defRPr lang="en-US"/>
              </a:defPPr>
              <a:lvl1pPr>
                <a:lnSpc>
                  <a:spcPct val="100000"/>
                </a:lnSpc>
                <a:spcBef>
                  <a:spcPts val="0"/>
                </a:spcBef>
                <a:spcAft>
                  <a:spcPts val="600"/>
                </a:spcAft>
                <a:buNone/>
                <a:defRPr sz="2000" b="1" i="0">
                  <a:solidFill>
                    <a:schemeClr val="bg1"/>
                  </a:solidFill>
                  <a:latin typeface="Calibri" panose="020F0502020204030204" pitchFamily="34" charset="0"/>
                  <a:ea typeface="+mj-ea"/>
                  <a:cs typeface="Calibri" panose="020F0502020204030204" pitchFamily="34" charset="0"/>
                </a:defRPr>
              </a:lvl1pPr>
            </a:lstStyle>
            <a:p>
              <a:pPr lvl="0"/>
              <a:endParaRPr lang="en-US"/>
            </a:p>
          </p:txBody>
        </p:sp>
      </p:grpSp>
      <p:sp>
        <p:nvSpPr>
          <p:cNvPr id="2" name="Title 1">
            <a:extLst>
              <a:ext uri="{FF2B5EF4-FFF2-40B4-BE49-F238E27FC236}">
                <a16:creationId xmlns:a16="http://schemas.microsoft.com/office/drawing/2014/main" id="{3ABB45FD-3F7B-89AD-ABF7-DBEFCB217E87}"/>
              </a:ext>
            </a:extLst>
          </p:cNvPr>
          <p:cNvSpPr>
            <a:spLocks noGrp="1"/>
          </p:cNvSpPr>
          <p:nvPr>
            <p:ph type="title" hasCustomPrompt="1"/>
          </p:nvPr>
        </p:nvSpPr>
        <p:spPr>
          <a:xfrm rot="5400000">
            <a:off x="2450592" y="-1943966"/>
            <a:ext cx="457200" cy="5358384"/>
          </a:xfrm>
          <a:prstGeom prst="round2SameRect">
            <a:avLst>
              <a:gd name="adj1" fmla="val 50000"/>
              <a:gd name="adj2" fmla="val 0"/>
            </a:avLst>
          </a:prstGeom>
          <a:solidFill>
            <a:schemeClr val="bg2"/>
          </a:solidFill>
        </p:spPr>
        <p:txBody>
          <a:bodyPr vert="vert270" bIns="365760" anchor="ctr" anchorCtr="0">
            <a:noAutofit/>
          </a:bodyPr>
          <a:lstStyle>
            <a:lvl1pPr>
              <a:defRPr sz="2000" b="1" i="0">
                <a:solidFill>
                  <a:schemeClr val="accent3"/>
                </a:solidFill>
                <a:latin typeface="Calibri" panose="020F0502020204030204" pitchFamily="34" charset="0"/>
                <a:cs typeface="Calibri" panose="020F0502020204030204" pitchFamily="34" charset="0"/>
              </a:defRPr>
            </a:lvl1pPr>
          </a:lstStyle>
          <a:p>
            <a:r>
              <a:rPr lang="en-US"/>
              <a:t>SECTION</a:t>
            </a:r>
          </a:p>
        </p:txBody>
      </p:sp>
    </p:spTree>
    <p:extLst>
      <p:ext uri="{BB962C8B-B14F-4D97-AF65-F5344CB8AC3E}">
        <p14:creationId xmlns:p14="http://schemas.microsoft.com/office/powerpoint/2010/main" val="219362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5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SULTS | 50-50">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8DFA67F2-34E7-E685-23F4-2DD40087C33C}"/>
              </a:ext>
            </a:extLst>
          </p:cNvPr>
          <p:cNvSpPr/>
          <p:nvPr userDrawn="1"/>
        </p:nvSpPr>
        <p:spPr>
          <a:xfrm>
            <a:off x="0" y="0"/>
            <a:ext cx="6342683" cy="6858000"/>
          </a:xfrm>
          <a:custGeom>
            <a:avLst/>
            <a:gdLst>
              <a:gd name="connsiteX0" fmla="*/ 0 w 6342683"/>
              <a:gd name="connsiteY0" fmla="*/ 0 h 6858000"/>
              <a:gd name="connsiteX1" fmla="*/ 4580506 w 6342683"/>
              <a:gd name="connsiteY1" fmla="*/ 0 h 6858000"/>
              <a:gd name="connsiteX2" fmla="*/ 5323603 w 6342683"/>
              <a:gd name="connsiteY2" fmla="*/ 0 h 6858000"/>
              <a:gd name="connsiteX3" fmla="*/ 6091875 w 6342683"/>
              <a:gd name="connsiteY3" fmla="*/ 0 h 6858000"/>
              <a:gd name="connsiteX4" fmla="*/ 6099974 w 6342683"/>
              <a:gd name="connsiteY4" fmla="*/ 79959 h 6858000"/>
              <a:gd name="connsiteX5" fmla="*/ 6131973 w 6342683"/>
              <a:gd name="connsiteY5" fmla="*/ 6542386 h 6858000"/>
              <a:gd name="connsiteX6" fmla="*/ 6088603 w 6342683"/>
              <a:gd name="connsiteY6" fmla="*/ 6858000 h 6858000"/>
              <a:gd name="connsiteX7" fmla="*/ 5323603 w 6342683"/>
              <a:gd name="connsiteY7" fmla="*/ 6858000 h 6858000"/>
              <a:gd name="connsiteX8" fmla="*/ 4580506 w 6342683"/>
              <a:gd name="connsiteY8" fmla="*/ 6858000 h 6858000"/>
              <a:gd name="connsiteX9" fmla="*/ 0 w 6342683"/>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42683" h="6858000">
                <a:moveTo>
                  <a:pt x="0" y="0"/>
                </a:moveTo>
                <a:lnTo>
                  <a:pt x="4580506" y="0"/>
                </a:lnTo>
                <a:lnTo>
                  <a:pt x="5323603" y="0"/>
                </a:lnTo>
                <a:lnTo>
                  <a:pt x="6091875" y="0"/>
                </a:lnTo>
                <a:lnTo>
                  <a:pt x="6099974" y="79959"/>
                </a:lnTo>
                <a:cubicBezTo>
                  <a:pt x="6197892" y="992763"/>
                  <a:pt x="6574493" y="3160813"/>
                  <a:pt x="6131973" y="6542386"/>
                </a:cubicBezTo>
                <a:lnTo>
                  <a:pt x="6088603" y="6858000"/>
                </a:lnTo>
                <a:lnTo>
                  <a:pt x="5323603" y="6858000"/>
                </a:lnTo>
                <a:lnTo>
                  <a:pt x="4580506" y="6858000"/>
                </a:lnTo>
                <a:lnTo>
                  <a:pt x="0" y="6858000"/>
                </a:lnTo>
                <a:close/>
              </a:path>
            </a:pathLst>
          </a:custGeom>
          <a:gradFill>
            <a:gsLst>
              <a:gs pos="100000">
                <a:srgbClr val="DEEAF6"/>
              </a:gs>
              <a:gs pos="0">
                <a:srgbClr val="DEEAF6">
                  <a:alpha val="2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Content Placeholder 2">
            <a:extLst>
              <a:ext uri="{FF2B5EF4-FFF2-40B4-BE49-F238E27FC236}">
                <a16:creationId xmlns:a16="http://schemas.microsoft.com/office/drawing/2014/main" id="{1E399E5B-0894-0045-409E-EBB4FD9E9819}"/>
              </a:ext>
            </a:extLst>
          </p:cNvPr>
          <p:cNvSpPr>
            <a:spLocks noGrp="1"/>
          </p:cNvSpPr>
          <p:nvPr>
            <p:ph idx="1"/>
          </p:nvPr>
        </p:nvSpPr>
        <p:spPr>
          <a:xfrm>
            <a:off x="361948" y="1628774"/>
            <a:ext cx="5734052" cy="438912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able Placeholder 12">
            <a:extLst>
              <a:ext uri="{FF2B5EF4-FFF2-40B4-BE49-F238E27FC236}">
                <a16:creationId xmlns:a16="http://schemas.microsoft.com/office/drawing/2014/main" id="{6960F351-F632-804E-58D3-0136F8641AAD}"/>
              </a:ext>
            </a:extLst>
          </p:cNvPr>
          <p:cNvSpPr>
            <a:spLocks noGrp="1"/>
          </p:cNvSpPr>
          <p:nvPr>
            <p:ph type="tbl" sz="quarter" idx="14"/>
          </p:nvPr>
        </p:nvSpPr>
        <p:spPr>
          <a:xfrm>
            <a:off x="6457949" y="1628774"/>
            <a:ext cx="5392676" cy="4389120"/>
          </a:xfrm>
        </p:spPr>
        <p:txBody>
          <a:bodyPr/>
          <a:lstStyle/>
          <a:p>
            <a:endParaRPr lang="en-US"/>
          </a:p>
        </p:txBody>
      </p:sp>
      <p:sp>
        <p:nvSpPr>
          <p:cNvPr id="14" name="Freeform 4">
            <a:extLst>
              <a:ext uri="{FF2B5EF4-FFF2-40B4-BE49-F238E27FC236}">
                <a16:creationId xmlns:a16="http://schemas.microsoft.com/office/drawing/2014/main" id="{B3F9480A-625F-FA3F-95B7-B0648195B805}"/>
              </a:ext>
            </a:extLst>
          </p:cNvPr>
          <p:cNvSpPr/>
          <p:nvPr userDrawn="1"/>
        </p:nvSpPr>
        <p:spPr>
          <a:xfrm rot="19320740">
            <a:off x="329727" y="6383093"/>
            <a:ext cx="366500" cy="330454"/>
          </a:xfrm>
          <a:custGeom>
            <a:avLst/>
            <a:gdLst>
              <a:gd name="connsiteX0" fmla="*/ 356452 w 628843"/>
              <a:gd name="connsiteY0" fmla="*/ 3205 h 566992"/>
              <a:gd name="connsiteX1" fmla="*/ 3659 w 628843"/>
              <a:gd name="connsiteY1" fmla="*/ 266001 h 566992"/>
              <a:gd name="connsiteX2" fmla="*/ 62654 w 628843"/>
              <a:gd name="connsiteY2" fmla="*/ 497293 h 566992"/>
              <a:gd name="connsiteX3" fmla="*/ 280555 w 628843"/>
              <a:gd name="connsiteY3" fmla="*/ 551039 h 566992"/>
              <a:gd name="connsiteX4" fmla="*/ 519274 w 628843"/>
              <a:gd name="connsiteY4" fmla="*/ 452613 h 566992"/>
              <a:gd name="connsiteX5" fmla="*/ 627605 w 628843"/>
              <a:gd name="connsiteY5" fmla="*/ 316225 h 566992"/>
              <a:gd name="connsiteX6" fmla="*/ 561366 w 628843"/>
              <a:gd name="connsiteY6" fmla="*/ 124852 h 566992"/>
              <a:gd name="connsiteX7" fmla="*/ 356452 w 628843"/>
              <a:gd name="connsiteY7" fmla="*/ 3205 h 56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843" h="566992">
                <a:moveTo>
                  <a:pt x="356452" y="3205"/>
                </a:moveTo>
                <a:cubicBezTo>
                  <a:pt x="186516" y="-21189"/>
                  <a:pt x="28784" y="96283"/>
                  <a:pt x="3659" y="266001"/>
                </a:cubicBezTo>
                <a:cubicBezTo>
                  <a:pt x="-9197" y="347925"/>
                  <a:pt x="12143" y="431545"/>
                  <a:pt x="62654" y="497293"/>
                </a:cubicBezTo>
                <a:cubicBezTo>
                  <a:pt x="114013" y="565976"/>
                  <a:pt x="186647" y="583913"/>
                  <a:pt x="280555" y="551039"/>
                </a:cubicBezTo>
                <a:cubicBezTo>
                  <a:pt x="361999" y="522992"/>
                  <a:pt x="441680" y="490118"/>
                  <a:pt x="519274" y="452613"/>
                </a:cubicBezTo>
                <a:cubicBezTo>
                  <a:pt x="584533" y="420195"/>
                  <a:pt x="620687" y="374733"/>
                  <a:pt x="627605" y="316225"/>
                </a:cubicBezTo>
                <a:cubicBezTo>
                  <a:pt x="634522" y="257717"/>
                  <a:pt x="612464" y="193926"/>
                  <a:pt x="561366" y="124852"/>
                </a:cubicBezTo>
                <a:cubicBezTo>
                  <a:pt x="512879" y="57669"/>
                  <a:pt x="438679" y="13642"/>
                  <a:pt x="356452" y="3205"/>
                </a:cubicBezTo>
              </a:path>
            </a:pathLst>
          </a:custGeom>
          <a:solidFill>
            <a:schemeClr val="accent1">
              <a:lumMod val="40000"/>
              <a:lumOff val="60000"/>
            </a:schemeClr>
          </a:solidFill>
          <a:ln w="4568" cap="flat">
            <a:noFill/>
            <a:prstDash val="solid"/>
            <a:miter/>
          </a:ln>
        </p:spPr>
        <p:txBody>
          <a:bodyPr rtlCol="0" anchor="ctr"/>
          <a:lstStyle/>
          <a:p>
            <a:endParaRPr lang="en-US"/>
          </a:p>
        </p:txBody>
      </p:sp>
      <p:sp>
        <p:nvSpPr>
          <p:cNvPr id="17" name="Slide Number Placeholder 5">
            <a:extLst>
              <a:ext uri="{FF2B5EF4-FFF2-40B4-BE49-F238E27FC236}">
                <a16:creationId xmlns:a16="http://schemas.microsoft.com/office/drawing/2014/main" id="{4F2A49CA-E992-B778-4A90-E2DD51C063CD}"/>
              </a:ext>
            </a:extLst>
          </p:cNvPr>
          <p:cNvSpPr>
            <a:spLocks noGrp="1" noChangeAspect="1"/>
          </p:cNvSpPr>
          <p:nvPr>
            <p:ph type="sldNum" sz="quarter" idx="4"/>
          </p:nvPr>
        </p:nvSpPr>
        <p:spPr>
          <a:xfrm>
            <a:off x="361949" y="6409540"/>
            <a:ext cx="274320" cy="274320"/>
          </a:xfrm>
          <a:prstGeom prst="roundRect">
            <a:avLst>
              <a:gd name="adj" fmla="val 50000"/>
            </a:avLst>
          </a:prstGeom>
          <a:noFill/>
          <a:ln>
            <a:noFill/>
          </a:ln>
        </p:spPr>
        <p:txBody>
          <a:bodyPr vert="horz" wrap="square" lIns="0" tIns="0" rIns="0" bIns="0" rtlCol="0" anchor="ctr">
            <a:noAutofit/>
          </a:bodyPr>
          <a:lstStyle>
            <a:lvl1pPr algn="ctr">
              <a:defRPr sz="800" b="0" i="0">
                <a:solidFill>
                  <a:schemeClr val="tx2">
                    <a:lumMod val="75000"/>
                  </a:schemeClr>
                </a:solidFill>
                <a:latin typeface="Calibri" panose="020F0502020204030204" pitchFamily="34" charset="0"/>
              </a:defRPr>
            </a:lvl1pPr>
          </a:lstStyle>
          <a:p>
            <a:fld id="{1916DDDD-2DB5-41B0-89CB-F50E795279FE}" type="slidenum">
              <a:rPr lang="en-GB" smtClean="0"/>
              <a:pPr/>
              <a:t>‹#›</a:t>
            </a:fld>
            <a:endParaRPr lang="en-GB"/>
          </a:p>
        </p:txBody>
      </p:sp>
      <p:sp>
        <p:nvSpPr>
          <p:cNvPr id="4" name="Footer Placeholder 12">
            <a:extLst>
              <a:ext uri="{FF2B5EF4-FFF2-40B4-BE49-F238E27FC236}">
                <a16:creationId xmlns:a16="http://schemas.microsoft.com/office/drawing/2014/main" id="{B5EBB2AC-AD9D-BAB7-9E6F-7E5D719F50D6}"/>
              </a:ext>
            </a:extLst>
          </p:cNvPr>
          <p:cNvSpPr>
            <a:spLocks noGrp="1"/>
          </p:cNvSpPr>
          <p:nvPr>
            <p:ph type="ftr" sz="quarter" idx="3"/>
          </p:nvPr>
        </p:nvSpPr>
        <p:spPr>
          <a:xfrm>
            <a:off x="904875" y="6566905"/>
            <a:ext cx="10972528" cy="116955"/>
          </a:xfrm>
          <a:prstGeom prst="rect">
            <a:avLst/>
          </a:prstGeom>
          <a:noFill/>
        </p:spPr>
        <p:txBody>
          <a:bodyPr vert="horz" wrap="square" lIns="0" tIns="0" rIns="0" bIns="0" rtlCol="0" anchor="b">
            <a:spAutoFit/>
          </a:bodyPr>
          <a:lstStyle>
            <a:lvl1pPr algn="l">
              <a:lnSpc>
                <a:spcPct val="95000"/>
              </a:lnSpc>
              <a:spcBef>
                <a:spcPts val="400"/>
              </a:spcBef>
              <a:defRPr lang="en-US" sz="800" b="0">
                <a:solidFill>
                  <a:schemeClr val="tx2">
                    <a:lumMod val="75000"/>
                  </a:schemeClr>
                </a:solidFill>
                <a:latin typeface="+mn-lt"/>
              </a:defRPr>
            </a:lvl1pPr>
          </a:lstStyle>
          <a:p>
            <a:endParaRPr lang="en-US"/>
          </a:p>
        </p:txBody>
      </p:sp>
      <p:sp>
        <p:nvSpPr>
          <p:cNvPr id="5" name="Round Same Side Corner Rectangle 4">
            <a:extLst>
              <a:ext uri="{FF2B5EF4-FFF2-40B4-BE49-F238E27FC236}">
                <a16:creationId xmlns:a16="http://schemas.microsoft.com/office/drawing/2014/main" id="{D3558D84-F6FF-7472-6B2E-BD33111BD61A}"/>
              </a:ext>
            </a:extLst>
          </p:cNvPr>
          <p:cNvSpPr/>
          <p:nvPr userDrawn="1"/>
        </p:nvSpPr>
        <p:spPr>
          <a:xfrm rot="5400000">
            <a:off x="5696712" y="-5190086"/>
            <a:ext cx="457200" cy="11850624"/>
          </a:xfrm>
          <a:prstGeom prst="round2SameRect">
            <a:avLst>
              <a:gd name="adj1" fmla="val 50000"/>
              <a:gd name="adj2" fmla="val 0"/>
            </a:avLst>
          </a:prstGeom>
          <a:solidFill>
            <a:schemeClr val="bg1"/>
          </a:solidFill>
          <a:ln w="9525">
            <a:solidFill>
              <a:srgbClr val="91C353"/>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91440" bIns="914400" rtlCol="0" anchor="ctr"/>
          <a:lstStyle/>
          <a:p>
            <a:pPr marL="13138" marR="42955" algn="ctr" defTabSz="685307">
              <a:lnSpc>
                <a:spcPct val="90000"/>
              </a:lnSpc>
              <a:defRPr/>
            </a:pPr>
            <a:endParaRPr lang="en-GB" sz="2200"/>
          </a:p>
        </p:txBody>
      </p:sp>
      <p:grpSp>
        <p:nvGrpSpPr>
          <p:cNvPr id="2" name="Group 1">
            <a:extLst>
              <a:ext uri="{FF2B5EF4-FFF2-40B4-BE49-F238E27FC236}">
                <a16:creationId xmlns:a16="http://schemas.microsoft.com/office/drawing/2014/main" id="{C940E21B-EC0D-F76A-C03E-5964A08C27E8}"/>
              </a:ext>
            </a:extLst>
          </p:cNvPr>
          <p:cNvGrpSpPr/>
          <p:nvPr userDrawn="1"/>
        </p:nvGrpSpPr>
        <p:grpSpPr>
          <a:xfrm>
            <a:off x="0" y="506626"/>
            <a:ext cx="2107350" cy="457200"/>
            <a:chOff x="-9547" y="506626"/>
            <a:chExt cx="2107350" cy="457200"/>
          </a:xfrm>
        </p:grpSpPr>
        <p:sp>
          <p:nvSpPr>
            <p:cNvPr id="6" name="Title 1">
              <a:extLst>
                <a:ext uri="{FF2B5EF4-FFF2-40B4-BE49-F238E27FC236}">
                  <a16:creationId xmlns:a16="http://schemas.microsoft.com/office/drawing/2014/main" id="{05C18B46-FE3C-2566-5237-F65D64B945FA}"/>
                </a:ext>
              </a:extLst>
            </p:cNvPr>
            <p:cNvSpPr txBox="1">
              <a:spLocks/>
            </p:cNvSpPr>
            <p:nvPr userDrawn="1"/>
          </p:nvSpPr>
          <p:spPr>
            <a:xfrm rot="5400000">
              <a:off x="954781" y="-179196"/>
              <a:ext cx="457200" cy="1828844"/>
            </a:xfrm>
            <a:prstGeom prst="round2SameRect">
              <a:avLst>
                <a:gd name="adj1" fmla="val 50000"/>
                <a:gd name="adj2" fmla="val 0"/>
              </a:avLst>
            </a:prstGeom>
            <a:solidFill>
              <a:schemeClr val="accent1">
                <a:alpha val="25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7" name="Title 1">
              <a:extLst>
                <a:ext uri="{FF2B5EF4-FFF2-40B4-BE49-F238E27FC236}">
                  <a16:creationId xmlns:a16="http://schemas.microsoft.com/office/drawing/2014/main" id="{248D5D4A-61A7-D3D3-DE93-62514362699E}"/>
                </a:ext>
              </a:extLst>
            </p:cNvPr>
            <p:cNvSpPr txBox="1">
              <a:spLocks/>
            </p:cNvSpPr>
            <p:nvPr userDrawn="1"/>
          </p:nvSpPr>
          <p:spPr>
            <a:xfrm rot="5400000">
              <a:off x="815528" y="-179196"/>
              <a:ext cx="457200" cy="1828844"/>
            </a:xfrm>
            <a:prstGeom prst="round2SameRect">
              <a:avLst>
                <a:gd name="adj1" fmla="val 50000"/>
                <a:gd name="adj2" fmla="val 0"/>
              </a:avLst>
            </a:prstGeom>
            <a:solidFill>
              <a:schemeClr val="accent1">
                <a:alpha val="50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8" name="Title 1">
              <a:extLst>
                <a:ext uri="{FF2B5EF4-FFF2-40B4-BE49-F238E27FC236}">
                  <a16:creationId xmlns:a16="http://schemas.microsoft.com/office/drawing/2014/main" id="{DA9A520E-B70D-452C-B891-6646CEACE347}"/>
                </a:ext>
              </a:extLst>
            </p:cNvPr>
            <p:cNvSpPr txBox="1">
              <a:spLocks/>
            </p:cNvSpPr>
            <p:nvPr userDrawn="1"/>
          </p:nvSpPr>
          <p:spPr>
            <a:xfrm rot="5400000">
              <a:off x="676275" y="-179196"/>
              <a:ext cx="457200" cy="1828844"/>
            </a:xfrm>
            <a:prstGeom prst="round2SameRect">
              <a:avLst>
                <a:gd name="adj1" fmla="val 50000"/>
                <a:gd name="adj2" fmla="val 0"/>
              </a:avLst>
            </a:prstGeom>
            <a:solidFill>
              <a:srgbClr val="9CC965"/>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grpSp>
      <p:sp>
        <p:nvSpPr>
          <p:cNvPr id="11" name="Title 1">
            <a:extLst>
              <a:ext uri="{FF2B5EF4-FFF2-40B4-BE49-F238E27FC236}">
                <a16:creationId xmlns:a16="http://schemas.microsoft.com/office/drawing/2014/main" id="{44477B60-A216-FD03-EF29-613B5D6555FC}"/>
              </a:ext>
            </a:extLst>
          </p:cNvPr>
          <p:cNvSpPr>
            <a:spLocks noGrp="1"/>
          </p:cNvSpPr>
          <p:nvPr>
            <p:ph type="title"/>
          </p:nvPr>
        </p:nvSpPr>
        <p:spPr>
          <a:xfrm rot="5400000">
            <a:off x="5696712" y="-5190086"/>
            <a:ext cx="457200" cy="11850624"/>
          </a:xfrm>
          <a:prstGeom prst="round2SameRect">
            <a:avLst>
              <a:gd name="adj1" fmla="val 5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bIns="182880" rtlCol="0" anchor="ctr"/>
          <a:lstStyle>
            <a:lvl1pPr algn="ctr">
              <a:defRPr lang="en-US" sz="2200" dirty="0">
                <a:solidFill>
                  <a:schemeClr val="accent3"/>
                </a:solidFill>
                <a:latin typeface="+mn-lt"/>
                <a:ea typeface="+mn-ea"/>
                <a:cs typeface="+mn-cs"/>
              </a:defRPr>
            </a:lvl1pPr>
          </a:lstStyle>
          <a:p>
            <a:pPr marL="13138" marR="42955" lvl="0" algn="ctr" defTabSz="685307">
              <a:lnSpc>
                <a:spcPct val="90000"/>
              </a:lnSpc>
            </a:pPr>
            <a:endParaRPr lang="en-US"/>
          </a:p>
        </p:txBody>
      </p:sp>
      <p:sp>
        <p:nvSpPr>
          <p:cNvPr id="9" name="Freeform 8">
            <a:extLst>
              <a:ext uri="{FF2B5EF4-FFF2-40B4-BE49-F238E27FC236}">
                <a16:creationId xmlns:a16="http://schemas.microsoft.com/office/drawing/2014/main" id="{D4AF9C9D-98CF-9D92-9C15-BCF6D92C7988}"/>
              </a:ext>
            </a:extLst>
          </p:cNvPr>
          <p:cNvSpPr/>
          <p:nvPr userDrawn="1"/>
        </p:nvSpPr>
        <p:spPr>
          <a:xfrm>
            <a:off x="139253" y="152400"/>
            <a:ext cx="1094742" cy="1097280"/>
          </a:xfrm>
          <a:custGeom>
            <a:avLst/>
            <a:gdLst>
              <a:gd name="connsiteX0" fmla="*/ 1715042 w 1941941"/>
              <a:gd name="connsiteY0" fmla="*/ 243572 h 1990970"/>
              <a:gd name="connsiteX1" fmla="*/ 1617068 w 1941941"/>
              <a:gd name="connsiteY1" fmla="*/ 188056 h 1990970"/>
              <a:gd name="connsiteX2" fmla="*/ 1351580 w 1941941"/>
              <a:gd name="connsiteY2" fmla="*/ 80278 h 1990970"/>
              <a:gd name="connsiteX3" fmla="*/ 1214802 w 1941941"/>
              <a:gd name="connsiteY3" fmla="*/ 48117 h 1990970"/>
              <a:gd name="connsiteX4" fmla="*/ 854606 w 1941941"/>
              <a:gd name="connsiteY4" fmla="*/ 1024 h 1990970"/>
              <a:gd name="connsiteX5" fmla="*/ 682288 w 1941941"/>
              <a:gd name="connsiteY5" fmla="*/ 6001 h 1990970"/>
              <a:gd name="connsiteX6" fmla="*/ 589310 w 1941941"/>
              <a:gd name="connsiteY6" fmla="*/ 22847 h 1990970"/>
              <a:gd name="connsiteX7" fmla="*/ 435434 w 1941941"/>
              <a:gd name="connsiteY7" fmla="*/ 105547 h 1990970"/>
              <a:gd name="connsiteX8" fmla="*/ 420258 w 1941941"/>
              <a:gd name="connsiteY8" fmla="*/ 117225 h 1990970"/>
              <a:gd name="connsiteX9" fmla="*/ 244290 w 1941941"/>
              <a:gd name="connsiteY9" fmla="*/ 1598167 h 1990970"/>
              <a:gd name="connsiteX10" fmla="*/ 1405754 w 1941941"/>
              <a:gd name="connsiteY10" fmla="*/ 1950408 h 1990970"/>
              <a:gd name="connsiteX11" fmla="*/ 1600163 w 1941941"/>
              <a:gd name="connsiteY11" fmla="*/ 1759930 h 1990970"/>
              <a:gd name="connsiteX12" fmla="*/ 1617068 w 1941941"/>
              <a:gd name="connsiteY12" fmla="*/ 1719537 h 1990970"/>
              <a:gd name="connsiteX13" fmla="*/ 1650879 w 1941941"/>
              <a:gd name="connsiteY13" fmla="*/ 1643729 h 1990970"/>
              <a:gd name="connsiteX14" fmla="*/ 1666055 w 1941941"/>
              <a:gd name="connsiteY14" fmla="*/ 1594913 h 1990970"/>
              <a:gd name="connsiteX15" fmla="*/ 1845289 w 1941941"/>
              <a:gd name="connsiteY15" fmla="*/ 1043963 h 1990970"/>
              <a:gd name="connsiteX16" fmla="*/ 1872375 w 1941941"/>
              <a:gd name="connsiteY16" fmla="*/ 973323 h 1990970"/>
              <a:gd name="connsiteX17" fmla="*/ 1931543 w 1941941"/>
              <a:gd name="connsiteY17" fmla="*/ 774422 h 1990970"/>
              <a:gd name="connsiteX18" fmla="*/ 1939996 w 1941941"/>
              <a:gd name="connsiteY18" fmla="*/ 691913 h 1990970"/>
              <a:gd name="connsiteX19" fmla="*/ 1936538 w 1941941"/>
              <a:gd name="connsiteY19" fmla="*/ 565566 h 1990970"/>
              <a:gd name="connsiteX20" fmla="*/ 1912909 w 1941941"/>
              <a:gd name="connsiteY20" fmla="*/ 476357 h 1990970"/>
              <a:gd name="connsiteX21" fmla="*/ 1869110 w 1941941"/>
              <a:gd name="connsiteY21" fmla="*/ 393466 h 1990970"/>
              <a:gd name="connsiteX22" fmla="*/ 1804947 w 1941941"/>
              <a:gd name="connsiteY22" fmla="*/ 319380 h 1990970"/>
              <a:gd name="connsiteX23" fmla="*/ 1715234 w 1941941"/>
              <a:gd name="connsiteY23" fmla="*/ 243572 h 19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41941" h="1990970">
                <a:moveTo>
                  <a:pt x="1715042" y="243572"/>
                </a:moveTo>
                <a:cubicBezTo>
                  <a:pt x="1683537" y="223280"/>
                  <a:pt x="1650687" y="204711"/>
                  <a:pt x="1617068" y="188056"/>
                </a:cubicBezTo>
                <a:cubicBezTo>
                  <a:pt x="1532158" y="143834"/>
                  <a:pt x="1443214" y="107653"/>
                  <a:pt x="1351580" y="80278"/>
                </a:cubicBezTo>
                <a:cubicBezTo>
                  <a:pt x="1307588" y="68983"/>
                  <a:pt x="1262060" y="58263"/>
                  <a:pt x="1214802" y="48117"/>
                </a:cubicBezTo>
                <a:cubicBezTo>
                  <a:pt x="1095889" y="24379"/>
                  <a:pt x="975632" y="8681"/>
                  <a:pt x="854606" y="1024"/>
                </a:cubicBezTo>
                <a:cubicBezTo>
                  <a:pt x="797167" y="-1274"/>
                  <a:pt x="739535" y="258"/>
                  <a:pt x="682288" y="6001"/>
                </a:cubicBezTo>
                <a:cubicBezTo>
                  <a:pt x="648478" y="10595"/>
                  <a:pt x="617549" y="16147"/>
                  <a:pt x="589310" y="22847"/>
                </a:cubicBezTo>
                <a:cubicBezTo>
                  <a:pt x="532447" y="38353"/>
                  <a:pt x="479810" y="66686"/>
                  <a:pt x="435434" y="105547"/>
                </a:cubicBezTo>
                <a:cubicBezTo>
                  <a:pt x="431016" y="108802"/>
                  <a:pt x="425829" y="112822"/>
                  <a:pt x="420258" y="117225"/>
                </a:cubicBezTo>
                <a:cubicBezTo>
                  <a:pt x="-73450" y="758533"/>
                  <a:pt x="-132234" y="1252244"/>
                  <a:pt x="244290" y="1598167"/>
                </a:cubicBezTo>
                <a:cubicBezTo>
                  <a:pt x="619662" y="1944091"/>
                  <a:pt x="1006945" y="2061632"/>
                  <a:pt x="1405754" y="1950408"/>
                </a:cubicBezTo>
                <a:cubicBezTo>
                  <a:pt x="1481251" y="1918821"/>
                  <a:pt x="1546182" y="1855456"/>
                  <a:pt x="1600163" y="1759930"/>
                </a:cubicBezTo>
                <a:lnTo>
                  <a:pt x="1617068" y="1719537"/>
                </a:lnTo>
                <a:cubicBezTo>
                  <a:pt x="1627250" y="1694842"/>
                  <a:pt x="1638392" y="1669573"/>
                  <a:pt x="1650879" y="1643729"/>
                </a:cubicBezTo>
                <a:cubicBezTo>
                  <a:pt x="1655297" y="1628031"/>
                  <a:pt x="1660484" y="1611759"/>
                  <a:pt x="1666055" y="1594913"/>
                </a:cubicBezTo>
                <a:cubicBezTo>
                  <a:pt x="1717923" y="1407307"/>
                  <a:pt x="1777668" y="1223720"/>
                  <a:pt x="1845289" y="1043963"/>
                </a:cubicBezTo>
                <a:cubicBezTo>
                  <a:pt x="1854318" y="1020416"/>
                  <a:pt x="1863346" y="996870"/>
                  <a:pt x="1872375" y="973323"/>
                </a:cubicBezTo>
                <a:cubicBezTo>
                  <a:pt x="1895428" y="908044"/>
                  <a:pt x="1915215" y="841616"/>
                  <a:pt x="1931543" y="774422"/>
                </a:cubicBezTo>
                <a:cubicBezTo>
                  <a:pt x="1935962" y="744175"/>
                  <a:pt x="1938843" y="716608"/>
                  <a:pt x="1939996" y="691913"/>
                </a:cubicBezTo>
                <a:cubicBezTo>
                  <a:pt x="1943454" y="649798"/>
                  <a:pt x="1942301" y="607490"/>
                  <a:pt x="1936538" y="565566"/>
                </a:cubicBezTo>
                <a:cubicBezTo>
                  <a:pt x="1930583" y="535319"/>
                  <a:pt x="1922707" y="505455"/>
                  <a:pt x="1912909" y="476357"/>
                </a:cubicBezTo>
                <a:cubicBezTo>
                  <a:pt x="1900231" y="447642"/>
                  <a:pt x="1885631" y="419884"/>
                  <a:pt x="1869110" y="393466"/>
                </a:cubicBezTo>
                <a:cubicBezTo>
                  <a:pt x="1849707" y="367239"/>
                  <a:pt x="1828191" y="342353"/>
                  <a:pt x="1804947" y="319380"/>
                </a:cubicBezTo>
                <a:cubicBezTo>
                  <a:pt x="1776899" y="292005"/>
                  <a:pt x="1746931" y="266544"/>
                  <a:pt x="1715234" y="243572"/>
                </a:cubicBezTo>
              </a:path>
            </a:pathLst>
          </a:custGeom>
          <a:solidFill>
            <a:schemeClr val="accent3"/>
          </a:solidFill>
          <a:ln w="9509" cap="flat">
            <a:noFill/>
            <a:prstDash val="solid"/>
            <a:miter/>
          </a:ln>
          <a:effectLst/>
        </p:spPr>
        <p:txBody>
          <a:bodyPr bIns="182880" rtlCol="0" anchor="b"/>
          <a:lstStyle/>
          <a:p>
            <a:pPr marL="24166" marR="79020" lvl="1" algn="ctr">
              <a:spcAft>
                <a:spcPts val="3000"/>
              </a:spcAft>
            </a:pPr>
            <a:endParaRPr lang="en-GB" sz="800" b="1" spc="-7">
              <a:solidFill>
                <a:schemeClr val="bg1"/>
              </a:solidFill>
              <a:cs typeface="Calibri"/>
            </a:endParaRPr>
          </a:p>
        </p:txBody>
      </p:sp>
    </p:spTree>
    <p:extLst>
      <p:ext uri="{BB962C8B-B14F-4D97-AF65-F5344CB8AC3E}">
        <p14:creationId xmlns:p14="http://schemas.microsoft.com/office/powerpoint/2010/main" val="352482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SULTS | Thirds">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3D0F78FA-EE03-94D3-6589-E96D4FB69FDA}"/>
              </a:ext>
            </a:extLst>
          </p:cNvPr>
          <p:cNvSpPr/>
          <p:nvPr userDrawn="1"/>
        </p:nvSpPr>
        <p:spPr>
          <a:xfrm>
            <a:off x="-1" y="1"/>
            <a:ext cx="4064000" cy="6858000"/>
          </a:xfrm>
          <a:custGeom>
            <a:avLst/>
            <a:gdLst>
              <a:gd name="connsiteX0" fmla="*/ 0 w 4064000"/>
              <a:gd name="connsiteY0" fmla="*/ 0 h 6858000"/>
              <a:gd name="connsiteX1" fmla="*/ 2301823 w 4064000"/>
              <a:gd name="connsiteY1" fmla="*/ 0 h 6858000"/>
              <a:gd name="connsiteX2" fmla="*/ 3044920 w 4064000"/>
              <a:gd name="connsiteY2" fmla="*/ 0 h 6858000"/>
              <a:gd name="connsiteX3" fmla="*/ 3813192 w 4064000"/>
              <a:gd name="connsiteY3" fmla="*/ 0 h 6858000"/>
              <a:gd name="connsiteX4" fmla="*/ 3821291 w 4064000"/>
              <a:gd name="connsiteY4" fmla="*/ 79959 h 6858000"/>
              <a:gd name="connsiteX5" fmla="*/ 3853290 w 4064000"/>
              <a:gd name="connsiteY5" fmla="*/ 6542386 h 6858000"/>
              <a:gd name="connsiteX6" fmla="*/ 3809920 w 4064000"/>
              <a:gd name="connsiteY6" fmla="*/ 6858000 h 6858000"/>
              <a:gd name="connsiteX7" fmla="*/ 3044920 w 4064000"/>
              <a:gd name="connsiteY7" fmla="*/ 6858000 h 6858000"/>
              <a:gd name="connsiteX8" fmla="*/ 2301823 w 4064000"/>
              <a:gd name="connsiteY8" fmla="*/ 6858000 h 6858000"/>
              <a:gd name="connsiteX9" fmla="*/ 0 w 4064000"/>
              <a:gd name="connsiteY9" fmla="*/ 6858000 h 6858000"/>
              <a:gd name="connsiteX10" fmla="*/ 0 w 4064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4000" h="6858000">
                <a:moveTo>
                  <a:pt x="0" y="0"/>
                </a:moveTo>
                <a:lnTo>
                  <a:pt x="2301823" y="0"/>
                </a:lnTo>
                <a:lnTo>
                  <a:pt x="3044920" y="0"/>
                </a:lnTo>
                <a:lnTo>
                  <a:pt x="3813192" y="0"/>
                </a:lnTo>
                <a:lnTo>
                  <a:pt x="3821291" y="79959"/>
                </a:lnTo>
                <a:cubicBezTo>
                  <a:pt x="3919209" y="992763"/>
                  <a:pt x="4295810" y="3160813"/>
                  <a:pt x="3853290" y="6542386"/>
                </a:cubicBezTo>
                <a:lnTo>
                  <a:pt x="3809920" y="6858000"/>
                </a:lnTo>
                <a:lnTo>
                  <a:pt x="3044920" y="6858000"/>
                </a:lnTo>
                <a:lnTo>
                  <a:pt x="2301823" y="6858000"/>
                </a:lnTo>
                <a:lnTo>
                  <a:pt x="0" y="6858000"/>
                </a:lnTo>
                <a:lnTo>
                  <a:pt x="0" y="0"/>
                </a:lnTo>
                <a:close/>
              </a:path>
            </a:pathLst>
          </a:custGeom>
          <a:gradFill>
            <a:gsLst>
              <a:gs pos="100000">
                <a:srgbClr val="DEEAF6"/>
              </a:gs>
              <a:gs pos="0">
                <a:srgbClr val="DEEAF6">
                  <a:alpha val="2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3" name="Content Placeholder 2">
            <a:extLst>
              <a:ext uri="{FF2B5EF4-FFF2-40B4-BE49-F238E27FC236}">
                <a16:creationId xmlns:a16="http://schemas.microsoft.com/office/drawing/2014/main" id="{1E399E5B-0894-0045-409E-EBB4FD9E9819}"/>
              </a:ext>
            </a:extLst>
          </p:cNvPr>
          <p:cNvSpPr>
            <a:spLocks noGrp="1"/>
          </p:cNvSpPr>
          <p:nvPr>
            <p:ph idx="1"/>
          </p:nvPr>
        </p:nvSpPr>
        <p:spPr>
          <a:xfrm>
            <a:off x="361948" y="1628774"/>
            <a:ext cx="3267006" cy="438912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able Placeholder 12">
            <a:extLst>
              <a:ext uri="{FF2B5EF4-FFF2-40B4-BE49-F238E27FC236}">
                <a16:creationId xmlns:a16="http://schemas.microsoft.com/office/drawing/2014/main" id="{6960F351-F632-804E-58D3-0136F8641AAD}"/>
              </a:ext>
            </a:extLst>
          </p:cNvPr>
          <p:cNvSpPr>
            <a:spLocks noGrp="1"/>
          </p:cNvSpPr>
          <p:nvPr>
            <p:ph type="tbl" sz="quarter" idx="14"/>
          </p:nvPr>
        </p:nvSpPr>
        <p:spPr>
          <a:xfrm>
            <a:off x="4425949" y="1628774"/>
            <a:ext cx="7424676" cy="4389120"/>
          </a:xfrm>
        </p:spPr>
        <p:txBody>
          <a:bodyPr/>
          <a:lstStyle/>
          <a:p>
            <a:endParaRPr lang="en-US"/>
          </a:p>
        </p:txBody>
      </p:sp>
      <p:sp>
        <p:nvSpPr>
          <p:cNvPr id="14" name="Freeform 4">
            <a:extLst>
              <a:ext uri="{FF2B5EF4-FFF2-40B4-BE49-F238E27FC236}">
                <a16:creationId xmlns:a16="http://schemas.microsoft.com/office/drawing/2014/main" id="{B3F9480A-625F-FA3F-95B7-B0648195B805}"/>
              </a:ext>
            </a:extLst>
          </p:cNvPr>
          <p:cNvSpPr/>
          <p:nvPr userDrawn="1"/>
        </p:nvSpPr>
        <p:spPr>
          <a:xfrm rot="19320740">
            <a:off x="329727" y="6383093"/>
            <a:ext cx="366500" cy="330454"/>
          </a:xfrm>
          <a:custGeom>
            <a:avLst/>
            <a:gdLst>
              <a:gd name="connsiteX0" fmla="*/ 356452 w 628843"/>
              <a:gd name="connsiteY0" fmla="*/ 3205 h 566992"/>
              <a:gd name="connsiteX1" fmla="*/ 3659 w 628843"/>
              <a:gd name="connsiteY1" fmla="*/ 266001 h 566992"/>
              <a:gd name="connsiteX2" fmla="*/ 62654 w 628843"/>
              <a:gd name="connsiteY2" fmla="*/ 497293 h 566992"/>
              <a:gd name="connsiteX3" fmla="*/ 280555 w 628843"/>
              <a:gd name="connsiteY3" fmla="*/ 551039 h 566992"/>
              <a:gd name="connsiteX4" fmla="*/ 519274 w 628843"/>
              <a:gd name="connsiteY4" fmla="*/ 452613 h 566992"/>
              <a:gd name="connsiteX5" fmla="*/ 627605 w 628843"/>
              <a:gd name="connsiteY5" fmla="*/ 316225 h 566992"/>
              <a:gd name="connsiteX6" fmla="*/ 561366 w 628843"/>
              <a:gd name="connsiteY6" fmla="*/ 124852 h 566992"/>
              <a:gd name="connsiteX7" fmla="*/ 356452 w 628843"/>
              <a:gd name="connsiteY7" fmla="*/ 3205 h 56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843" h="566992">
                <a:moveTo>
                  <a:pt x="356452" y="3205"/>
                </a:moveTo>
                <a:cubicBezTo>
                  <a:pt x="186516" y="-21189"/>
                  <a:pt x="28784" y="96283"/>
                  <a:pt x="3659" y="266001"/>
                </a:cubicBezTo>
                <a:cubicBezTo>
                  <a:pt x="-9197" y="347925"/>
                  <a:pt x="12143" y="431545"/>
                  <a:pt x="62654" y="497293"/>
                </a:cubicBezTo>
                <a:cubicBezTo>
                  <a:pt x="114013" y="565976"/>
                  <a:pt x="186647" y="583913"/>
                  <a:pt x="280555" y="551039"/>
                </a:cubicBezTo>
                <a:cubicBezTo>
                  <a:pt x="361999" y="522992"/>
                  <a:pt x="441680" y="490118"/>
                  <a:pt x="519274" y="452613"/>
                </a:cubicBezTo>
                <a:cubicBezTo>
                  <a:pt x="584533" y="420195"/>
                  <a:pt x="620687" y="374733"/>
                  <a:pt x="627605" y="316225"/>
                </a:cubicBezTo>
                <a:cubicBezTo>
                  <a:pt x="634522" y="257717"/>
                  <a:pt x="612464" y="193926"/>
                  <a:pt x="561366" y="124852"/>
                </a:cubicBezTo>
                <a:cubicBezTo>
                  <a:pt x="512879" y="57669"/>
                  <a:pt x="438679" y="13642"/>
                  <a:pt x="356452" y="3205"/>
                </a:cubicBezTo>
              </a:path>
            </a:pathLst>
          </a:custGeom>
          <a:solidFill>
            <a:schemeClr val="accent1">
              <a:lumMod val="40000"/>
              <a:lumOff val="60000"/>
            </a:schemeClr>
          </a:solidFill>
          <a:ln w="4568" cap="flat">
            <a:noFill/>
            <a:prstDash val="solid"/>
            <a:miter/>
          </a:ln>
        </p:spPr>
        <p:txBody>
          <a:bodyPr rtlCol="0" anchor="ctr"/>
          <a:lstStyle/>
          <a:p>
            <a:endParaRPr lang="en-US"/>
          </a:p>
        </p:txBody>
      </p:sp>
      <p:sp>
        <p:nvSpPr>
          <p:cNvPr id="17" name="Slide Number Placeholder 5">
            <a:extLst>
              <a:ext uri="{FF2B5EF4-FFF2-40B4-BE49-F238E27FC236}">
                <a16:creationId xmlns:a16="http://schemas.microsoft.com/office/drawing/2014/main" id="{4F2A49CA-E992-B778-4A90-E2DD51C063CD}"/>
              </a:ext>
            </a:extLst>
          </p:cNvPr>
          <p:cNvSpPr>
            <a:spLocks noGrp="1" noChangeAspect="1"/>
          </p:cNvSpPr>
          <p:nvPr>
            <p:ph type="sldNum" sz="quarter" idx="4"/>
          </p:nvPr>
        </p:nvSpPr>
        <p:spPr>
          <a:xfrm>
            <a:off x="361949" y="6409540"/>
            <a:ext cx="274320" cy="274320"/>
          </a:xfrm>
          <a:prstGeom prst="roundRect">
            <a:avLst>
              <a:gd name="adj" fmla="val 50000"/>
            </a:avLst>
          </a:prstGeom>
          <a:noFill/>
          <a:ln>
            <a:noFill/>
          </a:ln>
        </p:spPr>
        <p:txBody>
          <a:bodyPr vert="horz" wrap="square" lIns="0" tIns="0" rIns="0" bIns="0" rtlCol="0" anchor="ctr">
            <a:noAutofit/>
          </a:bodyPr>
          <a:lstStyle>
            <a:lvl1pPr algn="ctr">
              <a:defRPr sz="800" b="0" i="0">
                <a:solidFill>
                  <a:schemeClr val="tx2">
                    <a:lumMod val="75000"/>
                  </a:schemeClr>
                </a:solidFill>
                <a:latin typeface="Calibri" panose="020F0502020204030204" pitchFamily="34" charset="0"/>
              </a:defRPr>
            </a:lvl1pPr>
          </a:lstStyle>
          <a:p>
            <a:fld id="{1916DDDD-2DB5-41B0-89CB-F50E795279FE}" type="slidenum">
              <a:rPr lang="en-GB" smtClean="0"/>
              <a:pPr/>
              <a:t>‹#›</a:t>
            </a:fld>
            <a:endParaRPr lang="en-GB"/>
          </a:p>
        </p:txBody>
      </p:sp>
      <p:sp>
        <p:nvSpPr>
          <p:cNvPr id="4" name="Footer Placeholder 12">
            <a:extLst>
              <a:ext uri="{FF2B5EF4-FFF2-40B4-BE49-F238E27FC236}">
                <a16:creationId xmlns:a16="http://schemas.microsoft.com/office/drawing/2014/main" id="{B5EBB2AC-AD9D-BAB7-9E6F-7E5D719F50D6}"/>
              </a:ext>
            </a:extLst>
          </p:cNvPr>
          <p:cNvSpPr>
            <a:spLocks noGrp="1"/>
          </p:cNvSpPr>
          <p:nvPr>
            <p:ph type="ftr" sz="quarter" idx="3"/>
          </p:nvPr>
        </p:nvSpPr>
        <p:spPr>
          <a:xfrm>
            <a:off x="904875" y="6566905"/>
            <a:ext cx="10972800" cy="116955"/>
          </a:xfrm>
          <a:prstGeom prst="rect">
            <a:avLst/>
          </a:prstGeom>
          <a:noFill/>
        </p:spPr>
        <p:txBody>
          <a:bodyPr vert="horz" wrap="square" lIns="0" tIns="0" rIns="0" bIns="0" rtlCol="0" anchor="b">
            <a:spAutoFit/>
          </a:bodyPr>
          <a:lstStyle>
            <a:lvl1pPr algn="l">
              <a:lnSpc>
                <a:spcPct val="95000"/>
              </a:lnSpc>
              <a:spcBef>
                <a:spcPts val="400"/>
              </a:spcBef>
              <a:defRPr lang="en-US" sz="800" b="0">
                <a:solidFill>
                  <a:schemeClr val="tx2">
                    <a:lumMod val="75000"/>
                  </a:schemeClr>
                </a:solidFill>
                <a:latin typeface="+mn-lt"/>
              </a:defRPr>
            </a:lvl1pPr>
          </a:lstStyle>
          <a:p>
            <a:endParaRPr lang="en-US"/>
          </a:p>
        </p:txBody>
      </p:sp>
      <p:sp>
        <p:nvSpPr>
          <p:cNvPr id="5" name="Round Same Side Corner Rectangle 4">
            <a:extLst>
              <a:ext uri="{FF2B5EF4-FFF2-40B4-BE49-F238E27FC236}">
                <a16:creationId xmlns:a16="http://schemas.microsoft.com/office/drawing/2014/main" id="{1E91659B-65F9-14EE-2094-4D74D378E925}"/>
              </a:ext>
            </a:extLst>
          </p:cNvPr>
          <p:cNvSpPr/>
          <p:nvPr userDrawn="1"/>
        </p:nvSpPr>
        <p:spPr>
          <a:xfrm rot="5400000">
            <a:off x="5696712" y="-5190086"/>
            <a:ext cx="457200" cy="11850624"/>
          </a:xfrm>
          <a:prstGeom prst="round2SameRect">
            <a:avLst>
              <a:gd name="adj1" fmla="val 50000"/>
              <a:gd name="adj2" fmla="val 0"/>
            </a:avLst>
          </a:prstGeom>
          <a:solidFill>
            <a:schemeClr val="bg1"/>
          </a:solidFill>
          <a:ln w="9525">
            <a:solidFill>
              <a:srgbClr val="91C353"/>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91440" bIns="914400" rtlCol="0" anchor="ctr"/>
          <a:lstStyle/>
          <a:p>
            <a:pPr marL="13138" marR="42955" algn="ctr" defTabSz="685307">
              <a:lnSpc>
                <a:spcPct val="90000"/>
              </a:lnSpc>
              <a:defRPr/>
            </a:pPr>
            <a:endParaRPr lang="en-GB" sz="2200"/>
          </a:p>
        </p:txBody>
      </p:sp>
      <p:grpSp>
        <p:nvGrpSpPr>
          <p:cNvPr id="2" name="Group 1">
            <a:extLst>
              <a:ext uri="{FF2B5EF4-FFF2-40B4-BE49-F238E27FC236}">
                <a16:creationId xmlns:a16="http://schemas.microsoft.com/office/drawing/2014/main" id="{316F0043-A1F5-BEBA-8471-DB06ACF2D417}"/>
              </a:ext>
            </a:extLst>
          </p:cNvPr>
          <p:cNvGrpSpPr/>
          <p:nvPr userDrawn="1"/>
        </p:nvGrpSpPr>
        <p:grpSpPr>
          <a:xfrm>
            <a:off x="0" y="506626"/>
            <a:ext cx="2107350" cy="457200"/>
            <a:chOff x="-9547" y="506626"/>
            <a:chExt cx="2107350" cy="457200"/>
          </a:xfrm>
        </p:grpSpPr>
        <p:sp>
          <p:nvSpPr>
            <p:cNvPr id="6" name="Title 1">
              <a:extLst>
                <a:ext uri="{FF2B5EF4-FFF2-40B4-BE49-F238E27FC236}">
                  <a16:creationId xmlns:a16="http://schemas.microsoft.com/office/drawing/2014/main" id="{19ECF6D3-3DCB-371B-32BB-F8E05E77A6E5}"/>
                </a:ext>
              </a:extLst>
            </p:cNvPr>
            <p:cNvSpPr txBox="1">
              <a:spLocks/>
            </p:cNvSpPr>
            <p:nvPr userDrawn="1"/>
          </p:nvSpPr>
          <p:spPr>
            <a:xfrm rot="5400000">
              <a:off x="954781" y="-179196"/>
              <a:ext cx="457200" cy="1828844"/>
            </a:xfrm>
            <a:prstGeom prst="round2SameRect">
              <a:avLst>
                <a:gd name="adj1" fmla="val 50000"/>
                <a:gd name="adj2" fmla="val 0"/>
              </a:avLst>
            </a:prstGeom>
            <a:solidFill>
              <a:schemeClr val="accent1">
                <a:alpha val="25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7" name="Title 1">
              <a:extLst>
                <a:ext uri="{FF2B5EF4-FFF2-40B4-BE49-F238E27FC236}">
                  <a16:creationId xmlns:a16="http://schemas.microsoft.com/office/drawing/2014/main" id="{8EE6D934-823E-F9D6-93E2-01F6E13F8608}"/>
                </a:ext>
              </a:extLst>
            </p:cNvPr>
            <p:cNvSpPr txBox="1">
              <a:spLocks/>
            </p:cNvSpPr>
            <p:nvPr userDrawn="1"/>
          </p:nvSpPr>
          <p:spPr>
            <a:xfrm rot="5400000">
              <a:off x="815528" y="-179196"/>
              <a:ext cx="457200" cy="1828844"/>
            </a:xfrm>
            <a:prstGeom prst="round2SameRect">
              <a:avLst>
                <a:gd name="adj1" fmla="val 50000"/>
                <a:gd name="adj2" fmla="val 0"/>
              </a:avLst>
            </a:prstGeom>
            <a:solidFill>
              <a:schemeClr val="accent1">
                <a:alpha val="50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8" name="Title 1">
              <a:extLst>
                <a:ext uri="{FF2B5EF4-FFF2-40B4-BE49-F238E27FC236}">
                  <a16:creationId xmlns:a16="http://schemas.microsoft.com/office/drawing/2014/main" id="{6BA6BB58-5FE5-1935-174D-2219C2887D78}"/>
                </a:ext>
              </a:extLst>
            </p:cNvPr>
            <p:cNvSpPr txBox="1">
              <a:spLocks/>
            </p:cNvSpPr>
            <p:nvPr userDrawn="1"/>
          </p:nvSpPr>
          <p:spPr>
            <a:xfrm rot="5400000">
              <a:off x="676275" y="-179196"/>
              <a:ext cx="457200" cy="1828844"/>
            </a:xfrm>
            <a:prstGeom prst="round2SameRect">
              <a:avLst>
                <a:gd name="adj1" fmla="val 50000"/>
                <a:gd name="adj2" fmla="val 0"/>
              </a:avLst>
            </a:prstGeom>
            <a:solidFill>
              <a:srgbClr val="9CC965"/>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grpSp>
      <p:sp>
        <p:nvSpPr>
          <p:cNvPr id="15" name="Title 1">
            <a:extLst>
              <a:ext uri="{FF2B5EF4-FFF2-40B4-BE49-F238E27FC236}">
                <a16:creationId xmlns:a16="http://schemas.microsoft.com/office/drawing/2014/main" id="{93DACAD8-28EE-2703-7A58-0F965F25642C}"/>
              </a:ext>
            </a:extLst>
          </p:cNvPr>
          <p:cNvSpPr>
            <a:spLocks noGrp="1"/>
          </p:cNvSpPr>
          <p:nvPr>
            <p:ph type="title"/>
          </p:nvPr>
        </p:nvSpPr>
        <p:spPr>
          <a:xfrm rot="5400000">
            <a:off x="5696712" y="-5190087"/>
            <a:ext cx="457200" cy="11850624"/>
          </a:xfrm>
          <a:prstGeom prst="round2SameRect">
            <a:avLst>
              <a:gd name="adj1" fmla="val 5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bIns="182880" rtlCol="0" anchor="ctr"/>
          <a:lstStyle>
            <a:lvl1pPr algn="ctr">
              <a:defRPr lang="en-US" sz="2200" dirty="0">
                <a:solidFill>
                  <a:schemeClr val="accent3"/>
                </a:solidFill>
                <a:latin typeface="+mn-lt"/>
                <a:ea typeface="+mn-ea"/>
                <a:cs typeface="+mn-cs"/>
              </a:defRPr>
            </a:lvl1pPr>
          </a:lstStyle>
          <a:p>
            <a:pPr marL="13138" marR="42955" lvl="0" algn="ctr" defTabSz="685307">
              <a:lnSpc>
                <a:spcPct val="90000"/>
              </a:lnSpc>
            </a:pPr>
            <a:endParaRPr lang="en-US"/>
          </a:p>
        </p:txBody>
      </p:sp>
      <p:sp>
        <p:nvSpPr>
          <p:cNvPr id="11" name="Freeform 10">
            <a:extLst>
              <a:ext uri="{FF2B5EF4-FFF2-40B4-BE49-F238E27FC236}">
                <a16:creationId xmlns:a16="http://schemas.microsoft.com/office/drawing/2014/main" id="{87988217-49B3-CA15-6B85-B11852E66308}"/>
              </a:ext>
            </a:extLst>
          </p:cNvPr>
          <p:cNvSpPr/>
          <p:nvPr userDrawn="1"/>
        </p:nvSpPr>
        <p:spPr>
          <a:xfrm>
            <a:off x="139253" y="152400"/>
            <a:ext cx="1094742" cy="1097280"/>
          </a:xfrm>
          <a:custGeom>
            <a:avLst/>
            <a:gdLst>
              <a:gd name="connsiteX0" fmla="*/ 1715042 w 1941941"/>
              <a:gd name="connsiteY0" fmla="*/ 243572 h 1990970"/>
              <a:gd name="connsiteX1" fmla="*/ 1617068 w 1941941"/>
              <a:gd name="connsiteY1" fmla="*/ 188056 h 1990970"/>
              <a:gd name="connsiteX2" fmla="*/ 1351580 w 1941941"/>
              <a:gd name="connsiteY2" fmla="*/ 80278 h 1990970"/>
              <a:gd name="connsiteX3" fmla="*/ 1214802 w 1941941"/>
              <a:gd name="connsiteY3" fmla="*/ 48117 h 1990970"/>
              <a:gd name="connsiteX4" fmla="*/ 854606 w 1941941"/>
              <a:gd name="connsiteY4" fmla="*/ 1024 h 1990970"/>
              <a:gd name="connsiteX5" fmla="*/ 682288 w 1941941"/>
              <a:gd name="connsiteY5" fmla="*/ 6001 h 1990970"/>
              <a:gd name="connsiteX6" fmla="*/ 589310 w 1941941"/>
              <a:gd name="connsiteY6" fmla="*/ 22847 h 1990970"/>
              <a:gd name="connsiteX7" fmla="*/ 435434 w 1941941"/>
              <a:gd name="connsiteY7" fmla="*/ 105547 h 1990970"/>
              <a:gd name="connsiteX8" fmla="*/ 420258 w 1941941"/>
              <a:gd name="connsiteY8" fmla="*/ 117225 h 1990970"/>
              <a:gd name="connsiteX9" fmla="*/ 244290 w 1941941"/>
              <a:gd name="connsiteY9" fmla="*/ 1598167 h 1990970"/>
              <a:gd name="connsiteX10" fmla="*/ 1405754 w 1941941"/>
              <a:gd name="connsiteY10" fmla="*/ 1950408 h 1990970"/>
              <a:gd name="connsiteX11" fmla="*/ 1600163 w 1941941"/>
              <a:gd name="connsiteY11" fmla="*/ 1759930 h 1990970"/>
              <a:gd name="connsiteX12" fmla="*/ 1617068 w 1941941"/>
              <a:gd name="connsiteY12" fmla="*/ 1719537 h 1990970"/>
              <a:gd name="connsiteX13" fmla="*/ 1650879 w 1941941"/>
              <a:gd name="connsiteY13" fmla="*/ 1643729 h 1990970"/>
              <a:gd name="connsiteX14" fmla="*/ 1666055 w 1941941"/>
              <a:gd name="connsiteY14" fmla="*/ 1594913 h 1990970"/>
              <a:gd name="connsiteX15" fmla="*/ 1845289 w 1941941"/>
              <a:gd name="connsiteY15" fmla="*/ 1043963 h 1990970"/>
              <a:gd name="connsiteX16" fmla="*/ 1872375 w 1941941"/>
              <a:gd name="connsiteY16" fmla="*/ 973323 h 1990970"/>
              <a:gd name="connsiteX17" fmla="*/ 1931543 w 1941941"/>
              <a:gd name="connsiteY17" fmla="*/ 774422 h 1990970"/>
              <a:gd name="connsiteX18" fmla="*/ 1939996 w 1941941"/>
              <a:gd name="connsiteY18" fmla="*/ 691913 h 1990970"/>
              <a:gd name="connsiteX19" fmla="*/ 1936538 w 1941941"/>
              <a:gd name="connsiteY19" fmla="*/ 565566 h 1990970"/>
              <a:gd name="connsiteX20" fmla="*/ 1912909 w 1941941"/>
              <a:gd name="connsiteY20" fmla="*/ 476357 h 1990970"/>
              <a:gd name="connsiteX21" fmla="*/ 1869110 w 1941941"/>
              <a:gd name="connsiteY21" fmla="*/ 393466 h 1990970"/>
              <a:gd name="connsiteX22" fmla="*/ 1804947 w 1941941"/>
              <a:gd name="connsiteY22" fmla="*/ 319380 h 1990970"/>
              <a:gd name="connsiteX23" fmla="*/ 1715234 w 1941941"/>
              <a:gd name="connsiteY23" fmla="*/ 243572 h 19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41941" h="1990970">
                <a:moveTo>
                  <a:pt x="1715042" y="243572"/>
                </a:moveTo>
                <a:cubicBezTo>
                  <a:pt x="1683537" y="223280"/>
                  <a:pt x="1650687" y="204711"/>
                  <a:pt x="1617068" y="188056"/>
                </a:cubicBezTo>
                <a:cubicBezTo>
                  <a:pt x="1532158" y="143834"/>
                  <a:pt x="1443214" y="107653"/>
                  <a:pt x="1351580" y="80278"/>
                </a:cubicBezTo>
                <a:cubicBezTo>
                  <a:pt x="1307588" y="68983"/>
                  <a:pt x="1262060" y="58263"/>
                  <a:pt x="1214802" y="48117"/>
                </a:cubicBezTo>
                <a:cubicBezTo>
                  <a:pt x="1095889" y="24379"/>
                  <a:pt x="975632" y="8681"/>
                  <a:pt x="854606" y="1024"/>
                </a:cubicBezTo>
                <a:cubicBezTo>
                  <a:pt x="797167" y="-1274"/>
                  <a:pt x="739535" y="258"/>
                  <a:pt x="682288" y="6001"/>
                </a:cubicBezTo>
                <a:cubicBezTo>
                  <a:pt x="648478" y="10595"/>
                  <a:pt x="617549" y="16147"/>
                  <a:pt x="589310" y="22847"/>
                </a:cubicBezTo>
                <a:cubicBezTo>
                  <a:pt x="532447" y="38353"/>
                  <a:pt x="479810" y="66686"/>
                  <a:pt x="435434" y="105547"/>
                </a:cubicBezTo>
                <a:cubicBezTo>
                  <a:pt x="431016" y="108802"/>
                  <a:pt x="425829" y="112822"/>
                  <a:pt x="420258" y="117225"/>
                </a:cubicBezTo>
                <a:cubicBezTo>
                  <a:pt x="-73450" y="758533"/>
                  <a:pt x="-132234" y="1252244"/>
                  <a:pt x="244290" y="1598167"/>
                </a:cubicBezTo>
                <a:cubicBezTo>
                  <a:pt x="619662" y="1944091"/>
                  <a:pt x="1006945" y="2061632"/>
                  <a:pt x="1405754" y="1950408"/>
                </a:cubicBezTo>
                <a:cubicBezTo>
                  <a:pt x="1481251" y="1918821"/>
                  <a:pt x="1546182" y="1855456"/>
                  <a:pt x="1600163" y="1759930"/>
                </a:cubicBezTo>
                <a:lnTo>
                  <a:pt x="1617068" y="1719537"/>
                </a:lnTo>
                <a:cubicBezTo>
                  <a:pt x="1627250" y="1694842"/>
                  <a:pt x="1638392" y="1669573"/>
                  <a:pt x="1650879" y="1643729"/>
                </a:cubicBezTo>
                <a:cubicBezTo>
                  <a:pt x="1655297" y="1628031"/>
                  <a:pt x="1660484" y="1611759"/>
                  <a:pt x="1666055" y="1594913"/>
                </a:cubicBezTo>
                <a:cubicBezTo>
                  <a:pt x="1717923" y="1407307"/>
                  <a:pt x="1777668" y="1223720"/>
                  <a:pt x="1845289" y="1043963"/>
                </a:cubicBezTo>
                <a:cubicBezTo>
                  <a:pt x="1854318" y="1020416"/>
                  <a:pt x="1863346" y="996870"/>
                  <a:pt x="1872375" y="973323"/>
                </a:cubicBezTo>
                <a:cubicBezTo>
                  <a:pt x="1895428" y="908044"/>
                  <a:pt x="1915215" y="841616"/>
                  <a:pt x="1931543" y="774422"/>
                </a:cubicBezTo>
                <a:cubicBezTo>
                  <a:pt x="1935962" y="744175"/>
                  <a:pt x="1938843" y="716608"/>
                  <a:pt x="1939996" y="691913"/>
                </a:cubicBezTo>
                <a:cubicBezTo>
                  <a:pt x="1943454" y="649798"/>
                  <a:pt x="1942301" y="607490"/>
                  <a:pt x="1936538" y="565566"/>
                </a:cubicBezTo>
                <a:cubicBezTo>
                  <a:pt x="1930583" y="535319"/>
                  <a:pt x="1922707" y="505455"/>
                  <a:pt x="1912909" y="476357"/>
                </a:cubicBezTo>
                <a:cubicBezTo>
                  <a:pt x="1900231" y="447642"/>
                  <a:pt x="1885631" y="419884"/>
                  <a:pt x="1869110" y="393466"/>
                </a:cubicBezTo>
                <a:cubicBezTo>
                  <a:pt x="1849707" y="367239"/>
                  <a:pt x="1828191" y="342353"/>
                  <a:pt x="1804947" y="319380"/>
                </a:cubicBezTo>
                <a:cubicBezTo>
                  <a:pt x="1776899" y="292005"/>
                  <a:pt x="1746931" y="266544"/>
                  <a:pt x="1715234" y="243572"/>
                </a:cubicBezTo>
              </a:path>
            </a:pathLst>
          </a:custGeom>
          <a:solidFill>
            <a:schemeClr val="accent3"/>
          </a:solidFill>
          <a:ln w="9509" cap="flat">
            <a:noFill/>
            <a:prstDash val="solid"/>
            <a:miter/>
          </a:ln>
          <a:effectLst/>
        </p:spPr>
        <p:txBody>
          <a:bodyPr bIns="182880" rtlCol="0" anchor="b"/>
          <a:lstStyle/>
          <a:p>
            <a:pPr marL="24166" marR="79020" lvl="1" algn="ctr">
              <a:spcAft>
                <a:spcPts val="3000"/>
              </a:spcAft>
            </a:pPr>
            <a:endParaRPr lang="en-GB" sz="800" b="1" spc="-7">
              <a:solidFill>
                <a:schemeClr val="bg1"/>
              </a:solidFill>
              <a:cs typeface="Calibri"/>
            </a:endParaRPr>
          </a:p>
        </p:txBody>
      </p:sp>
    </p:spTree>
    <p:extLst>
      <p:ext uri="{BB962C8B-B14F-4D97-AF65-F5344CB8AC3E}">
        <p14:creationId xmlns:p14="http://schemas.microsoft.com/office/powerpoint/2010/main" val="278859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SULTS | 100">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B158A05E-5DC2-76B0-6EB9-CB7AF392109C}"/>
              </a:ext>
            </a:extLst>
          </p:cNvPr>
          <p:cNvSpPr/>
          <p:nvPr userDrawn="1"/>
        </p:nvSpPr>
        <p:spPr>
          <a:xfrm>
            <a:off x="0" y="0"/>
            <a:ext cx="989096" cy="6858000"/>
          </a:xfrm>
          <a:custGeom>
            <a:avLst/>
            <a:gdLst>
              <a:gd name="connsiteX0" fmla="*/ 0 w 989096"/>
              <a:gd name="connsiteY0" fmla="*/ 0 h 6858000"/>
              <a:gd name="connsiteX1" fmla="*/ 738288 w 989096"/>
              <a:gd name="connsiteY1" fmla="*/ 0 h 6858000"/>
              <a:gd name="connsiteX2" fmla="*/ 746387 w 989096"/>
              <a:gd name="connsiteY2" fmla="*/ 79959 h 6858000"/>
              <a:gd name="connsiteX3" fmla="*/ 778386 w 989096"/>
              <a:gd name="connsiteY3" fmla="*/ 6542386 h 6858000"/>
              <a:gd name="connsiteX4" fmla="*/ 735016 w 989096"/>
              <a:gd name="connsiteY4" fmla="*/ 6858000 h 6858000"/>
              <a:gd name="connsiteX5" fmla="*/ 0 w 989096"/>
              <a:gd name="connsiteY5" fmla="*/ 6858000 h 6858000"/>
              <a:gd name="connsiteX6" fmla="*/ 0 w 989096"/>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9096" h="6858000">
                <a:moveTo>
                  <a:pt x="0" y="0"/>
                </a:moveTo>
                <a:lnTo>
                  <a:pt x="738288" y="0"/>
                </a:lnTo>
                <a:lnTo>
                  <a:pt x="746387" y="79959"/>
                </a:lnTo>
                <a:cubicBezTo>
                  <a:pt x="844305" y="992763"/>
                  <a:pt x="1220906" y="3160813"/>
                  <a:pt x="778386" y="6542386"/>
                </a:cubicBezTo>
                <a:lnTo>
                  <a:pt x="735016" y="6858000"/>
                </a:lnTo>
                <a:lnTo>
                  <a:pt x="0" y="6858000"/>
                </a:lnTo>
                <a:lnTo>
                  <a:pt x="0" y="0"/>
                </a:lnTo>
                <a:close/>
              </a:path>
            </a:pathLst>
          </a:custGeom>
          <a:gradFill>
            <a:gsLst>
              <a:gs pos="100000">
                <a:srgbClr val="DEEAF6"/>
              </a:gs>
              <a:gs pos="0">
                <a:srgbClr val="DEEAF6">
                  <a:alpha val="2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5" name="Footer Placeholder 4">
            <a:extLst>
              <a:ext uri="{FF2B5EF4-FFF2-40B4-BE49-F238E27FC236}">
                <a16:creationId xmlns:a16="http://schemas.microsoft.com/office/drawing/2014/main" id="{C86EB9AB-AE4A-A607-10A1-2B92F961C40A}"/>
              </a:ext>
            </a:extLst>
          </p:cNvPr>
          <p:cNvSpPr>
            <a:spLocks noGrp="1"/>
          </p:cNvSpPr>
          <p:nvPr>
            <p:ph type="ftr" sz="quarter" idx="11"/>
          </p:nvPr>
        </p:nvSpPr>
        <p:spPr>
          <a:xfrm>
            <a:off x="904874" y="6566905"/>
            <a:ext cx="10972800" cy="116955"/>
          </a:xfrm>
        </p:spPr>
        <p:txBody>
          <a:bodyPr/>
          <a:lstStyle>
            <a:lvl1pPr>
              <a:defRPr>
                <a:solidFill>
                  <a:schemeClr val="tx2">
                    <a:lumMod val="75000"/>
                  </a:schemeClr>
                </a:solidFill>
              </a:defRPr>
            </a:lvl1pPr>
          </a:lstStyle>
          <a:p>
            <a:endParaRPr lang="en-US"/>
          </a:p>
        </p:txBody>
      </p:sp>
      <p:sp>
        <p:nvSpPr>
          <p:cNvPr id="10" name="bg object 16">
            <a:extLst>
              <a:ext uri="{FF2B5EF4-FFF2-40B4-BE49-F238E27FC236}">
                <a16:creationId xmlns:a16="http://schemas.microsoft.com/office/drawing/2014/main" id="{1598338E-340C-FFEE-052B-CA7087A85EF4}"/>
              </a:ext>
            </a:extLst>
          </p:cNvPr>
          <p:cNvSpPr/>
          <p:nvPr userDrawn="1"/>
        </p:nvSpPr>
        <p:spPr>
          <a:xfrm>
            <a:off x="1197031" y="1295400"/>
            <a:ext cx="10653593" cy="4724400"/>
          </a:xfrm>
          <a:prstGeom prst="roundRect">
            <a:avLst>
              <a:gd name="adj" fmla="val 3036"/>
            </a:avLst>
          </a:prstGeom>
          <a:solidFill>
            <a:schemeClr val="bg1"/>
          </a:solidFill>
          <a:ln w="9525">
            <a:solidFill>
              <a:schemeClr val="accent1"/>
            </a:solidFill>
          </a:ln>
        </p:spPr>
        <p:txBody>
          <a:bodyPr wrap="square" lIns="91440" tIns="72000" rIns="91440" bIns="0" rtlCol="0" anchor="t" anchorCtr="0">
            <a:noAutofit/>
          </a:bodyPr>
          <a:lstStyle/>
          <a:p>
            <a:pPr marL="13138" marR="42955">
              <a:lnSpc>
                <a:spcPct val="90000"/>
              </a:lnSpc>
            </a:pPr>
            <a:endParaRPr lang="en-GB" sz="850" kern="0">
              <a:solidFill>
                <a:srgbClr val="0B436E"/>
              </a:solidFill>
              <a:latin typeface="Calibri"/>
            </a:endParaRPr>
          </a:p>
        </p:txBody>
      </p:sp>
      <p:sp>
        <p:nvSpPr>
          <p:cNvPr id="3" name="Round Same Side Corner Rectangle 2">
            <a:extLst>
              <a:ext uri="{FF2B5EF4-FFF2-40B4-BE49-F238E27FC236}">
                <a16:creationId xmlns:a16="http://schemas.microsoft.com/office/drawing/2014/main" id="{1476B6DD-A7B8-7DFB-02FE-2F4DD22F56C5}"/>
              </a:ext>
            </a:extLst>
          </p:cNvPr>
          <p:cNvSpPr/>
          <p:nvPr userDrawn="1"/>
        </p:nvSpPr>
        <p:spPr>
          <a:xfrm rot="5400000">
            <a:off x="5696712" y="-5190086"/>
            <a:ext cx="457200" cy="11850624"/>
          </a:xfrm>
          <a:prstGeom prst="round2SameRect">
            <a:avLst>
              <a:gd name="adj1" fmla="val 50000"/>
              <a:gd name="adj2" fmla="val 0"/>
            </a:avLst>
          </a:prstGeom>
          <a:solidFill>
            <a:schemeClr val="bg1"/>
          </a:solidFill>
          <a:ln w="9525">
            <a:solidFill>
              <a:srgbClr val="91C353"/>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91440" bIns="914400" rtlCol="0" anchor="ctr"/>
          <a:lstStyle/>
          <a:p>
            <a:pPr marL="13138" marR="42955" algn="ctr" defTabSz="685307">
              <a:lnSpc>
                <a:spcPct val="90000"/>
              </a:lnSpc>
              <a:defRPr/>
            </a:pPr>
            <a:endParaRPr lang="en-GB" sz="2200"/>
          </a:p>
        </p:txBody>
      </p:sp>
      <p:grpSp>
        <p:nvGrpSpPr>
          <p:cNvPr id="20" name="Group 19">
            <a:extLst>
              <a:ext uri="{FF2B5EF4-FFF2-40B4-BE49-F238E27FC236}">
                <a16:creationId xmlns:a16="http://schemas.microsoft.com/office/drawing/2014/main" id="{9E15D254-52CB-6049-DB58-42A9236456F3}"/>
              </a:ext>
            </a:extLst>
          </p:cNvPr>
          <p:cNvGrpSpPr/>
          <p:nvPr userDrawn="1"/>
        </p:nvGrpSpPr>
        <p:grpSpPr>
          <a:xfrm>
            <a:off x="0" y="506626"/>
            <a:ext cx="2107350" cy="457200"/>
            <a:chOff x="-9547" y="506626"/>
            <a:chExt cx="2107350" cy="457200"/>
          </a:xfrm>
        </p:grpSpPr>
        <p:sp>
          <p:nvSpPr>
            <p:cNvPr id="4" name="Title 1">
              <a:extLst>
                <a:ext uri="{FF2B5EF4-FFF2-40B4-BE49-F238E27FC236}">
                  <a16:creationId xmlns:a16="http://schemas.microsoft.com/office/drawing/2014/main" id="{F7510EC4-FDFE-2490-13B7-CB3D583CE799}"/>
                </a:ext>
              </a:extLst>
            </p:cNvPr>
            <p:cNvSpPr txBox="1">
              <a:spLocks/>
            </p:cNvSpPr>
            <p:nvPr userDrawn="1"/>
          </p:nvSpPr>
          <p:spPr>
            <a:xfrm rot="5400000">
              <a:off x="954781" y="-179196"/>
              <a:ext cx="457200" cy="1828844"/>
            </a:xfrm>
            <a:prstGeom prst="round2SameRect">
              <a:avLst>
                <a:gd name="adj1" fmla="val 50000"/>
                <a:gd name="adj2" fmla="val 0"/>
              </a:avLst>
            </a:prstGeom>
            <a:solidFill>
              <a:schemeClr val="accent1">
                <a:alpha val="25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6" name="Title 1">
              <a:extLst>
                <a:ext uri="{FF2B5EF4-FFF2-40B4-BE49-F238E27FC236}">
                  <a16:creationId xmlns:a16="http://schemas.microsoft.com/office/drawing/2014/main" id="{44EF8019-29D7-9515-5BE3-737AA64C467D}"/>
                </a:ext>
              </a:extLst>
            </p:cNvPr>
            <p:cNvSpPr txBox="1">
              <a:spLocks/>
            </p:cNvSpPr>
            <p:nvPr userDrawn="1"/>
          </p:nvSpPr>
          <p:spPr>
            <a:xfrm rot="5400000">
              <a:off x="815528" y="-179196"/>
              <a:ext cx="457200" cy="1828844"/>
            </a:xfrm>
            <a:prstGeom prst="round2SameRect">
              <a:avLst>
                <a:gd name="adj1" fmla="val 50000"/>
                <a:gd name="adj2" fmla="val 0"/>
              </a:avLst>
            </a:prstGeom>
            <a:solidFill>
              <a:schemeClr val="accent1">
                <a:alpha val="50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7" name="Title 1">
              <a:extLst>
                <a:ext uri="{FF2B5EF4-FFF2-40B4-BE49-F238E27FC236}">
                  <a16:creationId xmlns:a16="http://schemas.microsoft.com/office/drawing/2014/main" id="{7F7873B0-FB44-3027-E3C9-1ADB07FA0D46}"/>
                </a:ext>
              </a:extLst>
            </p:cNvPr>
            <p:cNvSpPr txBox="1">
              <a:spLocks/>
            </p:cNvSpPr>
            <p:nvPr userDrawn="1"/>
          </p:nvSpPr>
          <p:spPr>
            <a:xfrm rot="5400000">
              <a:off x="676275" y="-179196"/>
              <a:ext cx="457200" cy="1828844"/>
            </a:xfrm>
            <a:prstGeom prst="round2SameRect">
              <a:avLst>
                <a:gd name="adj1" fmla="val 50000"/>
                <a:gd name="adj2" fmla="val 0"/>
              </a:avLst>
            </a:prstGeom>
            <a:solidFill>
              <a:srgbClr val="9CC965"/>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grpSp>
      <p:sp>
        <p:nvSpPr>
          <p:cNvPr id="11" name="Title 1">
            <a:extLst>
              <a:ext uri="{FF2B5EF4-FFF2-40B4-BE49-F238E27FC236}">
                <a16:creationId xmlns:a16="http://schemas.microsoft.com/office/drawing/2014/main" id="{1113CE36-1F8A-B1D4-55A2-0D7773FFB3BD}"/>
              </a:ext>
            </a:extLst>
          </p:cNvPr>
          <p:cNvSpPr>
            <a:spLocks noGrp="1"/>
          </p:cNvSpPr>
          <p:nvPr>
            <p:ph type="title"/>
          </p:nvPr>
        </p:nvSpPr>
        <p:spPr>
          <a:xfrm rot="5400000">
            <a:off x="5696712" y="-5190087"/>
            <a:ext cx="457200" cy="11850624"/>
          </a:xfrm>
          <a:prstGeom prst="round2SameRect">
            <a:avLst>
              <a:gd name="adj1" fmla="val 5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bIns="182880" rtlCol="0" anchor="ctr"/>
          <a:lstStyle>
            <a:lvl1pPr algn="ctr">
              <a:defRPr lang="en-US" sz="2200" dirty="0">
                <a:solidFill>
                  <a:schemeClr val="accent3"/>
                </a:solidFill>
                <a:latin typeface="+mn-lt"/>
                <a:ea typeface="+mn-ea"/>
                <a:cs typeface="+mn-cs"/>
              </a:defRPr>
            </a:lvl1pPr>
          </a:lstStyle>
          <a:p>
            <a:pPr marL="13138" marR="42955" lvl="0" algn="ctr" defTabSz="685307">
              <a:lnSpc>
                <a:spcPct val="90000"/>
              </a:lnSpc>
            </a:pPr>
            <a:endParaRPr lang="en-US"/>
          </a:p>
        </p:txBody>
      </p:sp>
      <p:sp>
        <p:nvSpPr>
          <p:cNvPr id="18" name="Freeform 4">
            <a:extLst>
              <a:ext uri="{FF2B5EF4-FFF2-40B4-BE49-F238E27FC236}">
                <a16:creationId xmlns:a16="http://schemas.microsoft.com/office/drawing/2014/main" id="{A54450D7-41A3-7F6E-45C1-831CFED04D94}"/>
              </a:ext>
            </a:extLst>
          </p:cNvPr>
          <p:cNvSpPr/>
          <p:nvPr userDrawn="1"/>
        </p:nvSpPr>
        <p:spPr>
          <a:xfrm rot="19320740">
            <a:off x="329727" y="6383093"/>
            <a:ext cx="366500" cy="330454"/>
          </a:xfrm>
          <a:custGeom>
            <a:avLst/>
            <a:gdLst>
              <a:gd name="connsiteX0" fmla="*/ 356452 w 628843"/>
              <a:gd name="connsiteY0" fmla="*/ 3205 h 566992"/>
              <a:gd name="connsiteX1" fmla="*/ 3659 w 628843"/>
              <a:gd name="connsiteY1" fmla="*/ 266001 h 566992"/>
              <a:gd name="connsiteX2" fmla="*/ 62654 w 628843"/>
              <a:gd name="connsiteY2" fmla="*/ 497293 h 566992"/>
              <a:gd name="connsiteX3" fmla="*/ 280555 w 628843"/>
              <a:gd name="connsiteY3" fmla="*/ 551039 h 566992"/>
              <a:gd name="connsiteX4" fmla="*/ 519274 w 628843"/>
              <a:gd name="connsiteY4" fmla="*/ 452613 h 566992"/>
              <a:gd name="connsiteX5" fmla="*/ 627605 w 628843"/>
              <a:gd name="connsiteY5" fmla="*/ 316225 h 566992"/>
              <a:gd name="connsiteX6" fmla="*/ 561366 w 628843"/>
              <a:gd name="connsiteY6" fmla="*/ 124852 h 566992"/>
              <a:gd name="connsiteX7" fmla="*/ 356452 w 628843"/>
              <a:gd name="connsiteY7" fmla="*/ 3205 h 56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843" h="566992">
                <a:moveTo>
                  <a:pt x="356452" y="3205"/>
                </a:moveTo>
                <a:cubicBezTo>
                  <a:pt x="186516" y="-21189"/>
                  <a:pt x="28784" y="96283"/>
                  <a:pt x="3659" y="266001"/>
                </a:cubicBezTo>
                <a:cubicBezTo>
                  <a:pt x="-9197" y="347925"/>
                  <a:pt x="12143" y="431545"/>
                  <a:pt x="62654" y="497293"/>
                </a:cubicBezTo>
                <a:cubicBezTo>
                  <a:pt x="114013" y="565976"/>
                  <a:pt x="186647" y="583913"/>
                  <a:pt x="280555" y="551039"/>
                </a:cubicBezTo>
                <a:cubicBezTo>
                  <a:pt x="361999" y="522992"/>
                  <a:pt x="441680" y="490118"/>
                  <a:pt x="519274" y="452613"/>
                </a:cubicBezTo>
                <a:cubicBezTo>
                  <a:pt x="584533" y="420195"/>
                  <a:pt x="620687" y="374733"/>
                  <a:pt x="627605" y="316225"/>
                </a:cubicBezTo>
                <a:cubicBezTo>
                  <a:pt x="634522" y="257717"/>
                  <a:pt x="612464" y="193926"/>
                  <a:pt x="561366" y="124852"/>
                </a:cubicBezTo>
                <a:cubicBezTo>
                  <a:pt x="512879" y="57669"/>
                  <a:pt x="438679" y="13642"/>
                  <a:pt x="356452" y="3205"/>
                </a:cubicBezTo>
              </a:path>
            </a:pathLst>
          </a:custGeom>
          <a:solidFill>
            <a:schemeClr val="accent1">
              <a:lumMod val="40000"/>
              <a:lumOff val="60000"/>
            </a:schemeClr>
          </a:solidFill>
          <a:ln w="4568" cap="flat">
            <a:noFill/>
            <a:prstDash val="solid"/>
            <a:miter/>
          </a:ln>
        </p:spPr>
        <p:txBody>
          <a:bodyPr rtlCol="0" anchor="ctr"/>
          <a:lstStyle/>
          <a:p>
            <a:endParaRPr lang="en-US"/>
          </a:p>
        </p:txBody>
      </p:sp>
      <p:sp>
        <p:nvSpPr>
          <p:cNvPr id="19" name="Slide Number Placeholder 5">
            <a:extLst>
              <a:ext uri="{FF2B5EF4-FFF2-40B4-BE49-F238E27FC236}">
                <a16:creationId xmlns:a16="http://schemas.microsoft.com/office/drawing/2014/main" id="{7E30B6F6-9D46-8FFE-710F-8CF764434893}"/>
              </a:ext>
            </a:extLst>
          </p:cNvPr>
          <p:cNvSpPr>
            <a:spLocks noGrp="1" noChangeAspect="1"/>
          </p:cNvSpPr>
          <p:nvPr>
            <p:ph type="sldNum" sz="quarter" idx="4"/>
          </p:nvPr>
        </p:nvSpPr>
        <p:spPr>
          <a:xfrm>
            <a:off x="361949" y="6409540"/>
            <a:ext cx="274320" cy="274320"/>
          </a:xfrm>
          <a:prstGeom prst="roundRect">
            <a:avLst>
              <a:gd name="adj" fmla="val 50000"/>
            </a:avLst>
          </a:prstGeom>
          <a:noFill/>
          <a:ln>
            <a:noFill/>
          </a:ln>
        </p:spPr>
        <p:txBody>
          <a:bodyPr vert="horz" wrap="square" lIns="0" tIns="0" rIns="0" bIns="0" rtlCol="0" anchor="ctr">
            <a:noAutofit/>
          </a:bodyPr>
          <a:lstStyle>
            <a:lvl1pPr algn="ctr">
              <a:defRPr sz="800" b="0" i="0">
                <a:solidFill>
                  <a:schemeClr val="tx2">
                    <a:lumMod val="75000"/>
                  </a:schemeClr>
                </a:solidFill>
                <a:latin typeface="Calibri" panose="020F0502020204030204" pitchFamily="34" charset="0"/>
              </a:defRPr>
            </a:lvl1pPr>
          </a:lstStyle>
          <a:p>
            <a:fld id="{1916DDDD-2DB5-41B0-89CB-F50E795279FE}" type="slidenum">
              <a:rPr lang="en-GB" smtClean="0"/>
              <a:pPr/>
              <a:t>‹#›</a:t>
            </a:fld>
            <a:endParaRPr lang="en-GB"/>
          </a:p>
        </p:txBody>
      </p:sp>
      <p:sp>
        <p:nvSpPr>
          <p:cNvPr id="2" name="Freeform 1">
            <a:extLst>
              <a:ext uri="{FF2B5EF4-FFF2-40B4-BE49-F238E27FC236}">
                <a16:creationId xmlns:a16="http://schemas.microsoft.com/office/drawing/2014/main" id="{DA1AD2ED-08A6-9E01-3B1C-2237BE0481DD}"/>
              </a:ext>
            </a:extLst>
          </p:cNvPr>
          <p:cNvSpPr/>
          <p:nvPr userDrawn="1"/>
        </p:nvSpPr>
        <p:spPr>
          <a:xfrm>
            <a:off x="139253" y="152400"/>
            <a:ext cx="1094742" cy="1097280"/>
          </a:xfrm>
          <a:custGeom>
            <a:avLst/>
            <a:gdLst>
              <a:gd name="connsiteX0" fmla="*/ 1715042 w 1941941"/>
              <a:gd name="connsiteY0" fmla="*/ 243572 h 1990970"/>
              <a:gd name="connsiteX1" fmla="*/ 1617068 w 1941941"/>
              <a:gd name="connsiteY1" fmla="*/ 188056 h 1990970"/>
              <a:gd name="connsiteX2" fmla="*/ 1351580 w 1941941"/>
              <a:gd name="connsiteY2" fmla="*/ 80278 h 1990970"/>
              <a:gd name="connsiteX3" fmla="*/ 1214802 w 1941941"/>
              <a:gd name="connsiteY3" fmla="*/ 48117 h 1990970"/>
              <a:gd name="connsiteX4" fmla="*/ 854606 w 1941941"/>
              <a:gd name="connsiteY4" fmla="*/ 1024 h 1990970"/>
              <a:gd name="connsiteX5" fmla="*/ 682288 w 1941941"/>
              <a:gd name="connsiteY5" fmla="*/ 6001 h 1990970"/>
              <a:gd name="connsiteX6" fmla="*/ 589310 w 1941941"/>
              <a:gd name="connsiteY6" fmla="*/ 22847 h 1990970"/>
              <a:gd name="connsiteX7" fmla="*/ 435434 w 1941941"/>
              <a:gd name="connsiteY7" fmla="*/ 105547 h 1990970"/>
              <a:gd name="connsiteX8" fmla="*/ 420258 w 1941941"/>
              <a:gd name="connsiteY8" fmla="*/ 117225 h 1990970"/>
              <a:gd name="connsiteX9" fmla="*/ 244290 w 1941941"/>
              <a:gd name="connsiteY9" fmla="*/ 1598167 h 1990970"/>
              <a:gd name="connsiteX10" fmla="*/ 1405754 w 1941941"/>
              <a:gd name="connsiteY10" fmla="*/ 1950408 h 1990970"/>
              <a:gd name="connsiteX11" fmla="*/ 1600163 w 1941941"/>
              <a:gd name="connsiteY11" fmla="*/ 1759930 h 1990970"/>
              <a:gd name="connsiteX12" fmla="*/ 1617068 w 1941941"/>
              <a:gd name="connsiteY12" fmla="*/ 1719537 h 1990970"/>
              <a:gd name="connsiteX13" fmla="*/ 1650879 w 1941941"/>
              <a:gd name="connsiteY13" fmla="*/ 1643729 h 1990970"/>
              <a:gd name="connsiteX14" fmla="*/ 1666055 w 1941941"/>
              <a:gd name="connsiteY14" fmla="*/ 1594913 h 1990970"/>
              <a:gd name="connsiteX15" fmla="*/ 1845289 w 1941941"/>
              <a:gd name="connsiteY15" fmla="*/ 1043963 h 1990970"/>
              <a:gd name="connsiteX16" fmla="*/ 1872375 w 1941941"/>
              <a:gd name="connsiteY16" fmla="*/ 973323 h 1990970"/>
              <a:gd name="connsiteX17" fmla="*/ 1931543 w 1941941"/>
              <a:gd name="connsiteY17" fmla="*/ 774422 h 1990970"/>
              <a:gd name="connsiteX18" fmla="*/ 1939996 w 1941941"/>
              <a:gd name="connsiteY18" fmla="*/ 691913 h 1990970"/>
              <a:gd name="connsiteX19" fmla="*/ 1936538 w 1941941"/>
              <a:gd name="connsiteY19" fmla="*/ 565566 h 1990970"/>
              <a:gd name="connsiteX20" fmla="*/ 1912909 w 1941941"/>
              <a:gd name="connsiteY20" fmla="*/ 476357 h 1990970"/>
              <a:gd name="connsiteX21" fmla="*/ 1869110 w 1941941"/>
              <a:gd name="connsiteY21" fmla="*/ 393466 h 1990970"/>
              <a:gd name="connsiteX22" fmla="*/ 1804947 w 1941941"/>
              <a:gd name="connsiteY22" fmla="*/ 319380 h 1990970"/>
              <a:gd name="connsiteX23" fmla="*/ 1715234 w 1941941"/>
              <a:gd name="connsiteY23" fmla="*/ 243572 h 19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41941" h="1990970">
                <a:moveTo>
                  <a:pt x="1715042" y="243572"/>
                </a:moveTo>
                <a:cubicBezTo>
                  <a:pt x="1683537" y="223280"/>
                  <a:pt x="1650687" y="204711"/>
                  <a:pt x="1617068" y="188056"/>
                </a:cubicBezTo>
                <a:cubicBezTo>
                  <a:pt x="1532158" y="143834"/>
                  <a:pt x="1443214" y="107653"/>
                  <a:pt x="1351580" y="80278"/>
                </a:cubicBezTo>
                <a:cubicBezTo>
                  <a:pt x="1307588" y="68983"/>
                  <a:pt x="1262060" y="58263"/>
                  <a:pt x="1214802" y="48117"/>
                </a:cubicBezTo>
                <a:cubicBezTo>
                  <a:pt x="1095889" y="24379"/>
                  <a:pt x="975632" y="8681"/>
                  <a:pt x="854606" y="1024"/>
                </a:cubicBezTo>
                <a:cubicBezTo>
                  <a:pt x="797167" y="-1274"/>
                  <a:pt x="739535" y="258"/>
                  <a:pt x="682288" y="6001"/>
                </a:cubicBezTo>
                <a:cubicBezTo>
                  <a:pt x="648478" y="10595"/>
                  <a:pt x="617549" y="16147"/>
                  <a:pt x="589310" y="22847"/>
                </a:cubicBezTo>
                <a:cubicBezTo>
                  <a:pt x="532447" y="38353"/>
                  <a:pt x="479810" y="66686"/>
                  <a:pt x="435434" y="105547"/>
                </a:cubicBezTo>
                <a:cubicBezTo>
                  <a:pt x="431016" y="108802"/>
                  <a:pt x="425829" y="112822"/>
                  <a:pt x="420258" y="117225"/>
                </a:cubicBezTo>
                <a:cubicBezTo>
                  <a:pt x="-73450" y="758533"/>
                  <a:pt x="-132234" y="1252244"/>
                  <a:pt x="244290" y="1598167"/>
                </a:cubicBezTo>
                <a:cubicBezTo>
                  <a:pt x="619662" y="1944091"/>
                  <a:pt x="1006945" y="2061632"/>
                  <a:pt x="1405754" y="1950408"/>
                </a:cubicBezTo>
                <a:cubicBezTo>
                  <a:pt x="1481251" y="1918821"/>
                  <a:pt x="1546182" y="1855456"/>
                  <a:pt x="1600163" y="1759930"/>
                </a:cubicBezTo>
                <a:lnTo>
                  <a:pt x="1617068" y="1719537"/>
                </a:lnTo>
                <a:cubicBezTo>
                  <a:pt x="1627250" y="1694842"/>
                  <a:pt x="1638392" y="1669573"/>
                  <a:pt x="1650879" y="1643729"/>
                </a:cubicBezTo>
                <a:cubicBezTo>
                  <a:pt x="1655297" y="1628031"/>
                  <a:pt x="1660484" y="1611759"/>
                  <a:pt x="1666055" y="1594913"/>
                </a:cubicBezTo>
                <a:cubicBezTo>
                  <a:pt x="1717923" y="1407307"/>
                  <a:pt x="1777668" y="1223720"/>
                  <a:pt x="1845289" y="1043963"/>
                </a:cubicBezTo>
                <a:cubicBezTo>
                  <a:pt x="1854318" y="1020416"/>
                  <a:pt x="1863346" y="996870"/>
                  <a:pt x="1872375" y="973323"/>
                </a:cubicBezTo>
                <a:cubicBezTo>
                  <a:pt x="1895428" y="908044"/>
                  <a:pt x="1915215" y="841616"/>
                  <a:pt x="1931543" y="774422"/>
                </a:cubicBezTo>
                <a:cubicBezTo>
                  <a:pt x="1935962" y="744175"/>
                  <a:pt x="1938843" y="716608"/>
                  <a:pt x="1939996" y="691913"/>
                </a:cubicBezTo>
                <a:cubicBezTo>
                  <a:pt x="1943454" y="649798"/>
                  <a:pt x="1942301" y="607490"/>
                  <a:pt x="1936538" y="565566"/>
                </a:cubicBezTo>
                <a:cubicBezTo>
                  <a:pt x="1930583" y="535319"/>
                  <a:pt x="1922707" y="505455"/>
                  <a:pt x="1912909" y="476357"/>
                </a:cubicBezTo>
                <a:cubicBezTo>
                  <a:pt x="1900231" y="447642"/>
                  <a:pt x="1885631" y="419884"/>
                  <a:pt x="1869110" y="393466"/>
                </a:cubicBezTo>
                <a:cubicBezTo>
                  <a:pt x="1849707" y="367239"/>
                  <a:pt x="1828191" y="342353"/>
                  <a:pt x="1804947" y="319380"/>
                </a:cubicBezTo>
                <a:cubicBezTo>
                  <a:pt x="1776899" y="292005"/>
                  <a:pt x="1746931" y="266544"/>
                  <a:pt x="1715234" y="243572"/>
                </a:cubicBezTo>
              </a:path>
            </a:pathLst>
          </a:custGeom>
          <a:solidFill>
            <a:schemeClr val="accent3"/>
          </a:solidFill>
          <a:ln w="9509" cap="flat">
            <a:noFill/>
            <a:prstDash val="solid"/>
            <a:miter/>
          </a:ln>
          <a:effectLst/>
        </p:spPr>
        <p:txBody>
          <a:bodyPr bIns="182880" rtlCol="0" anchor="b"/>
          <a:lstStyle/>
          <a:p>
            <a:pPr marL="24166" marR="79020" lvl="1" algn="ctr">
              <a:spcAft>
                <a:spcPts val="3000"/>
              </a:spcAft>
            </a:pPr>
            <a:endParaRPr lang="en-GB" sz="800" b="1" spc="-7">
              <a:solidFill>
                <a:schemeClr val="bg1"/>
              </a:solidFill>
              <a:cs typeface="Calibri"/>
            </a:endParaRPr>
          </a:p>
        </p:txBody>
      </p:sp>
    </p:spTree>
    <p:extLst>
      <p:ext uri="{BB962C8B-B14F-4D97-AF65-F5344CB8AC3E}">
        <p14:creationId xmlns:p14="http://schemas.microsoft.com/office/powerpoint/2010/main" val="1140891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86EB9AB-AE4A-A607-10A1-2B92F961C4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CE4BE1-11C6-0632-5AA8-03B626544C42}"/>
              </a:ext>
            </a:extLst>
          </p:cNvPr>
          <p:cNvSpPr>
            <a:spLocks noGrp="1"/>
          </p:cNvSpPr>
          <p:nvPr>
            <p:ph type="sldNum" sz="quarter" idx="12"/>
          </p:nvPr>
        </p:nvSpPr>
        <p:spPr/>
        <p:txBody>
          <a:bodyPr/>
          <a:lstStyle/>
          <a:p>
            <a:fld id="{A366880C-2072-4A02-B747-1981AA856017}" type="slidenum">
              <a:rPr lang="en-US" smtClean="0"/>
              <a:t>‹#›</a:t>
            </a:fld>
            <a:endParaRPr lang="en-US"/>
          </a:p>
        </p:txBody>
      </p:sp>
    </p:spTree>
    <p:extLst>
      <p:ext uri="{BB962C8B-B14F-4D97-AF65-F5344CB8AC3E}">
        <p14:creationId xmlns:p14="http://schemas.microsoft.com/office/powerpoint/2010/main" val="345156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Freeform 4">
            <a:extLst>
              <a:ext uri="{FF2B5EF4-FFF2-40B4-BE49-F238E27FC236}">
                <a16:creationId xmlns:a16="http://schemas.microsoft.com/office/drawing/2014/main" id="{848A0D14-ACE4-D6B3-253E-B7619FD32D22}"/>
              </a:ext>
            </a:extLst>
          </p:cNvPr>
          <p:cNvSpPr/>
          <p:nvPr userDrawn="1"/>
        </p:nvSpPr>
        <p:spPr>
          <a:xfrm rot="19320740">
            <a:off x="329727" y="6383093"/>
            <a:ext cx="366500" cy="330454"/>
          </a:xfrm>
          <a:custGeom>
            <a:avLst/>
            <a:gdLst>
              <a:gd name="connsiteX0" fmla="*/ 356452 w 628843"/>
              <a:gd name="connsiteY0" fmla="*/ 3205 h 566992"/>
              <a:gd name="connsiteX1" fmla="*/ 3659 w 628843"/>
              <a:gd name="connsiteY1" fmla="*/ 266001 h 566992"/>
              <a:gd name="connsiteX2" fmla="*/ 62654 w 628843"/>
              <a:gd name="connsiteY2" fmla="*/ 497293 h 566992"/>
              <a:gd name="connsiteX3" fmla="*/ 280555 w 628843"/>
              <a:gd name="connsiteY3" fmla="*/ 551039 h 566992"/>
              <a:gd name="connsiteX4" fmla="*/ 519274 w 628843"/>
              <a:gd name="connsiteY4" fmla="*/ 452613 h 566992"/>
              <a:gd name="connsiteX5" fmla="*/ 627605 w 628843"/>
              <a:gd name="connsiteY5" fmla="*/ 316225 h 566992"/>
              <a:gd name="connsiteX6" fmla="*/ 561366 w 628843"/>
              <a:gd name="connsiteY6" fmla="*/ 124852 h 566992"/>
              <a:gd name="connsiteX7" fmla="*/ 356452 w 628843"/>
              <a:gd name="connsiteY7" fmla="*/ 3205 h 56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843" h="566992">
                <a:moveTo>
                  <a:pt x="356452" y="3205"/>
                </a:moveTo>
                <a:cubicBezTo>
                  <a:pt x="186516" y="-21189"/>
                  <a:pt x="28784" y="96283"/>
                  <a:pt x="3659" y="266001"/>
                </a:cubicBezTo>
                <a:cubicBezTo>
                  <a:pt x="-9197" y="347925"/>
                  <a:pt x="12143" y="431545"/>
                  <a:pt x="62654" y="497293"/>
                </a:cubicBezTo>
                <a:cubicBezTo>
                  <a:pt x="114013" y="565976"/>
                  <a:pt x="186647" y="583913"/>
                  <a:pt x="280555" y="551039"/>
                </a:cubicBezTo>
                <a:cubicBezTo>
                  <a:pt x="361999" y="522992"/>
                  <a:pt x="441680" y="490118"/>
                  <a:pt x="519274" y="452613"/>
                </a:cubicBezTo>
                <a:cubicBezTo>
                  <a:pt x="584533" y="420195"/>
                  <a:pt x="620687" y="374733"/>
                  <a:pt x="627605" y="316225"/>
                </a:cubicBezTo>
                <a:cubicBezTo>
                  <a:pt x="634522" y="257717"/>
                  <a:pt x="612464" y="193926"/>
                  <a:pt x="561366" y="124852"/>
                </a:cubicBezTo>
                <a:cubicBezTo>
                  <a:pt x="512879" y="57669"/>
                  <a:pt x="438679" y="13642"/>
                  <a:pt x="356452" y="3205"/>
                </a:cubicBezTo>
              </a:path>
            </a:pathLst>
          </a:custGeom>
          <a:solidFill>
            <a:schemeClr val="accent1">
              <a:lumMod val="40000"/>
              <a:lumOff val="60000"/>
            </a:schemeClr>
          </a:solidFill>
          <a:ln w="4568" cap="flat">
            <a:noFill/>
            <a:prstDash val="solid"/>
            <a:miter/>
          </a:ln>
        </p:spPr>
        <p:txBody>
          <a:bodyPr rtlCol="0" anchor="ctr"/>
          <a:lstStyle/>
          <a:p>
            <a:endParaRPr lang="en-US"/>
          </a:p>
        </p:txBody>
      </p:sp>
      <p:sp>
        <p:nvSpPr>
          <p:cNvPr id="2" name="Title Placeholder 1"/>
          <p:cNvSpPr>
            <a:spLocks noGrp="1"/>
          </p:cNvSpPr>
          <p:nvPr>
            <p:ph type="title"/>
          </p:nvPr>
        </p:nvSpPr>
        <p:spPr>
          <a:xfrm>
            <a:off x="361952" y="171450"/>
            <a:ext cx="9963148" cy="1118871"/>
          </a:xfrm>
          <a:prstGeom prst="rect">
            <a:avLst/>
          </a:prstGeom>
        </p:spPr>
        <p:txBody>
          <a:bodyPr vert="horz" lIns="0" tIns="0" rIns="0" bIns="0" rtlCol="0" anchor="b">
            <a:noAutofit/>
          </a:bodyPr>
          <a:lstStyle/>
          <a:p>
            <a:r>
              <a:rPr lang="en-US"/>
              <a:t>Click to edit Master title style</a:t>
            </a:r>
            <a:endParaRPr lang="en-GB"/>
          </a:p>
        </p:txBody>
      </p:sp>
      <p:sp>
        <p:nvSpPr>
          <p:cNvPr id="3" name="Text Placeholder 2"/>
          <p:cNvSpPr>
            <a:spLocks noGrp="1"/>
          </p:cNvSpPr>
          <p:nvPr>
            <p:ph type="body" idx="1"/>
          </p:nvPr>
        </p:nvSpPr>
        <p:spPr>
          <a:xfrm>
            <a:off x="361949" y="1628774"/>
            <a:ext cx="9966960" cy="4389120"/>
          </a:xfrm>
          <a:prstGeom prst="rect">
            <a:avLst/>
          </a:prstGeom>
        </p:spPr>
        <p:txBody>
          <a:bodyPr vert="horz" lIns="0" tIns="0" rIns="0" bIns="0" rtlCol="0">
            <a:noAutofit/>
          </a:bodyPr>
          <a:lstStyle/>
          <a:p>
            <a:pPr lvl="0"/>
            <a:r>
              <a:rPr lang="en-US"/>
              <a:t>Click to edit Master text styles</a:t>
            </a:r>
          </a:p>
          <a:p>
            <a:pPr lvl="1"/>
            <a:r>
              <a:rPr lang="en-US"/>
              <a:t>First level</a:t>
            </a:r>
          </a:p>
          <a:p>
            <a:pPr lvl="2"/>
            <a:r>
              <a:rPr lang="en-US"/>
              <a:t>Second level</a:t>
            </a:r>
          </a:p>
          <a:p>
            <a:pPr lvl="3"/>
            <a:r>
              <a:rPr lang="en-US"/>
              <a:t>Third level</a:t>
            </a:r>
          </a:p>
        </p:txBody>
      </p:sp>
      <p:sp>
        <p:nvSpPr>
          <p:cNvPr id="6" name="Slide Number Placeholder 5"/>
          <p:cNvSpPr>
            <a:spLocks noGrp="1" noChangeAspect="1"/>
          </p:cNvSpPr>
          <p:nvPr>
            <p:ph type="sldNum" sz="quarter" idx="4"/>
          </p:nvPr>
        </p:nvSpPr>
        <p:spPr>
          <a:xfrm>
            <a:off x="361949" y="6409540"/>
            <a:ext cx="274320" cy="274320"/>
          </a:xfrm>
          <a:prstGeom prst="roundRect">
            <a:avLst>
              <a:gd name="adj" fmla="val 50000"/>
            </a:avLst>
          </a:prstGeom>
          <a:noFill/>
          <a:ln>
            <a:noFill/>
          </a:ln>
        </p:spPr>
        <p:txBody>
          <a:bodyPr vert="horz" wrap="square" lIns="0" tIns="0" rIns="0" bIns="0" rtlCol="0" anchor="ctr">
            <a:noAutofit/>
          </a:bodyPr>
          <a:lstStyle>
            <a:lvl1pPr algn="ctr">
              <a:defRPr sz="800" b="0" i="0">
                <a:solidFill>
                  <a:schemeClr val="tx2">
                    <a:lumMod val="75000"/>
                  </a:schemeClr>
                </a:solidFill>
                <a:latin typeface="Calibri" panose="020F0502020204030204" pitchFamily="34" charset="0"/>
              </a:defRPr>
            </a:lvl1pPr>
          </a:lstStyle>
          <a:p>
            <a:fld id="{1916DDDD-2DB5-41B0-89CB-F50E795279FE}" type="slidenum">
              <a:rPr lang="en-GB" smtClean="0"/>
              <a:pPr/>
              <a:t>‹#›</a:t>
            </a:fld>
            <a:endParaRPr lang="en-GB"/>
          </a:p>
        </p:txBody>
      </p:sp>
      <p:sp>
        <p:nvSpPr>
          <p:cNvPr id="4" name="empower - DO NOT DELETE!!!" hidden="1">
            <a:extLst>
              <a:ext uri="{FF2B5EF4-FFF2-40B4-BE49-F238E27FC236}">
                <a16:creationId xmlns:a16="http://schemas.microsoft.com/office/drawing/2014/main" id="{49456C3F-6FDD-4B7E-BB05-89C60EC1B404}"/>
              </a:ext>
            </a:extLst>
          </p:cNvPr>
          <p:cNvSpPr/>
          <p:nvPr userDrawn="1">
            <p:custDataLst>
              <p:tags r:id="rId12"/>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ooter Placeholder 12">
            <a:extLst>
              <a:ext uri="{FF2B5EF4-FFF2-40B4-BE49-F238E27FC236}">
                <a16:creationId xmlns:a16="http://schemas.microsoft.com/office/drawing/2014/main" id="{6DEC6F41-DDAA-06EE-1E1B-73A720686BC2}"/>
              </a:ext>
            </a:extLst>
          </p:cNvPr>
          <p:cNvSpPr>
            <a:spLocks noGrp="1"/>
          </p:cNvSpPr>
          <p:nvPr>
            <p:ph type="ftr" sz="quarter" idx="3"/>
          </p:nvPr>
        </p:nvSpPr>
        <p:spPr>
          <a:xfrm>
            <a:off x="904874" y="6566905"/>
            <a:ext cx="10975795" cy="116955"/>
          </a:xfrm>
          <a:prstGeom prst="rect">
            <a:avLst/>
          </a:prstGeom>
          <a:noFill/>
        </p:spPr>
        <p:txBody>
          <a:bodyPr vert="horz" wrap="square" lIns="0" tIns="0" rIns="0" bIns="0" rtlCol="0" anchor="b">
            <a:spAutoFit/>
          </a:bodyPr>
          <a:lstStyle>
            <a:lvl1pPr algn="l">
              <a:lnSpc>
                <a:spcPct val="95000"/>
              </a:lnSpc>
              <a:spcBef>
                <a:spcPts val="400"/>
              </a:spcBef>
              <a:defRPr lang="en-US" sz="800" b="0">
                <a:solidFill>
                  <a:schemeClr val="tx2">
                    <a:lumMod val="75000"/>
                  </a:schemeClr>
                </a:solidFill>
                <a:latin typeface="+mn-lt"/>
              </a:defRPr>
            </a:lvl1pPr>
          </a:lstStyle>
          <a:p>
            <a:endParaRPr lang="en-US"/>
          </a:p>
        </p:txBody>
      </p:sp>
    </p:spTree>
    <p:extLst>
      <p:ext uri="{BB962C8B-B14F-4D97-AF65-F5344CB8AC3E}">
        <p14:creationId xmlns:p14="http://schemas.microsoft.com/office/powerpoint/2010/main" val="1030776343"/>
      </p:ext>
    </p:extLst>
  </p:cSld>
  <p:clrMap bg1="lt1" tx1="dk1" bg2="lt2" tx2="dk2" accent1="accent1" accent2="accent2" accent3="accent3" accent4="accent4" accent5="accent5" accent6="accent6" hlink="hlink" folHlink="folHlink"/>
  <p:sldLayoutIdLst>
    <p:sldLayoutId id="2147483853" r:id="rId1"/>
    <p:sldLayoutId id="2147483858" r:id="rId2"/>
    <p:sldLayoutId id="2147483845" r:id="rId3"/>
    <p:sldLayoutId id="2147483842" r:id="rId4"/>
    <p:sldLayoutId id="2147483850" r:id="rId5"/>
    <p:sldLayoutId id="2147483856" r:id="rId6"/>
    <p:sldLayoutId id="2147483855" r:id="rId7"/>
    <p:sldLayoutId id="2147483857" r:id="rId8"/>
    <p:sldLayoutId id="2147483851" r:id="rId9"/>
    <p:sldLayoutId id="2147483848"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ts val="0"/>
        </a:spcBef>
        <a:spcAft>
          <a:spcPts val="600"/>
        </a:spcAft>
        <a:buNone/>
        <a:defRPr sz="3600" kern="1200">
          <a:solidFill>
            <a:schemeClr val="accent1"/>
          </a:solidFill>
          <a:latin typeface="+mj-lt"/>
          <a:ea typeface="+mj-ea"/>
          <a:cs typeface="+mj-cs"/>
        </a:defRPr>
      </a:lvl1pPr>
    </p:titleStyle>
    <p:body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1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792" userDrawn="1">
          <p15:clr>
            <a:srgbClr val="F26B43"/>
          </p15:clr>
        </p15:guide>
        <p15:guide id="12" pos="7464" userDrawn="1">
          <p15:clr>
            <a:srgbClr val="F26B43"/>
          </p15:clr>
        </p15:guide>
        <p15:guide id="17" pos="3840" userDrawn="1">
          <p15:clr>
            <a:srgbClr val="F26B43"/>
          </p15:clr>
        </p15:guide>
        <p15:guide id="34" orient="horz" pos="816" userDrawn="1">
          <p15:clr>
            <a:srgbClr val="F26B43"/>
          </p15:clr>
        </p15:guide>
        <p15:guide id="35" orient="horz" pos="1008" userDrawn="1">
          <p15:clr>
            <a:srgbClr val="F26B43"/>
          </p15:clr>
        </p15:guide>
        <p15:guide id="36" orient="horz" pos="4224" userDrawn="1">
          <p15:clr>
            <a:srgbClr val="F26B43"/>
          </p15:clr>
        </p15:guide>
        <p15:guide id="37" orient="horz" pos="2160" userDrawn="1">
          <p15:clr>
            <a:srgbClr val="F26B43"/>
          </p15:clr>
        </p15:guide>
        <p15:guide id="38" orient="horz" pos="96" userDrawn="1">
          <p15:clr>
            <a:srgbClr val="F26B43"/>
          </p15:clr>
        </p15:guide>
        <p15:guide id="39" pos="216" userDrawn="1">
          <p15:clr>
            <a:srgbClr val="F26B43"/>
          </p15:clr>
        </p15:guide>
        <p15:guide id="40" orient="horz" userDrawn="1">
          <p15:clr>
            <a:srgbClr val="F26B43"/>
          </p15:clr>
        </p15:guide>
        <p15:guide id="41" orient="horz" pos="4315" userDrawn="1">
          <p15:clr>
            <a:srgbClr val="F26B43"/>
          </p15:clr>
        </p15:guide>
        <p15:guide id="42" userDrawn="1">
          <p15:clr>
            <a:srgbClr val="F26B43"/>
          </p15:clr>
        </p15:guide>
        <p15:guide id="43" pos="76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hyperlink" Target="https://www.niehs.nih.gov/research/resources/imacs/response_criteria/final_myositis_response_criteria_508.pdf"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D43189-EC9D-B36C-1854-B9A02B893228}"/>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DE9CA8EF-435D-8356-7D6B-597226A22D2D}"/>
              </a:ext>
            </a:extLst>
          </p:cNvPr>
          <p:cNvSpPr txBox="1"/>
          <p:nvPr/>
        </p:nvSpPr>
        <p:spPr>
          <a:xfrm>
            <a:off x="0" y="6400800"/>
            <a:ext cx="7933690" cy="457200"/>
          </a:xfrm>
          <a:custGeom>
            <a:avLst/>
            <a:gdLst>
              <a:gd name="connsiteX0" fmla="*/ 0 w 7933690"/>
              <a:gd name="connsiteY0" fmla="*/ 0 h 457200"/>
              <a:gd name="connsiteX1" fmla="*/ 1784894 w 7933690"/>
              <a:gd name="connsiteY1" fmla="*/ 0 h 457200"/>
              <a:gd name="connsiteX2" fmla="*/ 6148796 w 7933690"/>
              <a:gd name="connsiteY2" fmla="*/ 0 h 457200"/>
              <a:gd name="connsiteX3" fmla="*/ 7933690 w 7933690"/>
              <a:gd name="connsiteY3" fmla="*/ 0 h 457200"/>
              <a:gd name="connsiteX4" fmla="*/ 7916868 w 7933690"/>
              <a:gd name="connsiteY4" fmla="*/ 141587 h 457200"/>
              <a:gd name="connsiteX5" fmla="*/ 7873496 w 7933690"/>
              <a:gd name="connsiteY5" fmla="*/ 457200 h 457200"/>
              <a:gd name="connsiteX6" fmla="*/ 6088602 w 7933690"/>
              <a:gd name="connsiteY6" fmla="*/ 457200 h 457200"/>
              <a:gd name="connsiteX7" fmla="*/ 1784894 w 7933690"/>
              <a:gd name="connsiteY7" fmla="*/ 457200 h 457200"/>
              <a:gd name="connsiteX8" fmla="*/ 0 w 7933690"/>
              <a:gd name="connsiteY8"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33690" h="457200">
                <a:moveTo>
                  <a:pt x="0" y="0"/>
                </a:moveTo>
                <a:lnTo>
                  <a:pt x="1784894" y="0"/>
                </a:lnTo>
                <a:lnTo>
                  <a:pt x="6148796" y="0"/>
                </a:lnTo>
                <a:lnTo>
                  <a:pt x="7933690" y="0"/>
                </a:lnTo>
                <a:lnTo>
                  <a:pt x="7916868" y="141587"/>
                </a:lnTo>
                <a:lnTo>
                  <a:pt x="7873496" y="457200"/>
                </a:lnTo>
                <a:lnTo>
                  <a:pt x="6088602" y="457200"/>
                </a:lnTo>
                <a:lnTo>
                  <a:pt x="1784894" y="457200"/>
                </a:lnTo>
                <a:lnTo>
                  <a:pt x="0" y="457200"/>
                </a:lnTo>
                <a:close/>
              </a:path>
            </a:pathLst>
          </a:custGeom>
          <a:solidFill>
            <a:schemeClr val="bg1">
              <a:lumMod val="95000"/>
            </a:schemeClr>
          </a:solidFill>
          <a:ln>
            <a:noFill/>
          </a:ln>
        </p:spPr>
        <p:txBody>
          <a:bodyPr wrap="square" lIns="0" tIns="0" rIns="228600" bIns="0" rtlCol="0" anchor="ctr" anchorCtr="0">
            <a:noAutofit/>
          </a:bodyPr>
          <a:lstStyle/>
          <a:p>
            <a:pPr algn="ctr" defTabSz="767592">
              <a:defRPr/>
            </a:pPr>
            <a:r>
              <a:rPr kumimoji="0" lang="en-US" sz="800" b="0" i="0" u="none" strike="noStrike" kern="0" cap="none" spc="100" normalizeH="0" baseline="0" noProof="0">
                <a:ln>
                  <a:noFill/>
                </a:ln>
                <a:solidFill>
                  <a:schemeClr val="accent3"/>
                </a:solidFill>
                <a:effectLst/>
                <a:uLnTx/>
                <a:uFillTx/>
              </a:rPr>
              <a:t>PRESENTED AT THE </a:t>
            </a:r>
            <a:r>
              <a:rPr kumimoji="0" lang="en-GB" sz="800" b="0" i="0" u="none" strike="noStrike" kern="0" cap="none" spc="100" normalizeH="0" baseline="0" noProof="0">
                <a:ln>
                  <a:noFill/>
                </a:ln>
                <a:solidFill>
                  <a:schemeClr val="accent3"/>
                </a:solidFill>
                <a:effectLst/>
                <a:uLnTx/>
                <a:uFillTx/>
              </a:rPr>
              <a:t>AMERICAN COLLEGE OF RHEUMATOLOGY (ACR) CONVERGENCE 2025</a:t>
            </a:r>
            <a:br>
              <a:rPr kumimoji="0" lang="en-US" sz="800" b="0" i="0" u="none" strike="noStrike" kern="0" cap="none" spc="100" normalizeH="0" baseline="0" noProof="0">
                <a:ln>
                  <a:noFill/>
                </a:ln>
                <a:solidFill>
                  <a:schemeClr val="accent3"/>
                </a:solidFill>
                <a:effectLst/>
                <a:uLnTx/>
                <a:uFillTx/>
              </a:rPr>
            </a:br>
            <a:r>
              <a:rPr kumimoji="0" lang="en-US" sz="800" b="0" i="0" u="none" strike="noStrike" kern="0" cap="none" spc="100" normalizeH="0" baseline="0" noProof="0">
                <a:ln>
                  <a:noFill/>
                </a:ln>
                <a:solidFill>
                  <a:schemeClr val="accent3"/>
                </a:solidFill>
                <a:effectLst/>
                <a:uLnTx/>
                <a:uFillTx/>
              </a:rPr>
              <a:t>OCTOBER 24–29, 2025; CHICAGO, IL, USA</a:t>
            </a:r>
          </a:p>
        </p:txBody>
      </p:sp>
      <p:sp>
        <p:nvSpPr>
          <p:cNvPr id="5" name="Freeform 4">
            <a:extLst>
              <a:ext uri="{FF2B5EF4-FFF2-40B4-BE49-F238E27FC236}">
                <a16:creationId xmlns:a16="http://schemas.microsoft.com/office/drawing/2014/main" id="{5DBF8333-116C-4886-8362-B0BAB2066888}"/>
              </a:ext>
            </a:extLst>
          </p:cNvPr>
          <p:cNvSpPr>
            <a:spLocks noChangeAspect="1"/>
          </p:cNvSpPr>
          <p:nvPr/>
        </p:nvSpPr>
        <p:spPr>
          <a:xfrm>
            <a:off x="118750" y="118750"/>
            <a:ext cx="802369" cy="802369"/>
          </a:xfrm>
          <a:custGeom>
            <a:avLst/>
            <a:gdLst>
              <a:gd name="connsiteX0" fmla="*/ 849411 w 961787"/>
              <a:gd name="connsiteY0" fmla="*/ 120671 h 986370"/>
              <a:gd name="connsiteX1" fmla="*/ 800888 w 961787"/>
              <a:gd name="connsiteY1" fmla="*/ 93167 h 986370"/>
              <a:gd name="connsiteX2" fmla="*/ 669399 w 961787"/>
              <a:gd name="connsiteY2" fmla="*/ 39771 h 986370"/>
              <a:gd name="connsiteX3" fmla="*/ 601657 w 961787"/>
              <a:gd name="connsiteY3" fmla="*/ 23838 h 986370"/>
              <a:gd name="connsiteX4" fmla="*/ 423262 w 961787"/>
              <a:gd name="connsiteY4" fmla="*/ 507 h 986370"/>
              <a:gd name="connsiteX5" fmla="*/ 337918 w 961787"/>
              <a:gd name="connsiteY5" fmla="*/ 2973 h 986370"/>
              <a:gd name="connsiteX6" fmla="*/ 291868 w 961787"/>
              <a:gd name="connsiteY6" fmla="*/ 11319 h 986370"/>
              <a:gd name="connsiteX7" fmla="*/ 215658 w 961787"/>
              <a:gd name="connsiteY7" fmla="*/ 52290 h 986370"/>
              <a:gd name="connsiteX8" fmla="*/ 208142 w 961787"/>
              <a:gd name="connsiteY8" fmla="*/ 58076 h 986370"/>
              <a:gd name="connsiteX9" fmla="*/ 120990 w 961787"/>
              <a:gd name="connsiteY9" fmla="*/ 791767 h 986370"/>
              <a:gd name="connsiteX10" fmla="*/ 696229 w 961787"/>
              <a:gd name="connsiteY10" fmla="*/ 966275 h 986370"/>
              <a:gd name="connsiteX11" fmla="*/ 792515 w 961787"/>
              <a:gd name="connsiteY11" fmla="*/ 871908 h 986370"/>
              <a:gd name="connsiteX12" fmla="*/ 800888 w 961787"/>
              <a:gd name="connsiteY12" fmla="*/ 851897 h 986370"/>
              <a:gd name="connsiteX13" fmla="*/ 817633 w 961787"/>
              <a:gd name="connsiteY13" fmla="*/ 814340 h 986370"/>
              <a:gd name="connsiteX14" fmla="*/ 825149 w 961787"/>
              <a:gd name="connsiteY14" fmla="*/ 790155 h 986370"/>
              <a:gd name="connsiteX15" fmla="*/ 913919 w 961787"/>
              <a:gd name="connsiteY15" fmla="*/ 517202 h 986370"/>
              <a:gd name="connsiteX16" fmla="*/ 927334 w 961787"/>
              <a:gd name="connsiteY16" fmla="*/ 482206 h 986370"/>
              <a:gd name="connsiteX17" fmla="*/ 956638 w 961787"/>
              <a:gd name="connsiteY17" fmla="*/ 383666 h 986370"/>
              <a:gd name="connsiteX18" fmla="*/ 960824 w 961787"/>
              <a:gd name="connsiteY18" fmla="*/ 342789 h 986370"/>
              <a:gd name="connsiteX19" fmla="*/ 959112 w 961787"/>
              <a:gd name="connsiteY19" fmla="*/ 280194 h 986370"/>
              <a:gd name="connsiteX20" fmla="*/ 947409 w 961787"/>
              <a:gd name="connsiteY20" fmla="*/ 235998 h 986370"/>
              <a:gd name="connsiteX21" fmla="*/ 925716 w 961787"/>
              <a:gd name="connsiteY21" fmla="*/ 194932 h 986370"/>
              <a:gd name="connsiteX22" fmla="*/ 893938 w 961787"/>
              <a:gd name="connsiteY22" fmla="*/ 158228 h 986370"/>
              <a:gd name="connsiteX23" fmla="*/ 849506 w 961787"/>
              <a:gd name="connsiteY23" fmla="*/ 120671 h 98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61787" h="986370">
                <a:moveTo>
                  <a:pt x="849411" y="120671"/>
                </a:moveTo>
                <a:cubicBezTo>
                  <a:pt x="833807" y="110618"/>
                  <a:pt x="817538" y="101418"/>
                  <a:pt x="800888" y="93167"/>
                </a:cubicBezTo>
                <a:cubicBezTo>
                  <a:pt x="758834" y="71259"/>
                  <a:pt x="714783" y="53334"/>
                  <a:pt x="669399" y="39771"/>
                </a:cubicBezTo>
                <a:cubicBezTo>
                  <a:pt x="647611" y="34176"/>
                  <a:pt x="625062" y="28865"/>
                  <a:pt x="601657" y="23838"/>
                </a:cubicBezTo>
                <a:cubicBezTo>
                  <a:pt x="542762" y="12078"/>
                  <a:pt x="483202" y="4301"/>
                  <a:pt x="423262" y="507"/>
                </a:cubicBezTo>
                <a:cubicBezTo>
                  <a:pt x="394814" y="-631"/>
                  <a:pt x="366271" y="128"/>
                  <a:pt x="337918" y="2973"/>
                </a:cubicBezTo>
                <a:cubicBezTo>
                  <a:pt x="321173" y="5249"/>
                  <a:pt x="305854" y="8000"/>
                  <a:pt x="291868" y="11319"/>
                </a:cubicBezTo>
                <a:cubicBezTo>
                  <a:pt x="263706" y="19001"/>
                  <a:pt x="237636" y="33038"/>
                  <a:pt x="215658" y="52290"/>
                </a:cubicBezTo>
                <a:cubicBezTo>
                  <a:pt x="213470" y="53903"/>
                  <a:pt x="210901" y="55894"/>
                  <a:pt x="208142" y="58076"/>
                </a:cubicBezTo>
                <a:cubicBezTo>
                  <a:pt x="-36378" y="375794"/>
                  <a:pt x="-65492" y="620389"/>
                  <a:pt x="120990" y="791767"/>
                </a:cubicBezTo>
                <a:cubicBezTo>
                  <a:pt x="306901" y="963145"/>
                  <a:pt x="498711" y="1021378"/>
                  <a:pt x="696229" y="966275"/>
                </a:cubicBezTo>
                <a:cubicBezTo>
                  <a:pt x="733621" y="950626"/>
                  <a:pt x="765780" y="919234"/>
                  <a:pt x="792515" y="871908"/>
                </a:cubicBezTo>
                <a:lnTo>
                  <a:pt x="800888" y="851897"/>
                </a:lnTo>
                <a:cubicBezTo>
                  <a:pt x="805930" y="839662"/>
                  <a:pt x="811449" y="827143"/>
                  <a:pt x="817633" y="814340"/>
                </a:cubicBezTo>
                <a:cubicBezTo>
                  <a:pt x="819821" y="806563"/>
                  <a:pt x="822390" y="798501"/>
                  <a:pt x="825149" y="790155"/>
                </a:cubicBezTo>
                <a:cubicBezTo>
                  <a:pt x="850838" y="697211"/>
                  <a:pt x="880428" y="606258"/>
                  <a:pt x="913919" y="517202"/>
                </a:cubicBezTo>
                <a:cubicBezTo>
                  <a:pt x="918390" y="505537"/>
                  <a:pt x="922862" y="493871"/>
                  <a:pt x="927334" y="482206"/>
                </a:cubicBezTo>
                <a:cubicBezTo>
                  <a:pt x="938751" y="449865"/>
                  <a:pt x="948551" y="416955"/>
                  <a:pt x="956638" y="383666"/>
                </a:cubicBezTo>
                <a:cubicBezTo>
                  <a:pt x="958826" y="368681"/>
                  <a:pt x="960254" y="355024"/>
                  <a:pt x="960824" y="342789"/>
                </a:cubicBezTo>
                <a:cubicBezTo>
                  <a:pt x="962537" y="321924"/>
                  <a:pt x="961966" y="300964"/>
                  <a:pt x="959112" y="280194"/>
                </a:cubicBezTo>
                <a:cubicBezTo>
                  <a:pt x="956162" y="265209"/>
                  <a:pt x="952261" y="250414"/>
                  <a:pt x="947409" y="235998"/>
                </a:cubicBezTo>
                <a:cubicBezTo>
                  <a:pt x="941130" y="221772"/>
                  <a:pt x="933899" y="208020"/>
                  <a:pt x="925716" y="194932"/>
                </a:cubicBezTo>
                <a:cubicBezTo>
                  <a:pt x="916107" y="181938"/>
                  <a:pt x="905451" y="169609"/>
                  <a:pt x="893938" y="158228"/>
                </a:cubicBezTo>
                <a:cubicBezTo>
                  <a:pt x="880047" y="144666"/>
                  <a:pt x="865205" y="132052"/>
                  <a:pt x="849506" y="120671"/>
                </a:cubicBezTo>
              </a:path>
            </a:pathLst>
          </a:custGeom>
          <a:solidFill>
            <a:schemeClr val="accent2">
              <a:alpha val="35000"/>
            </a:schemeClr>
          </a:solidFill>
          <a:ln w="9509" cap="flat">
            <a:noFill/>
            <a:prstDash val="solid"/>
            <a:miter/>
          </a:ln>
          <a:effectLst/>
        </p:spPr>
        <p:txBody>
          <a:bodyPr rtlCol="0" anchor="ctr"/>
          <a:lstStyle/>
          <a:p>
            <a:pPr algn="ctr"/>
            <a:r>
              <a:rPr lang="en-US" sz="1000" b="1" noProof="0">
                <a:solidFill>
                  <a:schemeClr val="accent3"/>
                </a:solidFill>
              </a:rPr>
              <a:t>2671</a:t>
            </a:r>
          </a:p>
        </p:txBody>
      </p:sp>
      <p:sp>
        <p:nvSpPr>
          <p:cNvPr id="16" name="Title 1">
            <a:extLst>
              <a:ext uri="{FF2B5EF4-FFF2-40B4-BE49-F238E27FC236}">
                <a16:creationId xmlns:a16="http://schemas.microsoft.com/office/drawing/2014/main" id="{276DDBA9-3431-BE33-738E-82DA3A7CF471}"/>
              </a:ext>
            </a:extLst>
          </p:cNvPr>
          <p:cNvSpPr>
            <a:spLocks noGrp="1"/>
          </p:cNvSpPr>
          <p:nvPr>
            <p:ph type="title"/>
          </p:nvPr>
        </p:nvSpPr>
        <p:spPr>
          <a:xfrm>
            <a:off x="527051" y="1491672"/>
            <a:ext cx="6393704" cy="2326791"/>
          </a:xfrm>
        </p:spPr>
        <p:txBody>
          <a:bodyPr/>
          <a:lstStyle/>
          <a:p>
            <a:pPr lvl="0"/>
            <a:r>
              <a:rPr lang="en-GB" sz="2800" noProof="0">
                <a:solidFill>
                  <a:schemeClr val="accent1">
                    <a:lumMod val="75000"/>
                  </a:schemeClr>
                </a:solidFill>
                <a:latin typeface="Calibri Light" panose="020F0302020204030204" pitchFamily="34" charset="0"/>
                <a:cs typeface="Calibri Light" panose="020F0302020204030204" pitchFamily="34" charset="0"/>
              </a:rPr>
              <a:t>Effect of Efgartigimod PH20 SC on Total Improvement Score, Its Core Set Measures, and Patient/Clinician Impressions of Change:</a:t>
            </a:r>
            <a:br>
              <a:rPr lang="en-US" sz="2800" noProof="0">
                <a:solidFill>
                  <a:schemeClr val="accent1">
                    <a:lumMod val="75000"/>
                  </a:schemeClr>
                </a:solidFill>
                <a:latin typeface="Calibri Light" panose="020F0302020204030204" pitchFamily="34" charset="0"/>
                <a:cs typeface="Calibri Light" panose="020F0302020204030204" pitchFamily="34" charset="0"/>
              </a:rPr>
            </a:br>
            <a:r>
              <a:rPr lang="en-GB" sz="2800" b="1" noProof="0">
                <a:solidFill>
                  <a:schemeClr val="accent5"/>
                </a:solidFill>
              </a:rPr>
              <a:t>Results From the Phase 2 ALKIVIA Study </a:t>
            </a:r>
            <a:br>
              <a:rPr lang="en-GB" sz="2800" b="1" noProof="0">
                <a:solidFill>
                  <a:schemeClr val="accent5"/>
                </a:solidFill>
              </a:rPr>
            </a:br>
            <a:r>
              <a:rPr lang="en-GB" sz="2800" b="1" noProof="0">
                <a:solidFill>
                  <a:schemeClr val="accent5"/>
                </a:solidFill>
              </a:rPr>
              <a:t>of Adults With Active Idiopathic Inflammatory Myopathy </a:t>
            </a:r>
            <a:endParaRPr lang="en-US" sz="2800" b="1" noProof="0">
              <a:solidFill>
                <a:schemeClr val="accent5"/>
              </a:solidFill>
            </a:endParaRPr>
          </a:p>
        </p:txBody>
      </p:sp>
      <p:sp>
        <p:nvSpPr>
          <p:cNvPr id="17" name="Content Placeholder 48">
            <a:extLst>
              <a:ext uri="{FF2B5EF4-FFF2-40B4-BE49-F238E27FC236}">
                <a16:creationId xmlns:a16="http://schemas.microsoft.com/office/drawing/2014/main" id="{0469D131-BDCA-7A7E-D63E-4BF2405CA706}"/>
              </a:ext>
            </a:extLst>
          </p:cNvPr>
          <p:cNvSpPr>
            <a:spLocks noGrp="1"/>
          </p:cNvSpPr>
          <p:nvPr>
            <p:ph idx="1"/>
          </p:nvPr>
        </p:nvSpPr>
        <p:spPr>
          <a:xfrm>
            <a:off x="527051" y="3721099"/>
            <a:ext cx="7315199" cy="990593"/>
          </a:xfrm>
        </p:spPr>
        <p:txBody>
          <a:bodyPr/>
          <a:lstStyle/>
          <a:p>
            <a:r>
              <a:rPr lang="en-US" u="sng"/>
              <a:t>Rohit Aggarwal</a:t>
            </a:r>
            <a:r>
              <a:rPr lang="en-US"/>
              <a:t>,</a:t>
            </a:r>
            <a:r>
              <a:rPr lang="en-US" baseline="30000"/>
              <a:t>1 </a:t>
            </a:r>
            <a:r>
              <a:rPr lang="en-US"/>
              <a:t>Sebastian C. Rodriguez-Garcia,</a:t>
            </a:r>
            <a:r>
              <a:rPr lang="en-US" baseline="30000"/>
              <a:t>2</a:t>
            </a:r>
            <a:r>
              <a:rPr lang="en-US"/>
              <a:t> Agna Neto,</a:t>
            </a:r>
            <a:r>
              <a:rPr lang="en-US" baseline="30000"/>
              <a:t>2</a:t>
            </a:r>
            <a:r>
              <a:rPr lang="en-US"/>
              <a:t> Despoina Papadopoulou,</a:t>
            </a:r>
            <a:r>
              <a:rPr lang="en-US" baseline="30000"/>
              <a:t>2</a:t>
            </a:r>
            <a:r>
              <a:rPr lang="en-US"/>
              <a:t> </a:t>
            </a:r>
            <a:br>
              <a:rPr lang="en-US"/>
            </a:br>
            <a:r>
              <a:rPr lang="en-US"/>
              <a:t>Ben Van Baelen,</a:t>
            </a:r>
            <a:r>
              <a:rPr lang="en-US" baseline="30000"/>
              <a:t>2</a:t>
            </a:r>
            <a:r>
              <a:rPr lang="en-US"/>
              <a:t> Paul Duncombe,</a:t>
            </a:r>
            <a:r>
              <a:rPr lang="en-US" baseline="30000"/>
              <a:t>2</a:t>
            </a:r>
            <a:r>
              <a:rPr lang="en-US"/>
              <a:t> Leentje De Ceuninck,</a:t>
            </a:r>
            <a:r>
              <a:rPr lang="en-US" baseline="30000"/>
              <a:t>2</a:t>
            </a:r>
            <a:r>
              <a:rPr lang="en-US"/>
              <a:t> Bas Van Der Woning,</a:t>
            </a:r>
            <a:r>
              <a:rPr lang="en-US" baseline="30000"/>
              <a:t>2</a:t>
            </a:r>
            <a:r>
              <a:rPr lang="en-US"/>
              <a:t> Hector Chinoy</a:t>
            </a:r>
            <a:r>
              <a:rPr lang="en-US" baseline="30000"/>
              <a:t>3,4</a:t>
            </a:r>
            <a:r>
              <a:rPr lang="en-US"/>
              <a:t> </a:t>
            </a:r>
            <a:endParaRPr lang="en-US" baseline="30000" noProof="0">
              <a:solidFill>
                <a:schemeClr val="tx2">
                  <a:lumMod val="75000"/>
                </a:schemeClr>
              </a:solidFill>
            </a:endParaRPr>
          </a:p>
        </p:txBody>
      </p:sp>
      <p:sp>
        <p:nvSpPr>
          <p:cNvPr id="18" name="Content Placeholder 7">
            <a:extLst>
              <a:ext uri="{FF2B5EF4-FFF2-40B4-BE49-F238E27FC236}">
                <a16:creationId xmlns:a16="http://schemas.microsoft.com/office/drawing/2014/main" id="{566117BF-9541-D4F1-5F2C-33B3EC8170C6}"/>
              </a:ext>
            </a:extLst>
          </p:cNvPr>
          <p:cNvSpPr>
            <a:spLocks noGrp="1"/>
          </p:cNvSpPr>
          <p:nvPr>
            <p:ph idx="10"/>
          </p:nvPr>
        </p:nvSpPr>
        <p:spPr>
          <a:xfrm>
            <a:off x="527051" y="4757423"/>
            <a:ext cx="7315199" cy="1554477"/>
          </a:xfrm>
        </p:spPr>
        <p:txBody>
          <a:bodyPr/>
          <a:lstStyle/>
          <a:p>
            <a:r>
              <a:rPr lang="en-US" baseline="30000"/>
              <a:t>1</a:t>
            </a:r>
            <a:r>
              <a:rPr lang="en-US"/>
              <a:t>University of Pittsburgh Medical Center, Pittsburgh, PA, USA;</a:t>
            </a:r>
            <a:r>
              <a:rPr lang="en-US" baseline="30000"/>
              <a:t> 2</a:t>
            </a:r>
            <a:r>
              <a:rPr lang="en-US"/>
              <a:t>argenx, Ghent, Belgium; </a:t>
            </a:r>
            <a:r>
              <a:rPr lang="en-US" baseline="30000"/>
              <a:t>3</a:t>
            </a:r>
            <a:r>
              <a:rPr lang="en-US"/>
              <a:t>Salford Royal Hospital, Northern Care Alliance NHS Foundation Trust, Manchester Academic Health Science Centre, Salford, UK; </a:t>
            </a:r>
            <a:r>
              <a:rPr lang="en-US" baseline="30000"/>
              <a:t>4</a:t>
            </a:r>
            <a:r>
              <a:rPr lang="en-US"/>
              <a:t>Division of Musculoskeletal and Dermatological Sciences, Faculty of Biology, Medicine and Health, The University of Manchester, Manchester, UK</a:t>
            </a:r>
            <a:endParaRPr lang="en-US" noProof="0">
              <a:ea typeface="Arial" panose="020B0604020202020204" pitchFamily="34" charset="0"/>
              <a:cs typeface="Calibri" panose="020F0502020204030204" pitchFamily="34" charset="0"/>
            </a:endParaRPr>
          </a:p>
        </p:txBody>
      </p:sp>
      <p:cxnSp>
        <p:nvCxnSpPr>
          <p:cNvPr id="19" name="Straight Connector 18">
            <a:extLst>
              <a:ext uri="{FF2B5EF4-FFF2-40B4-BE49-F238E27FC236}">
                <a16:creationId xmlns:a16="http://schemas.microsoft.com/office/drawing/2014/main" id="{0DBE6DC6-9965-7575-4BBD-1B6AC0E5FF7F}"/>
              </a:ext>
            </a:extLst>
          </p:cNvPr>
          <p:cNvCxnSpPr>
            <a:cxnSpLocks/>
          </p:cNvCxnSpPr>
          <p:nvPr/>
        </p:nvCxnSpPr>
        <p:spPr>
          <a:xfrm flipH="1">
            <a:off x="527051" y="4600864"/>
            <a:ext cx="7315199"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F133A34-7215-4995-0D92-A540E8816301}"/>
              </a:ext>
            </a:extLst>
          </p:cNvPr>
          <p:cNvSpPr/>
          <p:nvPr/>
        </p:nvSpPr>
        <p:spPr>
          <a:xfrm>
            <a:off x="11158850" y="5824850"/>
            <a:ext cx="914400" cy="914400"/>
          </a:xfrm>
          <a:prstGeom prst="rect">
            <a:avLst/>
          </a:prstGeom>
          <a:solidFill>
            <a:schemeClr val="accent3">
              <a:lumMod val="50000"/>
              <a:alpha val="75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FCDE0F80-F6F6-23F2-2607-94679495D5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53828" y="5824851"/>
            <a:ext cx="914400" cy="914400"/>
          </a:xfrm>
          <a:prstGeom prst="rect">
            <a:avLst/>
          </a:prstGeom>
        </p:spPr>
      </p:pic>
    </p:spTree>
    <p:extLst>
      <p:ext uri="{BB962C8B-B14F-4D97-AF65-F5344CB8AC3E}">
        <p14:creationId xmlns:p14="http://schemas.microsoft.com/office/powerpoint/2010/main" val="158126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40906-CA07-1881-09CB-927B35648883}"/>
            </a:ext>
          </a:extLst>
        </p:cNvPr>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13F304E-D89A-770E-7F20-4883C5087903}"/>
              </a:ext>
            </a:extLst>
          </p:cNvPr>
          <p:cNvSpPr>
            <a:spLocks noGrp="1"/>
          </p:cNvSpPr>
          <p:nvPr>
            <p:ph idx="1"/>
          </p:nvPr>
        </p:nvSpPr>
        <p:spPr>
          <a:xfrm>
            <a:off x="361947" y="1600200"/>
            <a:ext cx="3370081" cy="4417694"/>
          </a:xfrm>
        </p:spPr>
        <p:txBody>
          <a:bodyPr/>
          <a:lstStyle/>
          <a:p>
            <a:pPr lvl="1"/>
            <a:r>
              <a:rPr lang="en-US" noProof="0"/>
              <a:t>A </a:t>
            </a:r>
            <a:r>
              <a:rPr lang="en-US" b="1" noProof="0">
                <a:solidFill>
                  <a:schemeClr val="accent3"/>
                </a:solidFill>
              </a:rPr>
              <a:t>significant proportion </a:t>
            </a:r>
            <a:r>
              <a:rPr lang="en-US" noProof="0"/>
              <a:t>of participants in the </a:t>
            </a:r>
            <a:r>
              <a:rPr lang="en-US" b="1" noProof="0">
                <a:solidFill>
                  <a:schemeClr val="accent3"/>
                </a:solidFill>
              </a:rPr>
              <a:t>efgartigimod PH20 SC arm</a:t>
            </a:r>
            <a:r>
              <a:rPr lang="en-US" noProof="0"/>
              <a:t> had a </a:t>
            </a:r>
            <a:r>
              <a:rPr lang="en-US" b="1" noProof="0">
                <a:solidFill>
                  <a:schemeClr val="accent3"/>
                </a:solidFill>
              </a:rPr>
              <a:t>minimal (TIS ≥20), moderate (TIS ≥40), </a:t>
            </a:r>
            <a:br>
              <a:rPr lang="en-US" b="1" noProof="0">
                <a:solidFill>
                  <a:schemeClr val="accent3"/>
                </a:solidFill>
              </a:rPr>
            </a:br>
            <a:r>
              <a:rPr lang="en-US" b="1" noProof="0">
                <a:solidFill>
                  <a:schemeClr val="accent3"/>
                </a:solidFill>
              </a:rPr>
              <a:t>or major (TIS ≥60) clinical improvement</a:t>
            </a:r>
            <a:r>
              <a:rPr lang="en-US" noProof="0"/>
              <a:t> at Week 24 compared with the </a:t>
            </a:r>
            <a:br>
              <a:rPr lang="en-US" noProof="0"/>
            </a:br>
            <a:r>
              <a:rPr lang="en-US" noProof="0"/>
              <a:t>placebo PH20 SC arm</a:t>
            </a:r>
          </a:p>
          <a:p>
            <a:pPr marL="179070" lvl="1" indent="-179070">
              <a:spcBef>
                <a:spcPts val="500"/>
              </a:spcBef>
              <a:buClr>
                <a:srgbClr val="91C353"/>
              </a:buClr>
              <a:defRPr/>
            </a:pPr>
            <a:r>
              <a:rPr lang="en-US">
                <a:ea typeface="Calibri"/>
                <a:cs typeface="Calibri"/>
              </a:rPr>
              <a:t>Efgartigimod led to faster clinical improvement versus placebo</a:t>
            </a:r>
            <a:r>
              <a:rPr lang="en-GB">
                <a:solidFill>
                  <a:srgbClr val="5A5A5A"/>
                </a:solidFill>
              </a:rPr>
              <a:t>: </a:t>
            </a:r>
            <a:endParaRPr lang="en-GB">
              <a:solidFill>
                <a:srgbClr val="5A5A5A"/>
              </a:solidFill>
              <a:ea typeface="Calibri" panose="020F0502020204030204"/>
              <a:cs typeface="Calibri" panose="020F0502020204030204"/>
            </a:endParaRPr>
          </a:p>
          <a:p>
            <a:pPr marL="342900" lvl="2" indent="-114300">
              <a:spcBef>
                <a:spcPts val="500"/>
              </a:spcBef>
              <a:buClr>
                <a:srgbClr val="91C353"/>
              </a:buClr>
              <a:defRPr/>
            </a:pPr>
            <a:r>
              <a:rPr lang="en-GB" b="1">
                <a:solidFill>
                  <a:srgbClr val="5A5A5A"/>
                </a:solidFill>
                <a:ea typeface="Calibri"/>
                <a:cs typeface="Calibri"/>
              </a:rPr>
              <a:t> </a:t>
            </a:r>
            <a:r>
              <a:rPr lang="en-GB" b="1">
                <a:solidFill>
                  <a:srgbClr val="0B436E"/>
                </a:solidFill>
                <a:ea typeface="Calibri"/>
                <a:cs typeface="Calibri"/>
              </a:rPr>
              <a:t>Median time to TIS ≥20: 30 vs 72 days</a:t>
            </a:r>
            <a:br>
              <a:rPr lang="en-GB" b="1">
                <a:solidFill>
                  <a:srgbClr val="0B436E"/>
                </a:solidFill>
                <a:ea typeface="Calibri"/>
                <a:cs typeface="Calibri"/>
              </a:rPr>
            </a:br>
            <a:r>
              <a:rPr lang="en-GB" b="1">
                <a:solidFill>
                  <a:srgbClr val="0B436E"/>
                </a:solidFill>
                <a:ea typeface="Calibri"/>
                <a:cs typeface="Calibri"/>
              </a:rPr>
              <a:t>(</a:t>
            </a:r>
            <a:r>
              <a:rPr lang="en-GB" b="1" i="1">
                <a:solidFill>
                  <a:srgbClr val="0B436E"/>
                </a:solidFill>
                <a:ea typeface="Calibri"/>
                <a:cs typeface="Calibri"/>
              </a:rPr>
              <a:t>P</a:t>
            </a:r>
            <a:r>
              <a:rPr lang="en-GB" b="1">
                <a:solidFill>
                  <a:srgbClr val="0B436E"/>
                </a:solidFill>
                <a:ea typeface="Calibri"/>
                <a:cs typeface="Calibri"/>
              </a:rPr>
              <a:t>=.0020)</a:t>
            </a:r>
          </a:p>
          <a:p>
            <a:pPr marL="342900" lvl="2" indent="-114300">
              <a:spcBef>
                <a:spcPts val="500"/>
              </a:spcBef>
              <a:buClr>
                <a:srgbClr val="91C353"/>
              </a:buClr>
              <a:defRPr/>
            </a:pPr>
            <a:r>
              <a:rPr lang="en-GB" b="1">
                <a:solidFill>
                  <a:srgbClr val="0B436E"/>
                </a:solidFill>
                <a:ea typeface="Calibri"/>
                <a:cs typeface="Calibri"/>
              </a:rPr>
              <a:t> Median time to TIS ≥40: 113 days vs not estimable (</a:t>
            </a:r>
            <a:r>
              <a:rPr lang="en-GB" b="1" i="1">
                <a:solidFill>
                  <a:srgbClr val="0B436E"/>
                </a:solidFill>
                <a:ea typeface="Calibri"/>
                <a:cs typeface="Calibri"/>
              </a:rPr>
              <a:t>P</a:t>
            </a:r>
            <a:r>
              <a:rPr lang="en-GB" b="1">
                <a:solidFill>
                  <a:srgbClr val="0B436E"/>
                </a:solidFill>
                <a:ea typeface="Calibri"/>
                <a:cs typeface="Calibri"/>
              </a:rPr>
              <a:t>=.0293)</a:t>
            </a:r>
          </a:p>
          <a:p>
            <a:pPr lvl="1"/>
            <a:endParaRPr lang="en-US" noProof="0"/>
          </a:p>
        </p:txBody>
      </p:sp>
      <p:sp>
        <p:nvSpPr>
          <p:cNvPr id="5" name="Slide Number Placeholder 4">
            <a:extLst>
              <a:ext uri="{FF2B5EF4-FFF2-40B4-BE49-F238E27FC236}">
                <a16:creationId xmlns:a16="http://schemas.microsoft.com/office/drawing/2014/main" id="{D2286993-EDB9-2A96-81F5-BAF395E655B7}"/>
              </a:ext>
            </a:extLst>
          </p:cNvPr>
          <p:cNvSpPr>
            <a:spLocks noGrp="1"/>
          </p:cNvSpPr>
          <p:nvPr>
            <p:ph type="sldNum" sz="quarter" idx="4"/>
          </p:nvPr>
        </p:nvSpPr>
        <p:spPr/>
        <p:txBody>
          <a:bodyPr/>
          <a:lstStyle/>
          <a:p>
            <a:fld id="{A366880C-2072-4A02-B747-1981AA856017}" type="slidenum">
              <a:rPr lang="en-US" noProof="0" smtClean="0"/>
              <a:pPr/>
              <a:t>10</a:t>
            </a:fld>
            <a:endParaRPr lang="en-US" noProof="0"/>
          </a:p>
        </p:txBody>
      </p:sp>
      <p:sp>
        <p:nvSpPr>
          <p:cNvPr id="12" name="Footer Placeholder 12">
            <a:extLst>
              <a:ext uri="{FF2B5EF4-FFF2-40B4-BE49-F238E27FC236}">
                <a16:creationId xmlns:a16="http://schemas.microsoft.com/office/drawing/2014/main" id="{6BAEE43C-D797-0516-2DB4-BC1CABE086D5}"/>
              </a:ext>
            </a:extLst>
          </p:cNvPr>
          <p:cNvSpPr>
            <a:spLocks noGrp="1"/>
          </p:cNvSpPr>
          <p:nvPr>
            <p:ph type="ftr" sz="quarter" idx="3"/>
          </p:nvPr>
        </p:nvSpPr>
        <p:spPr>
          <a:xfrm>
            <a:off x="904875" y="6332995"/>
            <a:ext cx="10925176" cy="350865"/>
          </a:xfrm>
          <a:noFill/>
        </p:spPr>
        <p:txBody>
          <a:bodyPr vert="horz" wrap="square" lIns="0" tIns="0" rIns="0" bIns="0" rtlCol="0" anchor="b">
            <a:spAutoFit/>
          </a:bodyPr>
          <a:lstStyle>
            <a:lvl1pPr algn="l">
              <a:lnSpc>
                <a:spcPct val="95000"/>
              </a:lnSpc>
              <a:spcBef>
                <a:spcPts val="400"/>
              </a:spcBef>
              <a:defRPr lang="en-US" sz="800" b="0">
                <a:solidFill>
                  <a:schemeClr val="tx2">
                    <a:lumMod val="75000"/>
                  </a:schemeClr>
                </a:solidFill>
                <a:latin typeface="+mn-lt"/>
              </a:defRPr>
            </a:lvl1pPr>
          </a:lstStyle>
          <a:p>
            <a:r>
              <a:rPr lang="en-US"/>
              <a:t>PH20, recombinant human hyaluronidase PH20; SC, subcutaneous; TIS, Total Improvement Score.</a:t>
            </a:r>
            <a:br>
              <a:rPr lang="en-US"/>
            </a:br>
            <a:r>
              <a:rPr lang="en-US" noProof="0"/>
              <a:t>*Statistical significance met in endpoint’s preplanned supplemental analysis. </a:t>
            </a:r>
            <a:r>
              <a:rPr lang="en-US" baseline="30000" noProof="0"/>
              <a:t>†</a:t>
            </a:r>
            <a:r>
              <a:rPr lang="en-US" noProof="0"/>
              <a:t>Statistical significance met in endpoint’s primary and preplanned supplemental analysis.</a:t>
            </a:r>
            <a:br>
              <a:rPr lang="en-US" noProof="0"/>
            </a:br>
            <a:r>
              <a:rPr lang="en-US"/>
              <a:t>Note: All </a:t>
            </a:r>
            <a:r>
              <a:rPr lang="en-US" i="1"/>
              <a:t>P</a:t>
            </a:r>
            <a:r>
              <a:rPr lang="en-US"/>
              <a:t> values provided are nominal </a:t>
            </a:r>
            <a:r>
              <a:rPr lang="en-US" i="1"/>
              <a:t>P</a:t>
            </a:r>
            <a:r>
              <a:rPr lang="en-US"/>
              <a:t> values.</a:t>
            </a:r>
            <a:r>
              <a:rPr lang="en-US" noProof="0"/>
              <a:t> </a:t>
            </a:r>
          </a:p>
        </p:txBody>
      </p:sp>
      <p:sp>
        <p:nvSpPr>
          <p:cNvPr id="21" name="Title 20">
            <a:extLst>
              <a:ext uri="{FF2B5EF4-FFF2-40B4-BE49-F238E27FC236}">
                <a16:creationId xmlns:a16="http://schemas.microsoft.com/office/drawing/2014/main" id="{40235F3A-8E5C-AB56-D6EA-16A8C33DD09D}"/>
              </a:ext>
            </a:extLst>
          </p:cNvPr>
          <p:cNvSpPr>
            <a:spLocks noGrp="1"/>
          </p:cNvSpPr>
          <p:nvPr>
            <p:ph type="title"/>
          </p:nvPr>
        </p:nvSpPr>
        <p:spPr/>
        <p:txBody>
          <a:bodyPr wrap="none"/>
          <a:lstStyle/>
          <a:p>
            <a:r>
              <a:rPr kumimoji="0" lang="en-US" sz="2200" b="1" i="0" u="none" strike="noStrike" kern="0" cap="none" spc="0" normalizeH="0" baseline="0" noProof="0">
                <a:ln>
                  <a:noFill/>
                </a:ln>
                <a:solidFill>
                  <a:srgbClr val="0B436E"/>
                </a:solidFill>
                <a:effectLst/>
                <a:uLnTx/>
                <a:uFillTx/>
                <a:latin typeface="Calibri" panose="020F0502020204030204"/>
                <a:ea typeface="+mn-ea"/>
                <a:cs typeface="+mn-cs"/>
              </a:rPr>
              <a:t>Proportion of Participants </a:t>
            </a:r>
            <a:r>
              <a:rPr kumimoji="0" lang="en-US" sz="2200" b="0" i="0" u="none" strike="noStrike" kern="0" cap="none" spc="0" normalizeH="0" baseline="0" noProof="0">
                <a:ln>
                  <a:noFill/>
                </a:ln>
                <a:solidFill>
                  <a:srgbClr val="0B436E"/>
                </a:solidFill>
                <a:effectLst/>
                <a:uLnTx/>
                <a:uFillTx/>
                <a:latin typeface="Calibri" panose="020F0502020204030204"/>
                <a:ea typeface="+mn-ea"/>
                <a:cs typeface="+mn-cs"/>
              </a:rPr>
              <a:t>With TIS ≥20, ≥40, and ≥60 at Week 24</a:t>
            </a:r>
            <a:endParaRPr lang="en-US" noProof="0"/>
          </a:p>
        </p:txBody>
      </p:sp>
      <p:grpSp>
        <p:nvGrpSpPr>
          <p:cNvPr id="14" name="Group 13">
            <a:extLst>
              <a:ext uri="{FF2B5EF4-FFF2-40B4-BE49-F238E27FC236}">
                <a16:creationId xmlns:a16="http://schemas.microsoft.com/office/drawing/2014/main" id="{04C81124-FC71-688A-C5E8-F38E749DB525}"/>
              </a:ext>
            </a:extLst>
          </p:cNvPr>
          <p:cNvGrpSpPr/>
          <p:nvPr/>
        </p:nvGrpSpPr>
        <p:grpSpPr>
          <a:xfrm>
            <a:off x="450101" y="372840"/>
            <a:ext cx="458325" cy="590985"/>
            <a:chOff x="8937091" y="3843476"/>
            <a:chExt cx="636436" cy="820650"/>
          </a:xfrm>
        </p:grpSpPr>
        <p:sp>
          <p:nvSpPr>
            <p:cNvPr id="15" name="Freeform 14">
              <a:extLst>
                <a:ext uri="{FF2B5EF4-FFF2-40B4-BE49-F238E27FC236}">
                  <a16:creationId xmlns:a16="http://schemas.microsoft.com/office/drawing/2014/main" id="{56D73935-A150-4115-6D33-86E2B611E1A6}"/>
                </a:ext>
              </a:extLst>
            </p:cNvPr>
            <p:cNvSpPr/>
            <p:nvPr/>
          </p:nvSpPr>
          <p:spPr>
            <a:xfrm>
              <a:off x="9120057" y="3843476"/>
              <a:ext cx="307721" cy="820650"/>
            </a:xfrm>
            <a:custGeom>
              <a:avLst/>
              <a:gdLst>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4 w 270502"/>
                <a:gd name="connsiteY39" fmla="*/ 30058 h 721392"/>
                <a:gd name="connsiteX40" fmla="*/ 90148 w 270502"/>
                <a:gd name="connsiteY40" fmla="*/ 75145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90149 w 270502"/>
                <a:gd name="connsiteY44" fmla="*/ 75145 h 721392"/>
                <a:gd name="connsiteX45" fmla="*/ 103382 w 270502"/>
                <a:gd name="connsiteY45" fmla="*/ 43280 h 721392"/>
                <a:gd name="connsiteX46" fmla="*/ 135235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90149 w 270502"/>
                <a:gd name="connsiteY45" fmla="*/ 75145 h 721392"/>
                <a:gd name="connsiteX46" fmla="*/ 135235 w 270502"/>
                <a:gd name="connsiteY46" fmla="*/ 30058 h 721392"/>
                <a:gd name="connsiteX47" fmla="*/ 135234 w 270502"/>
                <a:gd name="connsiteY47" fmla="*/ 30058 h 721392"/>
                <a:gd name="connsiteX48" fmla="*/ 135234 w 270502"/>
                <a:gd name="connsiteY48" fmla="*/ 0 h 721392"/>
                <a:gd name="connsiteX49" fmla="*/ 210379 w 270502"/>
                <a:gd name="connsiteY49" fmla="*/ 75145 h 721392"/>
                <a:gd name="connsiteX50" fmla="*/ 135234 w 270502"/>
                <a:gd name="connsiteY50" fmla="*/ 150290 h 721392"/>
                <a:gd name="connsiteX51" fmla="*/ 60089 w 270502"/>
                <a:gd name="connsiteY51" fmla="*/ 75145 h 721392"/>
                <a:gd name="connsiteX52" fmla="*/ 135234 w 270502"/>
                <a:gd name="connsiteY52"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0 h 721392"/>
                <a:gd name="connsiteX47" fmla="*/ 210379 w 270502"/>
                <a:gd name="connsiteY47" fmla="*/ 75145 h 721392"/>
                <a:gd name="connsiteX48" fmla="*/ 135234 w 270502"/>
                <a:gd name="connsiteY48" fmla="*/ 150290 h 721392"/>
                <a:gd name="connsiteX49" fmla="*/ 60089 w 270502"/>
                <a:gd name="connsiteY49" fmla="*/ 75145 h 721392"/>
                <a:gd name="connsiteX50" fmla="*/ 135234 w 270502"/>
                <a:gd name="connsiteY50"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5 w 270502"/>
                <a:gd name="connsiteY44" fmla="*/ 30058 h 721392"/>
                <a:gd name="connsiteX45" fmla="*/ 135234 w 270502"/>
                <a:gd name="connsiteY45" fmla="*/ 0 h 721392"/>
                <a:gd name="connsiteX46" fmla="*/ 210379 w 270502"/>
                <a:gd name="connsiteY46" fmla="*/ 75145 h 721392"/>
                <a:gd name="connsiteX47" fmla="*/ 135234 w 270502"/>
                <a:gd name="connsiteY47" fmla="*/ 150290 h 721392"/>
                <a:gd name="connsiteX48" fmla="*/ 60089 w 270502"/>
                <a:gd name="connsiteY48" fmla="*/ 75145 h 721392"/>
                <a:gd name="connsiteX49" fmla="*/ 135234 w 270502"/>
                <a:gd name="connsiteY49"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03371 w 270502"/>
                <a:gd name="connsiteY40" fmla="*/ 107010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4 w 270502"/>
                <a:gd name="connsiteY44" fmla="*/ 0 h 721392"/>
                <a:gd name="connsiteX45" fmla="*/ 210379 w 270502"/>
                <a:gd name="connsiteY45" fmla="*/ 75145 h 721392"/>
                <a:gd name="connsiteX46" fmla="*/ 135234 w 270502"/>
                <a:gd name="connsiteY46" fmla="*/ 150290 h 721392"/>
                <a:gd name="connsiteX47" fmla="*/ 60089 w 270502"/>
                <a:gd name="connsiteY47" fmla="*/ 75145 h 721392"/>
                <a:gd name="connsiteX48" fmla="*/ 135234 w 270502"/>
                <a:gd name="connsiteY48"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120232 h 721392"/>
                <a:gd name="connsiteX41" fmla="*/ 135234 w 270502"/>
                <a:gd name="connsiteY41" fmla="*/ 120232 h 721392"/>
                <a:gd name="connsiteX42" fmla="*/ 135235 w 270502"/>
                <a:gd name="connsiteY42" fmla="*/ 120232 h 721392"/>
                <a:gd name="connsiteX43" fmla="*/ 135234 w 270502"/>
                <a:gd name="connsiteY43" fmla="*/ 0 h 721392"/>
                <a:gd name="connsiteX44" fmla="*/ 210379 w 270502"/>
                <a:gd name="connsiteY44" fmla="*/ 75145 h 721392"/>
                <a:gd name="connsiteX45" fmla="*/ 135234 w 270502"/>
                <a:gd name="connsiteY45" fmla="*/ 150290 h 721392"/>
                <a:gd name="connsiteX46" fmla="*/ 60089 w 270502"/>
                <a:gd name="connsiteY46" fmla="*/ 75145 h 721392"/>
                <a:gd name="connsiteX47" fmla="*/ 135234 w 270502"/>
                <a:gd name="connsiteY47" fmla="*/ 0 h 721392"/>
                <a:gd name="connsiteX0" fmla="*/ 35142 w 270502"/>
                <a:gd name="connsiteY0" fmla="*/ 447684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5 w 270502"/>
                <a:gd name="connsiteY39" fmla="*/ 120232 h 721392"/>
                <a:gd name="connsiteX40" fmla="*/ 135234 w 270502"/>
                <a:gd name="connsiteY40" fmla="*/ 120232 h 721392"/>
                <a:gd name="connsiteX41" fmla="*/ 135235 w 270502"/>
                <a:gd name="connsiteY41" fmla="*/ 120232 h 721392"/>
                <a:gd name="connsiteX42" fmla="*/ 135234 w 270502"/>
                <a:gd name="connsiteY42" fmla="*/ 0 h 721392"/>
                <a:gd name="connsiteX43" fmla="*/ 210379 w 270502"/>
                <a:gd name="connsiteY43" fmla="*/ 75145 h 721392"/>
                <a:gd name="connsiteX44" fmla="*/ 135234 w 270502"/>
                <a:gd name="connsiteY44" fmla="*/ 150290 h 721392"/>
                <a:gd name="connsiteX45" fmla="*/ 60089 w 270502"/>
                <a:gd name="connsiteY45" fmla="*/ 75145 h 721392"/>
                <a:gd name="connsiteX46" fmla="*/ 135234 w 270502"/>
                <a:gd name="connsiteY46" fmla="*/ 0 h 721392"/>
                <a:gd name="connsiteX0" fmla="*/ 35142 w 270502"/>
                <a:gd name="connsiteY0" fmla="*/ 447684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35142 w 270502"/>
                <a:gd name="connsiteY22" fmla="*/ 447684 h 721392"/>
                <a:gd name="connsiteX23" fmla="*/ 96852 w 270502"/>
                <a:gd name="connsiteY23" fmla="*/ 180349 h 721392"/>
                <a:gd name="connsiteX24" fmla="*/ 173589 w 270502"/>
                <a:gd name="connsiteY24" fmla="*/ 180349 h 721392"/>
                <a:gd name="connsiteX25" fmla="*/ 250238 w 270502"/>
                <a:gd name="connsiteY25" fmla="*/ 253359 h 721392"/>
                <a:gd name="connsiteX26" fmla="*/ 270166 w 270502"/>
                <a:gd name="connsiteY26" fmla="*/ 427937 h 721392"/>
                <a:gd name="connsiteX27" fmla="*/ 257782 w 270502"/>
                <a:gd name="connsiteY27" fmla="*/ 467703 h 721392"/>
                <a:gd name="connsiteX28" fmla="*/ 226913 w 270502"/>
                <a:gd name="connsiteY28" fmla="*/ 482882 h 721392"/>
                <a:gd name="connsiteX29" fmla="*/ 210320 w 270502"/>
                <a:gd name="connsiteY29" fmla="*/ 707475 h 721392"/>
                <a:gd name="connsiteX30" fmla="*/ 195351 w 270502"/>
                <a:gd name="connsiteY30" fmla="*/ 721392 h 721392"/>
                <a:gd name="connsiteX31" fmla="*/ 75119 w 270502"/>
                <a:gd name="connsiteY31" fmla="*/ 721392 h 721392"/>
                <a:gd name="connsiteX32" fmla="*/ 60151 w 270502"/>
                <a:gd name="connsiteY32" fmla="*/ 707475 h 721392"/>
                <a:gd name="connsiteX33" fmla="*/ 43558 w 270502"/>
                <a:gd name="connsiteY33" fmla="*/ 482882 h 721392"/>
                <a:gd name="connsiteX34" fmla="*/ 12689 w 270502"/>
                <a:gd name="connsiteY34" fmla="*/ 467703 h 721392"/>
                <a:gd name="connsiteX35" fmla="*/ 335 w 270502"/>
                <a:gd name="connsiteY35" fmla="*/ 427937 h 721392"/>
                <a:gd name="connsiteX36" fmla="*/ 20264 w 270502"/>
                <a:gd name="connsiteY36" fmla="*/ 253359 h 721392"/>
                <a:gd name="connsiteX37" fmla="*/ 96852 w 270502"/>
                <a:gd name="connsiteY37" fmla="*/ 180349 h 721392"/>
                <a:gd name="connsiteX38" fmla="*/ 135235 w 270502"/>
                <a:gd name="connsiteY38" fmla="*/ 120232 h 721392"/>
                <a:gd name="connsiteX39" fmla="*/ 135234 w 270502"/>
                <a:gd name="connsiteY39" fmla="*/ 120232 h 721392"/>
                <a:gd name="connsiteX40" fmla="*/ 135235 w 270502"/>
                <a:gd name="connsiteY40" fmla="*/ 120232 h 721392"/>
                <a:gd name="connsiteX41" fmla="*/ 135234 w 270502"/>
                <a:gd name="connsiteY41" fmla="*/ 0 h 721392"/>
                <a:gd name="connsiteX42" fmla="*/ 210379 w 270502"/>
                <a:gd name="connsiteY42" fmla="*/ 75145 h 721392"/>
                <a:gd name="connsiteX43" fmla="*/ 135234 w 270502"/>
                <a:gd name="connsiteY43" fmla="*/ 150290 h 721392"/>
                <a:gd name="connsiteX44" fmla="*/ 60089 w 270502"/>
                <a:gd name="connsiteY44" fmla="*/ 75145 h 721392"/>
                <a:gd name="connsiteX45" fmla="*/ 135234 w 270502"/>
                <a:gd name="connsiteY45" fmla="*/ 0 h 721392"/>
                <a:gd name="connsiteX0" fmla="*/ 46144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96852 w 270502"/>
                <a:gd name="connsiteY22" fmla="*/ 180349 h 721392"/>
                <a:gd name="connsiteX23" fmla="*/ 173589 w 270502"/>
                <a:gd name="connsiteY23" fmla="*/ 180349 h 721392"/>
                <a:gd name="connsiteX24" fmla="*/ 250238 w 270502"/>
                <a:gd name="connsiteY24" fmla="*/ 253359 h 721392"/>
                <a:gd name="connsiteX25" fmla="*/ 270166 w 270502"/>
                <a:gd name="connsiteY25" fmla="*/ 427937 h 721392"/>
                <a:gd name="connsiteX26" fmla="*/ 257782 w 270502"/>
                <a:gd name="connsiteY26" fmla="*/ 467703 h 721392"/>
                <a:gd name="connsiteX27" fmla="*/ 226913 w 270502"/>
                <a:gd name="connsiteY27" fmla="*/ 482882 h 721392"/>
                <a:gd name="connsiteX28" fmla="*/ 210320 w 270502"/>
                <a:gd name="connsiteY28" fmla="*/ 707475 h 721392"/>
                <a:gd name="connsiteX29" fmla="*/ 195351 w 270502"/>
                <a:gd name="connsiteY29" fmla="*/ 721392 h 721392"/>
                <a:gd name="connsiteX30" fmla="*/ 75119 w 270502"/>
                <a:gd name="connsiteY30" fmla="*/ 721392 h 721392"/>
                <a:gd name="connsiteX31" fmla="*/ 60151 w 270502"/>
                <a:gd name="connsiteY31" fmla="*/ 707475 h 721392"/>
                <a:gd name="connsiteX32" fmla="*/ 43558 w 270502"/>
                <a:gd name="connsiteY32" fmla="*/ 482882 h 721392"/>
                <a:gd name="connsiteX33" fmla="*/ 12689 w 270502"/>
                <a:gd name="connsiteY33" fmla="*/ 467703 h 721392"/>
                <a:gd name="connsiteX34" fmla="*/ 335 w 270502"/>
                <a:gd name="connsiteY34" fmla="*/ 427937 h 721392"/>
                <a:gd name="connsiteX35" fmla="*/ 20264 w 270502"/>
                <a:gd name="connsiteY35" fmla="*/ 253359 h 721392"/>
                <a:gd name="connsiteX36" fmla="*/ 96852 w 270502"/>
                <a:gd name="connsiteY36" fmla="*/ 180349 h 721392"/>
                <a:gd name="connsiteX37" fmla="*/ 135235 w 270502"/>
                <a:gd name="connsiteY37" fmla="*/ 120232 h 721392"/>
                <a:gd name="connsiteX38" fmla="*/ 135234 w 270502"/>
                <a:gd name="connsiteY38" fmla="*/ 120232 h 721392"/>
                <a:gd name="connsiteX39" fmla="*/ 135235 w 270502"/>
                <a:gd name="connsiteY39" fmla="*/ 120232 h 721392"/>
                <a:gd name="connsiteX40" fmla="*/ 135234 w 270502"/>
                <a:gd name="connsiteY40" fmla="*/ 0 h 721392"/>
                <a:gd name="connsiteX41" fmla="*/ 210379 w 270502"/>
                <a:gd name="connsiteY41" fmla="*/ 75145 h 721392"/>
                <a:gd name="connsiteX42" fmla="*/ 135234 w 270502"/>
                <a:gd name="connsiteY42" fmla="*/ 150290 h 721392"/>
                <a:gd name="connsiteX43" fmla="*/ 60089 w 270502"/>
                <a:gd name="connsiteY43" fmla="*/ 75145 h 721392"/>
                <a:gd name="connsiteX44" fmla="*/ 135234 w 270502"/>
                <a:gd name="connsiteY44" fmla="*/ 0 h 721392"/>
                <a:gd name="connsiteX0" fmla="*/ 57565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96852 w 270502"/>
                <a:gd name="connsiteY21" fmla="*/ 180349 h 721392"/>
                <a:gd name="connsiteX22" fmla="*/ 173589 w 270502"/>
                <a:gd name="connsiteY22" fmla="*/ 180349 h 721392"/>
                <a:gd name="connsiteX23" fmla="*/ 250238 w 270502"/>
                <a:gd name="connsiteY23" fmla="*/ 253359 h 721392"/>
                <a:gd name="connsiteX24" fmla="*/ 270166 w 270502"/>
                <a:gd name="connsiteY24" fmla="*/ 427937 h 721392"/>
                <a:gd name="connsiteX25" fmla="*/ 257782 w 270502"/>
                <a:gd name="connsiteY25" fmla="*/ 467703 h 721392"/>
                <a:gd name="connsiteX26" fmla="*/ 226913 w 270502"/>
                <a:gd name="connsiteY26" fmla="*/ 482882 h 721392"/>
                <a:gd name="connsiteX27" fmla="*/ 210320 w 270502"/>
                <a:gd name="connsiteY27" fmla="*/ 707475 h 721392"/>
                <a:gd name="connsiteX28" fmla="*/ 195351 w 270502"/>
                <a:gd name="connsiteY28" fmla="*/ 721392 h 721392"/>
                <a:gd name="connsiteX29" fmla="*/ 75119 w 270502"/>
                <a:gd name="connsiteY29" fmla="*/ 721392 h 721392"/>
                <a:gd name="connsiteX30" fmla="*/ 60151 w 270502"/>
                <a:gd name="connsiteY30" fmla="*/ 707475 h 721392"/>
                <a:gd name="connsiteX31" fmla="*/ 43558 w 270502"/>
                <a:gd name="connsiteY31" fmla="*/ 482882 h 721392"/>
                <a:gd name="connsiteX32" fmla="*/ 12689 w 270502"/>
                <a:gd name="connsiteY32" fmla="*/ 467703 h 721392"/>
                <a:gd name="connsiteX33" fmla="*/ 335 w 270502"/>
                <a:gd name="connsiteY33" fmla="*/ 427937 h 721392"/>
                <a:gd name="connsiteX34" fmla="*/ 20264 w 270502"/>
                <a:gd name="connsiteY34" fmla="*/ 253359 h 721392"/>
                <a:gd name="connsiteX35" fmla="*/ 96852 w 270502"/>
                <a:gd name="connsiteY35" fmla="*/ 180349 h 721392"/>
                <a:gd name="connsiteX36" fmla="*/ 135235 w 270502"/>
                <a:gd name="connsiteY36" fmla="*/ 120232 h 721392"/>
                <a:gd name="connsiteX37" fmla="*/ 135234 w 270502"/>
                <a:gd name="connsiteY37" fmla="*/ 120232 h 721392"/>
                <a:gd name="connsiteX38" fmla="*/ 135235 w 270502"/>
                <a:gd name="connsiteY38" fmla="*/ 120232 h 721392"/>
                <a:gd name="connsiteX39" fmla="*/ 135234 w 270502"/>
                <a:gd name="connsiteY39" fmla="*/ 0 h 721392"/>
                <a:gd name="connsiteX40" fmla="*/ 210379 w 270502"/>
                <a:gd name="connsiteY40" fmla="*/ 75145 h 721392"/>
                <a:gd name="connsiteX41" fmla="*/ 135234 w 270502"/>
                <a:gd name="connsiteY41" fmla="*/ 150290 h 721392"/>
                <a:gd name="connsiteX42" fmla="*/ 60089 w 270502"/>
                <a:gd name="connsiteY42" fmla="*/ 75145 h 721392"/>
                <a:gd name="connsiteX43" fmla="*/ 135234 w 270502"/>
                <a:gd name="connsiteY43" fmla="*/ 0 h 721392"/>
                <a:gd name="connsiteX0" fmla="*/ 72565 w 270502"/>
                <a:gd name="connsiteY0" fmla="*/ 466800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96852 w 270502"/>
                <a:gd name="connsiteY20" fmla="*/ 180349 h 721392"/>
                <a:gd name="connsiteX21" fmla="*/ 173589 w 270502"/>
                <a:gd name="connsiteY21" fmla="*/ 180349 h 721392"/>
                <a:gd name="connsiteX22" fmla="*/ 250238 w 270502"/>
                <a:gd name="connsiteY22" fmla="*/ 253359 h 721392"/>
                <a:gd name="connsiteX23" fmla="*/ 270166 w 270502"/>
                <a:gd name="connsiteY23" fmla="*/ 427937 h 721392"/>
                <a:gd name="connsiteX24" fmla="*/ 257782 w 270502"/>
                <a:gd name="connsiteY24" fmla="*/ 467703 h 721392"/>
                <a:gd name="connsiteX25" fmla="*/ 226913 w 270502"/>
                <a:gd name="connsiteY25" fmla="*/ 482882 h 721392"/>
                <a:gd name="connsiteX26" fmla="*/ 210320 w 270502"/>
                <a:gd name="connsiteY26" fmla="*/ 707475 h 721392"/>
                <a:gd name="connsiteX27" fmla="*/ 195351 w 270502"/>
                <a:gd name="connsiteY27" fmla="*/ 721392 h 721392"/>
                <a:gd name="connsiteX28" fmla="*/ 75119 w 270502"/>
                <a:gd name="connsiteY28" fmla="*/ 721392 h 721392"/>
                <a:gd name="connsiteX29" fmla="*/ 60151 w 270502"/>
                <a:gd name="connsiteY29" fmla="*/ 707475 h 721392"/>
                <a:gd name="connsiteX30" fmla="*/ 43558 w 270502"/>
                <a:gd name="connsiteY30" fmla="*/ 482882 h 721392"/>
                <a:gd name="connsiteX31" fmla="*/ 12689 w 270502"/>
                <a:gd name="connsiteY31" fmla="*/ 467703 h 721392"/>
                <a:gd name="connsiteX32" fmla="*/ 335 w 270502"/>
                <a:gd name="connsiteY32" fmla="*/ 427937 h 721392"/>
                <a:gd name="connsiteX33" fmla="*/ 20264 w 270502"/>
                <a:gd name="connsiteY33" fmla="*/ 253359 h 721392"/>
                <a:gd name="connsiteX34" fmla="*/ 96852 w 270502"/>
                <a:gd name="connsiteY34" fmla="*/ 180349 h 721392"/>
                <a:gd name="connsiteX35" fmla="*/ 135235 w 270502"/>
                <a:gd name="connsiteY35" fmla="*/ 120232 h 721392"/>
                <a:gd name="connsiteX36" fmla="*/ 135234 w 270502"/>
                <a:gd name="connsiteY36" fmla="*/ 120232 h 721392"/>
                <a:gd name="connsiteX37" fmla="*/ 135235 w 270502"/>
                <a:gd name="connsiteY37" fmla="*/ 120232 h 721392"/>
                <a:gd name="connsiteX38" fmla="*/ 135234 w 270502"/>
                <a:gd name="connsiteY38" fmla="*/ 0 h 721392"/>
                <a:gd name="connsiteX39" fmla="*/ 210379 w 270502"/>
                <a:gd name="connsiteY39" fmla="*/ 75145 h 721392"/>
                <a:gd name="connsiteX40" fmla="*/ 135234 w 270502"/>
                <a:gd name="connsiteY40" fmla="*/ 150290 h 721392"/>
                <a:gd name="connsiteX41" fmla="*/ 60089 w 270502"/>
                <a:gd name="connsiteY41" fmla="*/ 75145 h 721392"/>
                <a:gd name="connsiteX42" fmla="*/ 135234 w 270502"/>
                <a:gd name="connsiteY42" fmla="*/ 0 h 721392"/>
                <a:gd name="connsiteX0" fmla="*/ 72565 w 270502"/>
                <a:gd name="connsiteY0" fmla="*/ 466800 h 721392"/>
                <a:gd name="connsiteX1" fmla="*/ 35142 w 270502"/>
                <a:gd name="connsiteY1" fmla="*/ 447685 h 721392"/>
                <a:gd name="connsiteX2" fmla="*/ 57565 w 270502"/>
                <a:gd name="connsiteY2" fmla="*/ 452884 h 721392"/>
                <a:gd name="connsiteX3" fmla="*/ 72565 w 270502"/>
                <a:gd name="connsiteY3" fmla="*/ 466801 h 721392"/>
                <a:gd name="connsiteX4" fmla="*/ 89097 w 270502"/>
                <a:gd name="connsiteY4" fmla="*/ 691334 h 721392"/>
                <a:gd name="connsiteX5" fmla="*/ 181404 w 270502"/>
                <a:gd name="connsiteY5" fmla="*/ 691334 h 721392"/>
                <a:gd name="connsiteX6" fmla="*/ 197967 w 270502"/>
                <a:gd name="connsiteY6" fmla="*/ 466801 h 721392"/>
                <a:gd name="connsiteX7" fmla="*/ 212965 w 270502"/>
                <a:gd name="connsiteY7" fmla="*/ 452884 h 721392"/>
                <a:gd name="connsiteX8" fmla="*/ 224418 w 270502"/>
                <a:gd name="connsiteY8" fmla="*/ 452884 h 721392"/>
                <a:gd name="connsiteX9" fmla="*/ 235419 w 270502"/>
                <a:gd name="connsiteY9" fmla="*/ 447685 h 721392"/>
                <a:gd name="connsiteX10" fmla="*/ 240348 w 270502"/>
                <a:gd name="connsiteY10" fmla="*/ 431333 h 721392"/>
                <a:gd name="connsiteX11" fmla="*/ 240348 w 270502"/>
                <a:gd name="connsiteY11" fmla="*/ 431332 h 721392"/>
                <a:gd name="connsiteX12" fmla="*/ 235419 w 270502"/>
                <a:gd name="connsiteY12" fmla="*/ 447684 h 721392"/>
                <a:gd name="connsiteX13" fmla="*/ 224418 w 270502"/>
                <a:gd name="connsiteY13" fmla="*/ 452883 h 721392"/>
                <a:gd name="connsiteX14" fmla="*/ 212965 w 270502"/>
                <a:gd name="connsiteY14" fmla="*/ 452883 h 721392"/>
                <a:gd name="connsiteX15" fmla="*/ 197967 w 270502"/>
                <a:gd name="connsiteY15" fmla="*/ 466800 h 721392"/>
                <a:gd name="connsiteX16" fmla="*/ 181404 w 270502"/>
                <a:gd name="connsiteY16" fmla="*/ 691333 h 721392"/>
                <a:gd name="connsiteX17" fmla="*/ 89097 w 270502"/>
                <a:gd name="connsiteY17" fmla="*/ 691333 h 721392"/>
                <a:gd name="connsiteX18" fmla="*/ 72565 w 270502"/>
                <a:gd name="connsiteY18" fmla="*/ 466800 h 721392"/>
                <a:gd name="connsiteX19" fmla="*/ 96852 w 270502"/>
                <a:gd name="connsiteY19" fmla="*/ 180349 h 721392"/>
                <a:gd name="connsiteX20" fmla="*/ 173589 w 270502"/>
                <a:gd name="connsiteY20" fmla="*/ 180349 h 721392"/>
                <a:gd name="connsiteX21" fmla="*/ 250238 w 270502"/>
                <a:gd name="connsiteY21" fmla="*/ 253359 h 721392"/>
                <a:gd name="connsiteX22" fmla="*/ 270166 w 270502"/>
                <a:gd name="connsiteY22" fmla="*/ 427937 h 721392"/>
                <a:gd name="connsiteX23" fmla="*/ 257782 w 270502"/>
                <a:gd name="connsiteY23" fmla="*/ 467703 h 721392"/>
                <a:gd name="connsiteX24" fmla="*/ 226913 w 270502"/>
                <a:gd name="connsiteY24" fmla="*/ 482882 h 721392"/>
                <a:gd name="connsiteX25" fmla="*/ 210320 w 270502"/>
                <a:gd name="connsiteY25" fmla="*/ 707475 h 721392"/>
                <a:gd name="connsiteX26" fmla="*/ 195351 w 270502"/>
                <a:gd name="connsiteY26" fmla="*/ 721392 h 721392"/>
                <a:gd name="connsiteX27" fmla="*/ 75119 w 270502"/>
                <a:gd name="connsiteY27" fmla="*/ 721392 h 721392"/>
                <a:gd name="connsiteX28" fmla="*/ 60151 w 270502"/>
                <a:gd name="connsiteY28" fmla="*/ 707475 h 721392"/>
                <a:gd name="connsiteX29" fmla="*/ 43558 w 270502"/>
                <a:gd name="connsiteY29" fmla="*/ 482882 h 721392"/>
                <a:gd name="connsiteX30" fmla="*/ 12689 w 270502"/>
                <a:gd name="connsiteY30" fmla="*/ 467703 h 721392"/>
                <a:gd name="connsiteX31" fmla="*/ 335 w 270502"/>
                <a:gd name="connsiteY31" fmla="*/ 427937 h 721392"/>
                <a:gd name="connsiteX32" fmla="*/ 20264 w 270502"/>
                <a:gd name="connsiteY32" fmla="*/ 253359 h 721392"/>
                <a:gd name="connsiteX33" fmla="*/ 96852 w 270502"/>
                <a:gd name="connsiteY33" fmla="*/ 180349 h 721392"/>
                <a:gd name="connsiteX34" fmla="*/ 135235 w 270502"/>
                <a:gd name="connsiteY34" fmla="*/ 120232 h 721392"/>
                <a:gd name="connsiteX35" fmla="*/ 135234 w 270502"/>
                <a:gd name="connsiteY35" fmla="*/ 120232 h 721392"/>
                <a:gd name="connsiteX36" fmla="*/ 135235 w 270502"/>
                <a:gd name="connsiteY36" fmla="*/ 120232 h 721392"/>
                <a:gd name="connsiteX37" fmla="*/ 135234 w 270502"/>
                <a:gd name="connsiteY37" fmla="*/ 0 h 721392"/>
                <a:gd name="connsiteX38" fmla="*/ 210379 w 270502"/>
                <a:gd name="connsiteY38" fmla="*/ 75145 h 721392"/>
                <a:gd name="connsiteX39" fmla="*/ 135234 w 270502"/>
                <a:gd name="connsiteY39" fmla="*/ 150290 h 721392"/>
                <a:gd name="connsiteX40" fmla="*/ 60089 w 270502"/>
                <a:gd name="connsiteY40" fmla="*/ 75145 h 721392"/>
                <a:gd name="connsiteX41" fmla="*/ 135234 w 270502"/>
                <a:gd name="connsiteY41" fmla="*/ 0 h 721392"/>
                <a:gd name="connsiteX0" fmla="*/ 72565 w 270502"/>
                <a:gd name="connsiteY0" fmla="*/ 466800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72565 w 270502"/>
                <a:gd name="connsiteY17" fmla="*/ 466800 h 721392"/>
                <a:gd name="connsiteX18" fmla="*/ 96852 w 270502"/>
                <a:gd name="connsiteY18" fmla="*/ 180349 h 721392"/>
                <a:gd name="connsiteX19" fmla="*/ 173589 w 270502"/>
                <a:gd name="connsiteY19" fmla="*/ 180349 h 721392"/>
                <a:gd name="connsiteX20" fmla="*/ 250238 w 270502"/>
                <a:gd name="connsiteY20" fmla="*/ 253359 h 721392"/>
                <a:gd name="connsiteX21" fmla="*/ 270166 w 270502"/>
                <a:gd name="connsiteY21" fmla="*/ 427937 h 721392"/>
                <a:gd name="connsiteX22" fmla="*/ 257782 w 270502"/>
                <a:gd name="connsiteY22" fmla="*/ 467703 h 721392"/>
                <a:gd name="connsiteX23" fmla="*/ 226913 w 270502"/>
                <a:gd name="connsiteY23" fmla="*/ 482882 h 721392"/>
                <a:gd name="connsiteX24" fmla="*/ 210320 w 270502"/>
                <a:gd name="connsiteY24" fmla="*/ 707475 h 721392"/>
                <a:gd name="connsiteX25" fmla="*/ 195351 w 270502"/>
                <a:gd name="connsiteY25" fmla="*/ 721392 h 721392"/>
                <a:gd name="connsiteX26" fmla="*/ 75119 w 270502"/>
                <a:gd name="connsiteY26" fmla="*/ 721392 h 721392"/>
                <a:gd name="connsiteX27" fmla="*/ 60151 w 270502"/>
                <a:gd name="connsiteY27" fmla="*/ 707475 h 721392"/>
                <a:gd name="connsiteX28" fmla="*/ 43558 w 270502"/>
                <a:gd name="connsiteY28" fmla="*/ 482882 h 721392"/>
                <a:gd name="connsiteX29" fmla="*/ 12689 w 270502"/>
                <a:gd name="connsiteY29" fmla="*/ 467703 h 721392"/>
                <a:gd name="connsiteX30" fmla="*/ 335 w 270502"/>
                <a:gd name="connsiteY30" fmla="*/ 427937 h 721392"/>
                <a:gd name="connsiteX31" fmla="*/ 20264 w 270502"/>
                <a:gd name="connsiteY31" fmla="*/ 253359 h 721392"/>
                <a:gd name="connsiteX32" fmla="*/ 96852 w 270502"/>
                <a:gd name="connsiteY32" fmla="*/ 180349 h 721392"/>
                <a:gd name="connsiteX33" fmla="*/ 135235 w 270502"/>
                <a:gd name="connsiteY33" fmla="*/ 120232 h 721392"/>
                <a:gd name="connsiteX34" fmla="*/ 135234 w 270502"/>
                <a:gd name="connsiteY34" fmla="*/ 120232 h 721392"/>
                <a:gd name="connsiteX35" fmla="*/ 135235 w 270502"/>
                <a:gd name="connsiteY35" fmla="*/ 120232 h 721392"/>
                <a:gd name="connsiteX36" fmla="*/ 135234 w 270502"/>
                <a:gd name="connsiteY36" fmla="*/ 0 h 721392"/>
                <a:gd name="connsiteX37" fmla="*/ 210379 w 270502"/>
                <a:gd name="connsiteY37" fmla="*/ 75145 h 721392"/>
                <a:gd name="connsiteX38" fmla="*/ 135234 w 270502"/>
                <a:gd name="connsiteY38" fmla="*/ 150290 h 721392"/>
                <a:gd name="connsiteX39" fmla="*/ 60089 w 270502"/>
                <a:gd name="connsiteY39" fmla="*/ 75145 h 721392"/>
                <a:gd name="connsiteX40" fmla="*/ 135234 w 270502"/>
                <a:gd name="connsiteY40" fmla="*/ 0 h 721392"/>
                <a:gd name="connsiteX0" fmla="*/ 89097 w 270502"/>
                <a:gd name="connsiteY0" fmla="*/ 691333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96852 w 270502"/>
                <a:gd name="connsiteY17" fmla="*/ 180349 h 721392"/>
                <a:gd name="connsiteX18" fmla="*/ 173589 w 270502"/>
                <a:gd name="connsiteY18" fmla="*/ 180349 h 721392"/>
                <a:gd name="connsiteX19" fmla="*/ 250238 w 270502"/>
                <a:gd name="connsiteY19" fmla="*/ 253359 h 721392"/>
                <a:gd name="connsiteX20" fmla="*/ 270166 w 270502"/>
                <a:gd name="connsiteY20" fmla="*/ 427937 h 721392"/>
                <a:gd name="connsiteX21" fmla="*/ 257782 w 270502"/>
                <a:gd name="connsiteY21" fmla="*/ 467703 h 721392"/>
                <a:gd name="connsiteX22" fmla="*/ 226913 w 270502"/>
                <a:gd name="connsiteY22" fmla="*/ 482882 h 721392"/>
                <a:gd name="connsiteX23" fmla="*/ 210320 w 270502"/>
                <a:gd name="connsiteY23" fmla="*/ 707475 h 721392"/>
                <a:gd name="connsiteX24" fmla="*/ 195351 w 270502"/>
                <a:gd name="connsiteY24" fmla="*/ 721392 h 721392"/>
                <a:gd name="connsiteX25" fmla="*/ 75119 w 270502"/>
                <a:gd name="connsiteY25" fmla="*/ 721392 h 721392"/>
                <a:gd name="connsiteX26" fmla="*/ 60151 w 270502"/>
                <a:gd name="connsiteY26" fmla="*/ 707475 h 721392"/>
                <a:gd name="connsiteX27" fmla="*/ 43558 w 270502"/>
                <a:gd name="connsiteY27" fmla="*/ 482882 h 721392"/>
                <a:gd name="connsiteX28" fmla="*/ 12689 w 270502"/>
                <a:gd name="connsiteY28" fmla="*/ 467703 h 721392"/>
                <a:gd name="connsiteX29" fmla="*/ 335 w 270502"/>
                <a:gd name="connsiteY29" fmla="*/ 427937 h 721392"/>
                <a:gd name="connsiteX30" fmla="*/ 20264 w 270502"/>
                <a:gd name="connsiteY30" fmla="*/ 253359 h 721392"/>
                <a:gd name="connsiteX31" fmla="*/ 96852 w 270502"/>
                <a:gd name="connsiteY31" fmla="*/ 180349 h 721392"/>
                <a:gd name="connsiteX32" fmla="*/ 135235 w 270502"/>
                <a:gd name="connsiteY32" fmla="*/ 120232 h 721392"/>
                <a:gd name="connsiteX33" fmla="*/ 135234 w 270502"/>
                <a:gd name="connsiteY33" fmla="*/ 120232 h 721392"/>
                <a:gd name="connsiteX34" fmla="*/ 135235 w 270502"/>
                <a:gd name="connsiteY34" fmla="*/ 120232 h 721392"/>
                <a:gd name="connsiteX35" fmla="*/ 135234 w 270502"/>
                <a:gd name="connsiteY35" fmla="*/ 0 h 721392"/>
                <a:gd name="connsiteX36" fmla="*/ 210379 w 270502"/>
                <a:gd name="connsiteY36" fmla="*/ 75145 h 721392"/>
                <a:gd name="connsiteX37" fmla="*/ 135234 w 270502"/>
                <a:gd name="connsiteY37" fmla="*/ 150290 h 721392"/>
                <a:gd name="connsiteX38" fmla="*/ 60089 w 270502"/>
                <a:gd name="connsiteY38" fmla="*/ 75145 h 721392"/>
                <a:gd name="connsiteX39" fmla="*/ 135234 w 270502"/>
                <a:gd name="connsiteY39" fmla="*/ 0 h 721392"/>
                <a:gd name="connsiteX0" fmla="*/ 89097 w 270502"/>
                <a:gd name="connsiteY0" fmla="*/ 691333 h 721392"/>
                <a:gd name="connsiteX1" fmla="*/ 57565 w 270502"/>
                <a:gd name="connsiteY1" fmla="*/ 452884 h 721392"/>
                <a:gd name="connsiteX2" fmla="*/ 89097 w 270502"/>
                <a:gd name="connsiteY2" fmla="*/ 691334 h 721392"/>
                <a:gd name="connsiteX3" fmla="*/ 181404 w 270502"/>
                <a:gd name="connsiteY3" fmla="*/ 691334 h 721392"/>
                <a:gd name="connsiteX4" fmla="*/ 197967 w 270502"/>
                <a:gd name="connsiteY4" fmla="*/ 466801 h 721392"/>
                <a:gd name="connsiteX5" fmla="*/ 212965 w 270502"/>
                <a:gd name="connsiteY5" fmla="*/ 452884 h 721392"/>
                <a:gd name="connsiteX6" fmla="*/ 224418 w 270502"/>
                <a:gd name="connsiteY6" fmla="*/ 452884 h 721392"/>
                <a:gd name="connsiteX7" fmla="*/ 235419 w 270502"/>
                <a:gd name="connsiteY7" fmla="*/ 447685 h 721392"/>
                <a:gd name="connsiteX8" fmla="*/ 240348 w 270502"/>
                <a:gd name="connsiteY8" fmla="*/ 431333 h 721392"/>
                <a:gd name="connsiteX9" fmla="*/ 240348 w 270502"/>
                <a:gd name="connsiteY9" fmla="*/ 431332 h 721392"/>
                <a:gd name="connsiteX10" fmla="*/ 235419 w 270502"/>
                <a:gd name="connsiteY10" fmla="*/ 447684 h 721392"/>
                <a:gd name="connsiteX11" fmla="*/ 224418 w 270502"/>
                <a:gd name="connsiteY11" fmla="*/ 452883 h 721392"/>
                <a:gd name="connsiteX12" fmla="*/ 212965 w 270502"/>
                <a:gd name="connsiteY12" fmla="*/ 452883 h 721392"/>
                <a:gd name="connsiteX13" fmla="*/ 197967 w 270502"/>
                <a:gd name="connsiteY13" fmla="*/ 466800 h 721392"/>
                <a:gd name="connsiteX14" fmla="*/ 181404 w 270502"/>
                <a:gd name="connsiteY14" fmla="*/ 691333 h 721392"/>
                <a:gd name="connsiteX15" fmla="*/ 89097 w 270502"/>
                <a:gd name="connsiteY15" fmla="*/ 691333 h 721392"/>
                <a:gd name="connsiteX16" fmla="*/ 96852 w 270502"/>
                <a:gd name="connsiteY16" fmla="*/ 180349 h 721392"/>
                <a:gd name="connsiteX17" fmla="*/ 173589 w 270502"/>
                <a:gd name="connsiteY17" fmla="*/ 180349 h 721392"/>
                <a:gd name="connsiteX18" fmla="*/ 250238 w 270502"/>
                <a:gd name="connsiteY18" fmla="*/ 253359 h 721392"/>
                <a:gd name="connsiteX19" fmla="*/ 270166 w 270502"/>
                <a:gd name="connsiteY19" fmla="*/ 427937 h 721392"/>
                <a:gd name="connsiteX20" fmla="*/ 257782 w 270502"/>
                <a:gd name="connsiteY20" fmla="*/ 467703 h 721392"/>
                <a:gd name="connsiteX21" fmla="*/ 226913 w 270502"/>
                <a:gd name="connsiteY21" fmla="*/ 482882 h 721392"/>
                <a:gd name="connsiteX22" fmla="*/ 210320 w 270502"/>
                <a:gd name="connsiteY22" fmla="*/ 707475 h 721392"/>
                <a:gd name="connsiteX23" fmla="*/ 195351 w 270502"/>
                <a:gd name="connsiteY23" fmla="*/ 721392 h 721392"/>
                <a:gd name="connsiteX24" fmla="*/ 75119 w 270502"/>
                <a:gd name="connsiteY24" fmla="*/ 721392 h 721392"/>
                <a:gd name="connsiteX25" fmla="*/ 60151 w 270502"/>
                <a:gd name="connsiteY25" fmla="*/ 707475 h 721392"/>
                <a:gd name="connsiteX26" fmla="*/ 43558 w 270502"/>
                <a:gd name="connsiteY26" fmla="*/ 482882 h 721392"/>
                <a:gd name="connsiteX27" fmla="*/ 12689 w 270502"/>
                <a:gd name="connsiteY27" fmla="*/ 467703 h 721392"/>
                <a:gd name="connsiteX28" fmla="*/ 335 w 270502"/>
                <a:gd name="connsiteY28" fmla="*/ 427937 h 721392"/>
                <a:gd name="connsiteX29" fmla="*/ 20264 w 270502"/>
                <a:gd name="connsiteY29" fmla="*/ 253359 h 721392"/>
                <a:gd name="connsiteX30" fmla="*/ 96852 w 270502"/>
                <a:gd name="connsiteY30" fmla="*/ 180349 h 721392"/>
                <a:gd name="connsiteX31" fmla="*/ 135235 w 270502"/>
                <a:gd name="connsiteY31" fmla="*/ 120232 h 721392"/>
                <a:gd name="connsiteX32" fmla="*/ 135234 w 270502"/>
                <a:gd name="connsiteY32" fmla="*/ 120232 h 721392"/>
                <a:gd name="connsiteX33" fmla="*/ 135235 w 270502"/>
                <a:gd name="connsiteY33" fmla="*/ 120232 h 721392"/>
                <a:gd name="connsiteX34" fmla="*/ 135234 w 270502"/>
                <a:gd name="connsiteY34" fmla="*/ 0 h 721392"/>
                <a:gd name="connsiteX35" fmla="*/ 210379 w 270502"/>
                <a:gd name="connsiteY35" fmla="*/ 75145 h 721392"/>
                <a:gd name="connsiteX36" fmla="*/ 135234 w 270502"/>
                <a:gd name="connsiteY36" fmla="*/ 150290 h 721392"/>
                <a:gd name="connsiteX37" fmla="*/ 60089 w 270502"/>
                <a:gd name="connsiteY37" fmla="*/ 75145 h 721392"/>
                <a:gd name="connsiteX38" fmla="*/ 135234 w 270502"/>
                <a:gd name="connsiteY3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97967 w 270502"/>
                <a:gd name="connsiteY12" fmla="*/ 466800 h 721392"/>
                <a:gd name="connsiteX13" fmla="*/ 181404 w 270502"/>
                <a:gd name="connsiteY13" fmla="*/ 691333 h 721392"/>
                <a:gd name="connsiteX14" fmla="*/ 89097 w 270502"/>
                <a:gd name="connsiteY14" fmla="*/ 691333 h 721392"/>
                <a:gd name="connsiteX15" fmla="*/ 96852 w 270502"/>
                <a:gd name="connsiteY15" fmla="*/ 180349 h 721392"/>
                <a:gd name="connsiteX16" fmla="*/ 173589 w 270502"/>
                <a:gd name="connsiteY16" fmla="*/ 180349 h 721392"/>
                <a:gd name="connsiteX17" fmla="*/ 250238 w 270502"/>
                <a:gd name="connsiteY17" fmla="*/ 253359 h 721392"/>
                <a:gd name="connsiteX18" fmla="*/ 270166 w 270502"/>
                <a:gd name="connsiteY18" fmla="*/ 427937 h 721392"/>
                <a:gd name="connsiteX19" fmla="*/ 257782 w 270502"/>
                <a:gd name="connsiteY19" fmla="*/ 467703 h 721392"/>
                <a:gd name="connsiteX20" fmla="*/ 226913 w 270502"/>
                <a:gd name="connsiteY20" fmla="*/ 482882 h 721392"/>
                <a:gd name="connsiteX21" fmla="*/ 210320 w 270502"/>
                <a:gd name="connsiteY21" fmla="*/ 707475 h 721392"/>
                <a:gd name="connsiteX22" fmla="*/ 195351 w 270502"/>
                <a:gd name="connsiteY22" fmla="*/ 721392 h 721392"/>
                <a:gd name="connsiteX23" fmla="*/ 75119 w 270502"/>
                <a:gd name="connsiteY23" fmla="*/ 721392 h 721392"/>
                <a:gd name="connsiteX24" fmla="*/ 60151 w 270502"/>
                <a:gd name="connsiteY24" fmla="*/ 707475 h 721392"/>
                <a:gd name="connsiteX25" fmla="*/ 43558 w 270502"/>
                <a:gd name="connsiteY25" fmla="*/ 482882 h 721392"/>
                <a:gd name="connsiteX26" fmla="*/ 12689 w 270502"/>
                <a:gd name="connsiteY26" fmla="*/ 467703 h 721392"/>
                <a:gd name="connsiteX27" fmla="*/ 335 w 270502"/>
                <a:gd name="connsiteY27" fmla="*/ 427937 h 721392"/>
                <a:gd name="connsiteX28" fmla="*/ 20264 w 270502"/>
                <a:gd name="connsiteY28" fmla="*/ 253359 h 721392"/>
                <a:gd name="connsiteX29" fmla="*/ 96852 w 270502"/>
                <a:gd name="connsiteY29" fmla="*/ 180349 h 721392"/>
                <a:gd name="connsiteX30" fmla="*/ 135235 w 270502"/>
                <a:gd name="connsiteY30" fmla="*/ 120232 h 721392"/>
                <a:gd name="connsiteX31" fmla="*/ 135234 w 270502"/>
                <a:gd name="connsiteY31" fmla="*/ 120232 h 721392"/>
                <a:gd name="connsiteX32" fmla="*/ 135235 w 270502"/>
                <a:gd name="connsiteY32" fmla="*/ 120232 h 721392"/>
                <a:gd name="connsiteX33" fmla="*/ 135234 w 270502"/>
                <a:gd name="connsiteY33" fmla="*/ 0 h 721392"/>
                <a:gd name="connsiteX34" fmla="*/ 210379 w 270502"/>
                <a:gd name="connsiteY34" fmla="*/ 75145 h 721392"/>
                <a:gd name="connsiteX35" fmla="*/ 135234 w 270502"/>
                <a:gd name="connsiteY35" fmla="*/ 150290 h 721392"/>
                <a:gd name="connsiteX36" fmla="*/ 60089 w 270502"/>
                <a:gd name="connsiteY36" fmla="*/ 75145 h 721392"/>
                <a:gd name="connsiteX37" fmla="*/ 135234 w 270502"/>
                <a:gd name="connsiteY3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81404 w 270502"/>
                <a:gd name="connsiteY12" fmla="*/ 691333 h 721392"/>
                <a:gd name="connsiteX13" fmla="*/ 89097 w 270502"/>
                <a:gd name="connsiteY13" fmla="*/ 691333 h 721392"/>
                <a:gd name="connsiteX14" fmla="*/ 96852 w 270502"/>
                <a:gd name="connsiteY14" fmla="*/ 180349 h 721392"/>
                <a:gd name="connsiteX15" fmla="*/ 173589 w 270502"/>
                <a:gd name="connsiteY15" fmla="*/ 180349 h 721392"/>
                <a:gd name="connsiteX16" fmla="*/ 250238 w 270502"/>
                <a:gd name="connsiteY16" fmla="*/ 253359 h 721392"/>
                <a:gd name="connsiteX17" fmla="*/ 270166 w 270502"/>
                <a:gd name="connsiteY17" fmla="*/ 427937 h 721392"/>
                <a:gd name="connsiteX18" fmla="*/ 257782 w 270502"/>
                <a:gd name="connsiteY18" fmla="*/ 467703 h 721392"/>
                <a:gd name="connsiteX19" fmla="*/ 226913 w 270502"/>
                <a:gd name="connsiteY19" fmla="*/ 482882 h 721392"/>
                <a:gd name="connsiteX20" fmla="*/ 210320 w 270502"/>
                <a:gd name="connsiteY20" fmla="*/ 707475 h 721392"/>
                <a:gd name="connsiteX21" fmla="*/ 195351 w 270502"/>
                <a:gd name="connsiteY21" fmla="*/ 721392 h 721392"/>
                <a:gd name="connsiteX22" fmla="*/ 75119 w 270502"/>
                <a:gd name="connsiteY22" fmla="*/ 721392 h 721392"/>
                <a:gd name="connsiteX23" fmla="*/ 60151 w 270502"/>
                <a:gd name="connsiteY23" fmla="*/ 707475 h 721392"/>
                <a:gd name="connsiteX24" fmla="*/ 43558 w 270502"/>
                <a:gd name="connsiteY24" fmla="*/ 482882 h 721392"/>
                <a:gd name="connsiteX25" fmla="*/ 12689 w 270502"/>
                <a:gd name="connsiteY25" fmla="*/ 467703 h 721392"/>
                <a:gd name="connsiteX26" fmla="*/ 335 w 270502"/>
                <a:gd name="connsiteY26" fmla="*/ 427937 h 721392"/>
                <a:gd name="connsiteX27" fmla="*/ 20264 w 270502"/>
                <a:gd name="connsiteY27" fmla="*/ 253359 h 721392"/>
                <a:gd name="connsiteX28" fmla="*/ 96852 w 270502"/>
                <a:gd name="connsiteY28" fmla="*/ 180349 h 721392"/>
                <a:gd name="connsiteX29" fmla="*/ 135235 w 270502"/>
                <a:gd name="connsiteY29" fmla="*/ 120232 h 721392"/>
                <a:gd name="connsiteX30" fmla="*/ 135234 w 270502"/>
                <a:gd name="connsiteY30" fmla="*/ 120232 h 721392"/>
                <a:gd name="connsiteX31" fmla="*/ 135235 w 270502"/>
                <a:gd name="connsiteY31" fmla="*/ 120232 h 721392"/>
                <a:gd name="connsiteX32" fmla="*/ 135234 w 270502"/>
                <a:gd name="connsiteY32" fmla="*/ 0 h 721392"/>
                <a:gd name="connsiteX33" fmla="*/ 210379 w 270502"/>
                <a:gd name="connsiteY33" fmla="*/ 75145 h 721392"/>
                <a:gd name="connsiteX34" fmla="*/ 135234 w 270502"/>
                <a:gd name="connsiteY34" fmla="*/ 150290 h 721392"/>
                <a:gd name="connsiteX35" fmla="*/ 60089 w 270502"/>
                <a:gd name="connsiteY35" fmla="*/ 75145 h 721392"/>
                <a:gd name="connsiteX36" fmla="*/ 135234 w 270502"/>
                <a:gd name="connsiteY36"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181404 w 270502"/>
                <a:gd name="connsiteY11" fmla="*/ 691333 h 721392"/>
                <a:gd name="connsiteX12" fmla="*/ 89097 w 270502"/>
                <a:gd name="connsiteY12" fmla="*/ 691333 h 721392"/>
                <a:gd name="connsiteX13" fmla="*/ 96852 w 270502"/>
                <a:gd name="connsiteY13" fmla="*/ 180349 h 721392"/>
                <a:gd name="connsiteX14" fmla="*/ 173589 w 270502"/>
                <a:gd name="connsiteY14" fmla="*/ 180349 h 721392"/>
                <a:gd name="connsiteX15" fmla="*/ 250238 w 270502"/>
                <a:gd name="connsiteY15" fmla="*/ 253359 h 721392"/>
                <a:gd name="connsiteX16" fmla="*/ 270166 w 270502"/>
                <a:gd name="connsiteY16" fmla="*/ 427937 h 721392"/>
                <a:gd name="connsiteX17" fmla="*/ 257782 w 270502"/>
                <a:gd name="connsiteY17" fmla="*/ 467703 h 721392"/>
                <a:gd name="connsiteX18" fmla="*/ 226913 w 270502"/>
                <a:gd name="connsiteY18" fmla="*/ 482882 h 721392"/>
                <a:gd name="connsiteX19" fmla="*/ 210320 w 270502"/>
                <a:gd name="connsiteY19" fmla="*/ 707475 h 721392"/>
                <a:gd name="connsiteX20" fmla="*/ 195351 w 270502"/>
                <a:gd name="connsiteY20" fmla="*/ 721392 h 721392"/>
                <a:gd name="connsiteX21" fmla="*/ 75119 w 270502"/>
                <a:gd name="connsiteY21" fmla="*/ 721392 h 721392"/>
                <a:gd name="connsiteX22" fmla="*/ 60151 w 270502"/>
                <a:gd name="connsiteY22" fmla="*/ 707475 h 721392"/>
                <a:gd name="connsiteX23" fmla="*/ 43558 w 270502"/>
                <a:gd name="connsiteY23" fmla="*/ 482882 h 721392"/>
                <a:gd name="connsiteX24" fmla="*/ 12689 w 270502"/>
                <a:gd name="connsiteY24" fmla="*/ 467703 h 721392"/>
                <a:gd name="connsiteX25" fmla="*/ 335 w 270502"/>
                <a:gd name="connsiteY25" fmla="*/ 427937 h 721392"/>
                <a:gd name="connsiteX26" fmla="*/ 20264 w 270502"/>
                <a:gd name="connsiteY26" fmla="*/ 253359 h 721392"/>
                <a:gd name="connsiteX27" fmla="*/ 96852 w 270502"/>
                <a:gd name="connsiteY27" fmla="*/ 180349 h 721392"/>
                <a:gd name="connsiteX28" fmla="*/ 135235 w 270502"/>
                <a:gd name="connsiteY28" fmla="*/ 120232 h 721392"/>
                <a:gd name="connsiteX29" fmla="*/ 135234 w 270502"/>
                <a:gd name="connsiteY29" fmla="*/ 120232 h 721392"/>
                <a:gd name="connsiteX30" fmla="*/ 135235 w 270502"/>
                <a:gd name="connsiteY30" fmla="*/ 120232 h 721392"/>
                <a:gd name="connsiteX31" fmla="*/ 135234 w 270502"/>
                <a:gd name="connsiteY31" fmla="*/ 0 h 721392"/>
                <a:gd name="connsiteX32" fmla="*/ 210379 w 270502"/>
                <a:gd name="connsiteY32" fmla="*/ 75145 h 721392"/>
                <a:gd name="connsiteX33" fmla="*/ 135234 w 270502"/>
                <a:gd name="connsiteY33" fmla="*/ 150290 h 721392"/>
                <a:gd name="connsiteX34" fmla="*/ 60089 w 270502"/>
                <a:gd name="connsiteY34" fmla="*/ 75145 h 721392"/>
                <a:gd name="connsiteX35" fmla="*/ 135234 w 270502"/>
                <a:gd name="connsiteY35"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181404 w 270502"/>
                <a:gd name="connsiteY10" fmla="*/ 691333 h 721392"/>
                <a:gd name="connsiteX11" fmla="*/ 89097 w 270502"/>
                <a:gd name="connsiteY11" fmla="*/ 691333 h 721392"/>
                <a:gd name="connsiteX12" fmla="*/ 96852 w 270502"/>
                <a:gd name="connsiteY12" fmla="*/ 180349 h 721392"/>
                <a:gd name="connsiteX13" fmla="*/ 173589 w 270502"/>
                <a:gd name="connsiteY13" fmla="*/ 180349 h 721392"/>
                <a:gd name="connsiteX14" fmla="*/ 250238 w 270502"/>
                <a:gd name="connsiteY14" fmla="*/ 253359 h 721392"/>
                <a:gd name="connsiteX15" fmla="*/ 270166 w 270502"/>
                <a:gd name="connsiteY15" fmla="*/ 427937 h 721392"/>
                <a:gd name="connsiteX16" fmla="*/ 257782 w 270502"/>
                <a:gd name="connsiteY16" fmla="*/ 467703 h 721392"/>
                <a:gd name="connsiteX17" fmla="*/ 226913 w 270502"/>
                <a:gd name="connsiteY17" fmla="*/ 482882 h 721392"/>
                <a:gd name="connsiteX18" fmla="*/ 210320 w 270502"/>
                <a:gd name="connsiteY18" fmla="*/ 707475 h 721392"/>
                <a:gd name="connsiteX19" fmla="*/ 195351 w 270502"/>
                <a:gd name="connsiteY19" fmla="*/ 721392 h 721392"/>
                <a:gd name="connsiteX20" fmla="*/ 75119 w 270502"/>
                <a:gd name="connsiteY20" fmla="*/ 721392 h 721392"/>
                <a:gd name="connsiteX21" fmla="*/ 60151 w 270502"/>
                <a:gd name="connsiteY21" fmla="*/ 707475 h 721392"/>
                <a:gd name="connsiteX22" fmla="*/ 43558 w 270502"/>
                <a:gd name="connsiteY22" fmla="*/ 482882 h 721392"/>
                <a:gd name="connsiteX23" fmla="*/ 12689 w 270502"/>
                <a:gd name="connsiteY23" fmla="*/ 467703 h 721392"/>
                <a:gd name="connsiteX24" fmla="*/ 335 w 270502"/>
                <a:gd name="connsiteY24" fmla="*/ 427937 h 721392"/>
                <a:gd name="connsiteX25" fmla="*/ 20264 w 270502"/>
                <a:gd name="connsiteY25" fmla="*/ 253359 h 721392"/>
                <a:gd name="connsiteX26" fmla="*/ 96852 w 270502"/>
                <a:gd name="connsiteY26" fmla="*/ 180349 h 721392"/>
                <a:gd name="connsiteX27" fmla="*/ 135235 w 270502"/>
                <a:gd name="connsiteY27" fmla="*/ 120232 h 721392"/>
                <a:gd name="connsiteX28" fmla="*/ 135234 w 270502"/>
                <a:gd name="connsiteY28" fmla="*/ 120232 h 721392"/>
                <a:gd name="connsiteX29" fmla="*/ 135235 w 270502"/>
                <a:gd name="connsiteY29" fmla="*/ 120232 h 721392"/>
                <a:gd name="connsiteX30" fmla="*/ 135234 w 270502"/>
                <a:gd name="connsiteY30" fmla="*/ 0 h 721392"/>
                <a:gd name="connsiteX31" fmla="*/ 210379 w 270502"/>
                <a:gd name="connsiteY31" fmla="*/ 75145 h 721392"/>
                <a:gd name="connsiteX32" fmla="*/ 135234 w 270502"/>
                <a:gd name="connsiteY32" fmla="*/ 150290 h 721392"/>
                <a:gd name="connsiteX33" fmla="*/ 60089 w 270502"/>
                <a:gd name="connsiteY33" fmla="*/ 75145 h 721392"/>
                <a:gd name="connsiteX34" fmla="*/ 135234 w 270502"/>
                <a:gd name="connsiteY34"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235419 w 270502"/>
                <a:gd name="connsiteY8" fmla="*/ 447684 h 721392"/>
                <a:gd name="connsiteX9" fmla="*/ 181404 w 270502"/>
                <a:gd name="connsiteY9" fmla="*/ 691333 h 721392"/>
                <a:gd name="connsiteX10" fmla="*/ 89097 w 270502"/>
                <a:gd name="connsiteY10" fmla="*/ 691333 h 721392"/>
                <a:gd name="connsiteX11" fmla="*/ 96852 w 270502"/>
                <a:gd name="connsiteY11" fmla="*/ 180349 h 721392"/>
                <a:gd name="connsiteX12" fmla="*/ 173589 w 270502"/>
                <a:gd name="connsiteY12" fmla="*/ 180349 h 721392"/>
                <a:gd name="connsiteX13" fmla="*/ 250238 w 270502"/>
                <a:gd name="connsiteY13" fmla="*/ 253359 h 721392"/>
                <a:gd name="connsiteX14" fmla="*/ 270166 w 270502"/>
                <a:gd name="connsiteY14" fmla="*/ 427937 h 721392"/>
                <a:gd name="connsiteX15" fmla="*/ 257782 w 270502"/>
                <a:gd name="connsiteY15" fmla="*/ 467703 h 721392"/>
                <a:gd name="connsiteX16" fmla="*/ 226913 w 270502"/>
                <a:gd name="connsiteY16" fmla="*/ 482882 h 721392"/>
                <a:gd name="connsiteX17" fmla="*/ 210320 w 270502"/>
                <a:gd name="connsiteY17" fmla="*/ 707475 h 721392"/>
                <a:gd name="connsiteX18" fmla="*/ 195351 w 270502"/>
                <a:gd name="connsiteY18" fmla="*/ 721392 h 721392"/>
                <a:gd name="connsiteX19" fmla="*/ 75119 w 270502"/>
                <a:gd name="connsiteY19" fmla="*/ 721392 h 721392"/>
                <a:gd name="connsiteX20" fmla="*/ 60151 w 270502"/>
                <a:gd name="connsiteY20" fmla="*/ 707475 h 721392"/>
                <a:gd name="connsiteX21" fmla="*/ 43558 w 270502"/>
                <a:gd name="connsiteY21" fmla="*/ 482882 h 721392"/>
                <a:gd name="connsiteX22" fmla="*/ 12689 w 270502"/>
                <a:gd name="connsiteY22" fmla="*/ 467703 h 721392"/>
                <a:gd name="connsiteX23" fmla="*/ 335 w 270502"/>
                <a:gd name="connsiteY23" fmla="*/ 427937 h 721392"/>
                <a:gd name="connsiteX24" fmla="*/ 20264 w 270502"/>
                <a:gd name="connsiteY24" fmla="*/ 253359 h 721392"/>
                <a:gd name="connsiteX25" fmla="*/ 96852 w 270502"/>
                <a:gd name="connsiteY25" fmla="*/ 180349 h 721392"/>
                <a:gd name="connsiteX26" fmla="*/ 135235 w 270502"/>
                <a:gd name="connsiteY26" fmla="*/ 120232 h 721392"/>
                <a:gd name="connsiteX27" fmla="*/ 135234 w 270502"/>
                <a:gd name="connsiteY27" fmla="*/ 120232 h 721392"/>
                <a:gd name="connsiteX28" fmla="*/ 135235 w 270502"/>
                <a:gd name="connsiteY28" fmla="*/ 120232 h 721392"/>
                <a:gd name="connsiteX29" fmla="*/ 135234 w 270502"/>
                <a:gd name="connsiteY29" fmla="*/ 0 h 721392"/>
                <a:gd name="connsiteX30" fmla="*/ 210379 w 270502"/>
                <a:gd name="connsiteY30" fmla="*/ 75145 h 721392"/>
                <a:gd name="connsiteX31" fmla="*/ 135234 w 270502"/>
                <a:gd name="connsiteY31" fmla="*/ 150290 h 721392"/>
                <a:gd name="connsiteX32" fmla="*/ 60089 w 270502"/>
                <a:gd name="connsiteY32" fmla="*/ 75145 h 721392"/>
                <a:gd name="connsiteX33" fmla="*/ 135234 w 270502"/>
                <a:gd name="connsiteY33"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181404 w 270502"/>
                <a:gd name="connsiteY8" fmla="*/ 691333 h 721392"/>
                <a:gd name="connsiteX9" fmla="*/ 89097 w 270502"/>
                <a:gd name="connsiteY9" fmla="*/ 691333 h 721392"/>
                <a:gd name="connsiteX10" fmla="*/ 96852 w 270502"/>
                <a:gd name="connsiteY10" fmla="*/ 180349 h 721392"/>
                <a:gd name="connsiteX11" fmla="*/ 173589 w 270502"/>
                <a:gd name="connsiteY11" fmla="*/ 180349 h 721392"/>
                <a:gd name="connsiteX12" fmla="*/ 250238 w 270502"/>
                <a:gd name="connsiteY12" fmla="*/ 253359 h 721392"/>
                <a:gd name="connsiteX13" fmla="*/ 270166 w 270502"/>
                <a:gd name="connsiteY13" fmla="*/ 427937 h 721392"/>
                <a:gd name="connsiteX14" fmla="*/ 257782 w 270502"/>
                <a:gd name="connsiteY14" fmla="*/ 467703 h 721392"/>
                <a:gd name="connsiteX15" fmla="*/ 226913 w 270502"/>
                <a:gd name="connsiteY15" fmla="*/ 482882 h 721392"/>
                <a:gd name="connsiteX16" fmla="*/ 210320 w 270502"/>
                <a:gd name="connsiteY16" fmla="*/ 707475 h 721392"/>
                <a:gd name="connsiteX17" fmla="*/ 195351 w 270502"/>
                <a:gd name="connsiteY17" fmla="*/ 721392 h 721392"/>
                <a:gd name="connsiteX18" fmla="*/ 75119 w 270502"/>
                <a:gd name="connsiteY18" fmla="*/ 721392 h 721392"/>
                <a:gd name="connsiteX19" fmla="*/ 60151 w 270502"/>
                <a:gd name="connsiteY19" fmla="*/ 707475 h 721392"/>
                <a:gd name="connsiteX20" fmla="*/ 43558 w 270502"/>
                <a:gd name="connsiteY20" fmla="*/ 482882 h 721392"/>
                <a:gd name="connsiteX21" fmla="*/ 12689 w 270502"/>
                <a:gd name="connsiteY21" fmla="*/ 467703 h 721392"/>
                <a:gd name="connsiteX22" fmla="*/ 335 w 270502"/>
                <a:gd name="connsiteY22" fmla="*/ 427937 h 721392"/>
                <a:gd name="connsiteX23" fmla="*/ 20264 w 270502"/>
                <a:gd name="connsiteY23" fmla="*/ 253359 h 721392"/>
                <a:gd name="connsiteX24" fmla="*/ 96852 w 270502"/>
                <a:gd name="connsiteY24" fmla="*/ 180349 h 721392"/>
                <a:gd name="connsiteX25" fmla="*/ 135235 w 270502"/>
                <a:gd name="connsiteY25" fmla="*/ 120232 h 721392"/>
                <a:gd name="connsiteX26" fmla="*/ 135234 w 270502"/>
                <a:gd name="connsiteY26" fmla="*/ 120232 h 721392"/>
                <a:gd name="connsiteX27" fmla="*/ 135235 w 270502"/>
                <a:gd name="connsiteY27" fmla="*/ 120232 h 721392"/>
                <a:gd name="connsiteX28" fmla="*/ 135234 w 270502"/>
                <a:gd name="connsiteY28" fmla="*/ 0 h 721392"/>
                <a:gd name="connsiteX29" fmla="*/ 210379 w 270502"/>
                <a:gd name="connsiteY29" fmla="*/ 75145 h 721392"/>
                <a:gd name="connsiteX30" fmla="*/ 135234 w 270502"/>
                <a:gd name="connsiteY30" fmla="*/ 150290 h 721392"/>
                <a:gd name="connsiteX31" fmla="*/ 60089 w 270502"/>
                <a:gd name="connsiteY31" fmla="*/ 75145 h 721392"/>
                <a:gd name="connsiteX32" fmla="*/ 135234 w 270502"/>
                <a:gd name="connsiteY32"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181404 w 270502"/>
                <a:gd name="connsiteY7" fmla="*/ 691333 h 721392"/>
                <a:gd name="connsiteX8" fmla="*/ 89097 w 270502"/>
                <a:gd name="connsiteY8" fmla="*/ 691333 h 721392"/>
                <a:gd name="connsiteX9" fmla="*/ 96852 w 270502"/>
                <a:gd name="connsiteY9" fmla="*/ 180349 h 721392"/>
                <a:gd name="connsiteX10" fmla="*/ 173589 w 270502"/>
                <a:gd name="connsiteY10" fmla="*/ 180349 h 721392"/>
                <a:gd name="connsiteX11" fmla="*/ 250238 w 270502"/>
                <a:gd name="connsiteY11" fmla="*/ 253359 h 721392"/>
                <a:gd name="connsiteX12" fmla="*/ 270166 w 270502"/>
                <a:gd name="connsiteY12" fmla="*/ 427937 h 721392"/>
                <a:gd name="connsiteX13" fmla="*/ 257782 w 270502"/>
                <a:gd name="connsiteY13" fmla="*/ 467703 h 721392"/>
                <a:gd name="connsiteX14" fmla="*/ 226913 w 270502"/>
                <a:gd name="connsiteY14" fmla="*/ 482882 h 721392"/>
                <a:gd name="connsiteX15" fmla="*/ 210320 w 270502"/>
                <a:gd name="connsiteY15" fmla="*/ 707475 h 721392"/>
                <a:gd name="connsiteX16" fmla="*/ 195351 w 270502"/>
                <a:gd name="connsiteY16" fmla="*/ 721392 h 721392"/>
                <a:gd name="connsiteX17" fmla="*/ 75119 w 270502"/>
                <a:gd name="connsiteY17" fmla="*/ 721392 h 721392"/>
                <a:gd name="connsiteX18" fmla="*/ 60151 w 270502"/>
                <a:gd name="connsiteY18" fmla="*/ 707475 h 721392"/>
                <a:gd name="connsiteX19" fmla="*/ 43558 w 270502"/>
                <a:gd name="connsiteY19" fmla="*/ 482882 h 721392"/>
                <a:gd name="connsiteX20" fmla="*/ 12689 w 270502"/>
                <a:gd name="connsiteY20" fmla="*/ 467703 h 721392"/>
                <a:gd name="connsiteX21" fmla="*/ 335 w 270502"/>
                <a:gd name="connsiteY21" fmla="*/ 427937 h 721392"/>
                <a:gd name="connsiteX22" fmla="*/ 20264 w 270502"/>
                <a:gd name="connsiteY22" fmla="*/ 253359 h 721392"/>
                <a:gd name="connsiteX23" fmla="*/ 96852 w 270502"/>
                <a:gd name="connsiteY23" fmla="*/ 180349 h 721392"/>
                <a:gd name="connsiteX24" fmla="*/ 135235 w 270502"/>
                <a:gd name="connsiteY24" fmla="*/ 120232 h 721392"/>
                <a:gd name="connsiteX25" fmla="*/ 135234 w 270502"/>
                <a:gd name="connsiteY25" fmla="*/ 120232 h 721392"/>
                <a:gd name="connsiteX26" fmla="*/ 135235 w 270502"/>
                <a:gd name="connsiteY26" fmla="*/ 120232 h 721392"/>
                <a:gd name="connsiteX27" fmla="*/ 135234 w 270502"/>
                <a:gd name="connsiteY27" fmla="*/ 0 h 721392"/>
                <a:gd name="connsiteX28" fmla="*/ 210379 w 270502"/>
                <a:gd name="connsiteY28" fmla="*/ 75145 h 721392"/>
                <a:gd name="connsiteX29" fmla="*/ 135234 w 270502"/>
                <a:gd name="connsiteY29" fmla="*/ 150290 h 721392"/>
                <a:gd name="connsiteX30" fmla="*/ 60089 w 270502"/>
                <a:gd name="connsiteY30" fmla="*/ 75145 h 721392"/>
                <a:gd name="connsiteX31" fmla="*/ 135234 w 270502"/>
                <a:gd name="connsiteY31"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240348 w 270502"/>
                <a:gd name="connsiteY5" fmla="*/ 431333 h 721392"/>
                <a:gd name="connsiteX6" fmla="*/ 181404 w 270502"/>
                <a:gd name="connsiteY6" fmla="*/ 691333 h 721392"/>
                <a:gd name="connsiteX7" fmla="*/ 89097 w 270502"/>
                <a:gd name="connsiteY7" fmla="*/ 691333 h 721392"/>
                <a:gd name="connsiteX8" fmla="*/ 96852 w 270502"/>
                <a:gd name="connsiteY8" fmla="*/ 180349 h 721392"/>
                <a:gd name="connsiteX9" fmla="*/ 173589 w 270502"/>
                <a:gd name="connsiteY9" fmla="*/ 180349 h 721392"/>
                <a:gd name="connsiteX10" fmla="*/ 250238 w 270502"/>
                <a:gd name="connsiteY10" fmla="*/ 253359 h 721392"/>
                <a:gd name="connsiteX11" fmla="*/ 270166 w 270502"/>
                <a:gd name="connsiteY11" fmla="*/ 427937 h 721392"/>
                <a:gd name="connsiteX12" fmla="*/ 257782 w 270502"/>
                <a:gd name="connsiteY12" fmla="*/ 467703 h 721392"/>
                <a:gd name="connsiteX13" fmla="*/ 226913 w 270502"/>
                <a:gd name="connsiteY13" fmla="*/ 482882 h 721392"/>
                <a:gd name="connsiteX14" fmla="*/ 210320 w 270502"/>
                <a:gd name="connsiteY14" fmla="*/ 707475 h 721392"/>
                <a:gd name="connsiteX15" fmla="*/ 195351 w 270502"/>
                <a:gd name="connsiteY15" fmla="*/ 721392 h 721392"/>
                <a:gd name="connsiteX16" fmla="*/ 75119 w 270502"/>
                <a:gd name="connsiteY16" fmla="*/ 721392 h 721392"/>
                <a:gd name="connsiteX17" fmla="*/ 60151 w 270502"/>
                <a:gd name="connsiteY17" fmla="*/ 707475 h 721392"/>
                <a:gd name="connsiteX18" fmla="*/ 43558 w 270502"/>
                <a:gd name="connsiteY18" fmla="*/ 482882 h 721392"/>
                <a:gd name="connsiteX19" fmla="*/ 12689 w 270502"/>
                <a:gd name="connsiteY19" fmla="*/ 467703 h 721392"/>
                <a:gd name="connsiteX20" fmla="*/ 335 w 270502"/>
                <a:gd name="connsiteY20" fmla="*/ 427937 h 721392"/>
                <a:gd name="connsiteX21" fmla="*/ 20264 w 270502"/>
                <a:gd name="connsiteY21" fmla="*/ 253359 h 721392"/>
                <a:gd name="connsiteX22" fmla="*/ 96852 w 270502"/>
                <a:gd name="connsiteY22" fmla="*/ 180349 h 721392"/>
                <a:gd name="connsiteX23" fmla="*/ 135235 w 270502"/>
                <a:gd name="connsiteY23" fmla="*/ 120232 h 721392"/>
                <a:gd name="connsiteX24" fmla="*/ 135234 w 270502"/>
                <a:gd name="connsiteY24" fmla="*/ 120232 h 721392"/>
                <a:gd name="connsiteX25" fmla="*/ 135235 w 270502"/>
                <a:gd name="connsiteY25" fmla="*/ 120232 h 721392"/>
                <a:gd name="connsiteX26" fmla="*/ 135234 w 270502"/>
                <a:gd name="connsiteY26" fmla="*/ 0 h 721392"/>
                <a:gd name="connsiteX27" fmla="*/ 210379 w 270502"/>
                <a:gd name="connsiteY27" fmla="*/ 75145 h 721392"/>
                <a:gd name="connsiteX28" fmla="*/ 135234 w 270502"/>
                <a:gd name="connsiteY28" fmla="*/ 150290 h 721392"/>
                <a:gd name="connsiteX29" fmla="*/ 60089 w 270502"/>
                <a:gd name="connsiteY29" fmla="*/ 75145 h 721392"/>
                <a:gd name="connsiteX30" fmla="*/ 135234 w 270502"/>
                <a:gd name="connsiteY30"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181404 w 270502"/>
                <a:gd name="connsiteY5" fmla="*/ 691333 h 721392"/>
                <a:gd name="connsiteX6" fmla="*/ 89097 w 270502"/>
                <a:gd name="connsiteY6" fmla="*/ 691333 h 721392"/>
                <a:gd name="connsiteX7" fmla="*/ 96852 w 270502"/>
                <a:gd name="connsiteY7" fmla="*/ 180349 h 721392"/>
                <a:gd name="connsiteX8" fmla="*/ 173589 w 270502"/>
                <a:gd name="connsiteY8" fmla="*/ 180349 h 721392"/>
                <a:gd name="connsiteX9" fmla="*/ 250238 w 270502"/>
                <a:gd name="connsiteY9" fmla="*/ 253359 h 721392"/>
                <a:gd name="connsiteX10" fmla="*/ 270166 w 270502"/>
                <a:gd name="connsiteY10" fmla="*/ 427937 h 721392"/>
                <a:gd name="connsiteX11" fmla="*/ 257782 w 270502"/>
                <a:gd name="connsiteY11" fmla="*/ 467703 h 721392"/>
                <a:gd name="connsiteX12" fmla="*/ 226913 w 270502"/>
                <a:gd name="connsiteY12" fmla="*/ 482882 h 721392"/>
                <a:gd name="connsiteX13" fmla="*/ 210320 w 270502"/>
                <a:gd name="connsiteY13" fmla="*/ 707475 h 721392"/>
                <a:gd name="connsiteX14" fmla="*/ 195351 w 270502"/>
                <a:gd name="connsiteY14" fmla="*/ 721392 h 721392"/>
                <a:gd name="connsiteX15" fmla="*/ 75119 w 270502"/>
                <a:gd name="connsiteY15" fmla="*/ 721392 h 721392"/>
                <a:gd name="connsiteX16" fmla="*/ 60151 w 270502"/>
                <a:gd name="connsiteY16" fmla="*/ 707475 h 721392"/>
                <a:gd name="connsiteX17" fmla="*/ 43558 w 270502"/>
                <a:gd name="connsiteY17" fmla="*/ 482882 h 721392"/>
                <a:gd name="connsiteX18" fmla="*/ 12689 w 270502"/>
                <a:gd name="connsiteY18" fmla="*/ 467703 h 721392"/>
                <a:gd name="connsiteX19" fmla="*/ 335 w 270502"/>
                <a:gd name="connsiteY19" fmla="*/ 427937 h 721392"/>
                <a:gd name="connsiteX20" fmla="*/ 20264 w 270502"/>
                <a:gd name="connsiteY20" fmla="*/ 253359 h 721392"/>
                <a:gd name="connsiteX21" fmla="*/ 96852 w 270502"/>
                <a:gd name="connsiteY21" fmla="*/ 180349 h 721392"/>
                <a:gd name="connsiteX22" fmla="*/ 135235 w 270502"/>
                <a:gd name="connsiteY22" fmla="*/ 120232 h 721392"/>
                <a:gd name="connsiteX23" fmla="*/ 135234 w 270502"/>
                <a:gd name="connsiteY23" fmla="*/ 120232 h 721392"/>
                <a:gd name="connsiteX24" fmla="*/ 135235 w 270502"/>
                <a:gd name="connsiteY24" fmla="*/ 120232 h 721392"/>
                <a:gd name="connsiteX25" fmla="*/ 135234 w 270502"/>
                <a:gd name="connsiteY25" fmla="*/ 0 h 721392"/>
                <a:gd name="connsiteX26" fmla="*/ 210379 w 270502"/>
                <a:gd name="connsiteY26" fmla="*/ 75145 h 721392"/>
                <a:gd name="connsiteX27" fmla="*/ 135234 w 270502"/>
                <a:gd name="connsiteY27" fmla="*/ 150290 h 721392"/>
                <a:gd name="connsiteX28" fmla="*/ 60089 w 270502"/>
                <a:gd name="connsiteY28" fmla="*/ 75145 h 721392"/>
                <a:gd name="connsiteX29" fmla="*/ 135234 w 270502"/>
                <a:gd name="connsiteY29"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181404 w 270502"/>
                <a:gd name="connsiteY4" fmla="*/ 691333 h 721392"/>
                <a:gd name="connsiteX5" fmla="*/ 89097 w 270502"/>
                <a:gd name="connsiteY5" fmla="*/ 691333 h 721392"/>
                <a:gd name="connsiteX6" fmla="*/ 96852 w 270502"/>
                <a:gd name="connsiteY6" fmla="*/ 180349 h 721392"/>
                <a:gd name="connsiteX7" fmla="*/ 173589 w 270502"/>
                <a:gd name="connsiteY7" fmla="*/ 180349 h 721392"/>
                <a:gd name="connsiteX8" fmla="*/ 250238 w 270502"/>
                <a:gd name="connsiteY8" fmla="*/ 253359 h 721392"/>
                <a:gd name="connsiteX9" fmla="*/ 270166 w 270502"/>
                <a:gd name="connsiteY9" fmla="*/ 427937 h 721392"/>
                <a:gd name="connsiteX10" fmla="*/ 257782 w 270502"/>
                <a:gd name="connsiteY10" fmla="*/ 467703 h 721392"/>
                <a:gd name="connsiteX11" fmla="*/ 226913 w 270502"/>
                <a:gd name="connsiteY11" fmla="*/ 482882 h 721392"/>
                <a:gd name="connsiteX12" fmla="*/ 210320 w 270502"/>
                <a:gd name="connsiteY12" fmla="*/ 707475 h 721392"/>
                <a:gd name="connsiteX13" fmla="*/ 195351 w 270502"/>
                <a:gd name="connsiteY13" fmla="*/ 721392 h 721392"/>
                <a:gd name="connsiteX14" fmla="*/ 75119 w 270502"/>
                <a:gd name="connsiteY14" fmla="*/ 721392 h 721392"/>
                <a:gd name="connsiteX15" fmla="*/ 60151 w 270502"/>
                <a:gd name="connsiteY15" fmla="*/ 707475 h 721392"/>
                <a:gd name="connsiteX16" fmla="*/ 43558 w 270502"/>
                <a:gd name="connsiteY16" fmla="*/ 482882 h 721392"/>
                <a:gd name="connsiteX17" fmla="*/ 12689 w 270502"/>
                <a:gd name="connsiteY17" fmla="*/ 467703 h 721392"/>
                <a:gd name="connsiteX18" fmla="*/ 335 w 270502"/>
                <a:gd name="connsiteY18" fmla="*/ 427937 h 721392"/>
                <a:gd name="connsiteX19" fmla="*/ 20264 w 270502"/>
                <a:gd name="connsiteY19" fmla="*/ 253359 h 721392"/>
                <a:gd name="connsiteX20" fmla="*/ 96852 w 270502"/>
                <a:gd name="connsiteY20" fmla="*/ 180349 h 721392"/>
                <a:gd name="connsiteX21" fmla="*/ 135235 w 270502"/>
                <a:gd name="connsiteY21" fmla="*/ 120232 h 721392"/>
                <a:gd name="connsiteX22" fmla="*/ 135234 w 270502"/>
                <a:gd name="connsiteY22" fmla="*/ 120232 h 721392"/>
                <a:gd name="connsiteX23" fmla="*/ 135235 w 270502"/>
                <a:gd name="connsiteY23" fmla="*/ 120232 h 721392"/>
                <a:gd name="connsiteX24" fmla="*/ 135234 w 270502"/>
                <a:gd name="connsiteY24" fmla="*/ 0 h 721392"/>
                <a:gd name="connsiteX25" fmla="*/ 210379 w 270502"/>
                <a:gd name="connsiteY25" fmla="*/ 75145 h 721392"/>
                <a:gd name="connsiteX26" fmla="*/ 135234 w 270502"/>
                <a:gd name="connsiteY26" fmla="*/ 150290 h 721392"/>
                <a:gd name="connsiteX27" fmla="*/ 60089 w 270502"/>
                <a:gd name="connsiteY27" fmla="*/ 75145 h 721392"/>
                <a:gd name="connsiteX28" fmla="*/ 135234 w 270502"/>
                <a:gd name="connsiteY2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81404 w 270502"/>
                <a:gd name="connsiteY3" fmla="*/ 691333 h 721392"/>
                <a:gd name="connsiteX4" fmla="*/ 89097 w 270502"/>
                <a:gd name="connsiteY4" fmla="*/ 691333 h 721392"/>
                <a:gd name="connsiteX5" fmla="*/ 96852 w 270502"/>
                <a:gd name="connsiteY5" fmla="*/ 180349 h 721392"/>
                <a:gd name="connsiteX6" fmla="*/ 173589 w 270502"/>
                <a:gd name="connsiteY6" fmla="*/ 180349 h 721392"/>
                <a:gd name="connsiteX7" fmla="*/ 250238 w 270502"/>
                <a:gd name="connsiteY7" fmla="*/ 253359 h 721392"/>
                <a:gd name="connsiteX8" fmla="*/ 270166 w 270502"/>
                <a:gd name="connsiteY8" fmla="*/ 427937 h 721392"/>
                <a:gd name="connsiteX9" fmla="*/ 257782 w 270502"/>
                <a:gd name="connsiteY9" fmla="*/ 467703 h 721392"/>
                <a:gd name="connsiteX10" fmla="*/ 226913 w 270502"/>
                <a:gd name="connsiteY10" fmla="*/ 482882 h 721392"/>
                <a:gd name="connsiteX11" fmla="*/ 210320 w 270502"/>
                <a:gd name="connsiteY11" fmla="*/ 707475 h 721392"/>
                <a:gd name="connsiteX12" fmla="*/ 195351 w 270502"/>
                <a:gd name="connsiteY12" fmla="*/ 721392 h 721392"/>
                <a:gd name="connsiteX13" fmla="*/ 75119 w 270502"/>
                <a:gd name="connsiteY13" fmla="*/ 721392 h 721392"/>
                <a:gd name="connsiteX14" fmla="*/ 60151 w 270502"/>
                <a:gd name="connsiteY14" fmla="*/ 707475 h 721392"/>
                <a:gd name="connsiteX15" fmla="*/ 43558 w 270502"/>
                <a:gd name="connsiteY15" fmla="*/ 482882 h 721392"/>
                <a:gd name="connsiteX16" fmla="*/ 12689 w 270502"/>
                <a:gd name="connsiteY16" fmla="*/ 467703 h 721392"/>
                <a:gd name="connsiteX17" fmla="*/ 335 w 270502"/>
                <a:gd name="connsiteY17" fmla="*/ 427937 h 721392"/>
                <a:gd name="connsiteX18" fmla="*/ 20264 w 270502"/>
                <a:gd name="connsiteY18" fmla="*/ 253359 h 721392"/>
                <a:gd name="connsiteX19" fmla="*/ 96852 w 270502"/>
                <a:gd name="connsiteY19" fmla="*/ 180349 h 721392"/>
                <a:gd name="connsiteX20" fmla="*/ 135235 w 270502"/>
                <a:gd name="connsiteY20" fmla="*/ 120232 h 721392"/>
                <a:gd name="connsiteX21" fmla="*/ 135234 w 270502"/>
                <a:gd name="connsiteY21" fmla="*/ 120232 h 721392"/>
                <a:gd name="connsiteX22" fmla="*/ 135235 w 270502"/>
                <a:gd name="connsiteY22" fmla="*/ 120232 h 721392"/>
                <a:gd name="connsiteX23" fmla="*/ 135234 w 270502"/>
                <a:gd name="connsiteY23" fmla="*/ 0 h 721392"/>
                <a:gd name="connsiteX24" fmla="*/ 210379 w 270502"/>
                <a:gd name="connsiteY24" fmla="*/ 75145 h 721392"/>
                <a:gd name="connsiteX25" fmla="*/ 135234 w 270502"/>
                <a:gd name="connsiteY25" fmla="*/ 150290 h 721392"/>
                <a:gd name="connsiteX26" fmla="*/ 60089 w 270502"/>
                <a:gd name="connsiteY26" fmla="*/ 75145 h 721392"/>
                <a:gd name="connsiteX27" fmla="*/ 135234 w 270502"/>
                <a:gd name="connsiteY2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89097 w 270502"/>
                <a:gd name="connsiteY3" fmla="*/ 691333 h 721392"/>
                <a:gd name="connsiteX4" fmla="*/ 96852 w 270502"/>
                <a:gd name="connsiteY4" fmla="*/ 180349 h 721392"/>
                <a:gd name="connsiteX5" fmla="*/ 173589 w 270502"/>
                <a:gd name="connsiteY5" fmla="*/ 180349 h 721392"/>
                <a:gd name="connsiteX6" fmla="*/ 250238 w 270502"/>
                <a:gd name="connsiteY6" fmla="*/ 253359 h 721392"/>
                <a:gd name="connsiteX7" fmla="*/ 270166 w 270502"/>
                <a:gd name="connsiteY7" fmla="*/ 427937 h 721392"/>
                <a:gd name="connsiteX8" fmla="*/ 257782 w 270502"/>
                <a:gd name="connsiteY8" fmla="*/ 467703 h 721392"/>
                <a:gd name="connsiteX9" fmla="*/ 226913 w 270502"/>
                <a:gd name="connsiteY9" fmla="*/ 482882 h 721392"/>
                <a:gd name="connsiteX10" fmla="*/ 210320 w 270502"/>
                <a:gd name="connsiteY10" fmla="*/ 707475 h 721392"/>
                <a:gd name="connsiteX11" fmla="*/ 195351 w 270502"/>
                <a:gd name="connsiteY11" fmla="*/ 721392 h 721392"/>
                <a:gd name="connsiteX12" fmla="*/ 75119 w 270502"/>
                <a:gd name="connsiteY12" fmla="*/ 721392 h 721392"/>
                <a:gd name="connsiteX13" fmla="*/ 60151 w 270502"/>
                <a:gd name="connsiteY13" fmla="*/ 707475 h 721392"/>
                <a:gd name="connsiteX14" fmla="*/ 43558 w 270502"/>
                <a:gd name="connsiteY14" fmla="*/ 482882 h 721392"/>
                <a:gd name="connsiteX15" fmla="*/ 12689 w 270502"/>
                <a:gd name="connsiteY15" fmla="*/ 467703 h 721392"/>
                <a:gd name="connsiteX16" fmla="*/ 335 w 270502"/>
                <a:gd name="connsiteY16" fmla="*/ 427937 h 721392"/>
                <a:gd name="connsiteX17" fmla="*/ 20264 w 270502"/>
                <a:gd name="connsiteY17" fmla="*/ 253359 h 721392"/>
                <a:gd name="connsiteX18" fmla="*/ 96852 w 270502"/>
                <a:gd name="connsiteY18" fmla="*/ 180349 h 721392"/>
                <a:gd name="connsiteX19" fmla="*/ 135235 w 270502"/>
                <a:gd name="connsiteY19" fmla="*/ 120232 h 721392"/>
                <a:gd name="connsiteX20" fmla="*/ 135234 w 270502"/>
                <a:gd name="connsiteY20" fmla="*/ 120232 h 721392"/>
                <a:gd name="connsiteX21" fmla="*/ 135235 w 270502"/>
                <a:gd name="connsiteY21" fmla="*/ 120232 h 721392"/>
                <a:gd name="connsiteX22" fmla="*/ 135234 w 270502"/>
                <a:gd name="connsiteY22" fmla="*/ 0 h 721392"/>
                <a:gd name="connsiteX23" fmla="*/ 210379 w 270502"/>
                <a:gd name="connsiteY23" fmla="*/ 75145 h 721392"/>
                <a:gd name="connsiteX24" fmla="*/ 135234 w 270502"/>
                <a:gd name="connsiteY24" fmla="*/ 150290 h 721392"/>
                <a:gd name="connsiteX25" fmla="*/ 60089 w 270502"/>
                <a:gd name="connsiteY25" fmla="*/ 75145 h 721392"/>
                <a:gd name="connsiteX26" fmla="*/ 135234 w 270502"/>
                <a:gd name="connsiteY26" fmla="*/ 0 h 721392"/>
                <a:gd name="connsiteX0" fmla="*/ 89097 w 270502"/>
                <a:gd name="connsiteY0" fmla="*/ 691333 h 721392"/>
                <a:gd name="connsiteX1" fmla="*/ 89097 w 270502"/>
                <a:gd name="connsiteY1" fmla="*/ 691334 h 721392"/>
                <a:gd name="connsiteX2" fmla="*/ 89097 w 270502"/>
                <a:gd name="connsiteY2" fmla="*/ 691333 h 721392"/>
                <a:gd name="connsiteX3" fmla="*/ 96852 w 270502"/>
                <a:gd name="connsiteY3" fmla="*/ 180349 h 721392"/>
                <a:gd name="connsiteX4" fmla="*/ 173589 w 270502"/>
                <a:gd name="connsiteY4" fmla="*/ 180349 h 721392"/>
                <a:gd name="connsiteX5" fmla="*/ 250238 w 270502"/>
                <a:gd name="connsiteY5" fmla="*/ 253359 h 721392"/>
                <a:gd name="connsiteX6" fmla="*/ 270166 w 270502"/>
                <a:gd name="connsiteY6" fmla="*/ 427937 h 721392"/>
                <a:gd name="connsiteX7" fmla="*/ 257782 w 270502"/>
                <a:gd name="connsiteY7" fmla="*/ 467703 h 721392"/>
                <a:gd name="connsiteX8" fmla="*/ 226913 w 270502"/>
                <a:gd name="connsiteY8" fmla="*/ 482882 h 721392"/>
                <a:gd name="connsiteX9" fmla="*/ 210320 w 270502"/>
                <a:gd name="connsiteY9" fmla="*/ 707475 h 721392"/>
                <a:gd name="connsiteX10" fmla="*/ 195351 w 270502"/>
                <a:gd name="connsiteY10" fmla="*/ 721392 h 721392"/>
                <a:gd name="connsiteX11" fmla="*/ 75119 w 270502"/>
                <a:gd name="connsiteY11" fmla="*/ 721392 h 721392"/>
                <a:gd name="connsiteX12" fmla="*/ 60151 w 270502"/>
                <a:gd name="connsiteY12" fmla="*/ 707475 h 721392"/>
                <a:gd name="connsiteX13" fmla="*/ 43558 w 270502"/>
                <a:gd name="connsiteY13" fmla="*/ 482882 h 721392"/>
                <a:gd name="connsiteX14" fmla="*/ 12689 w 270502"/>
                <a:gd name="connsiteY14" fmla="*/ 467703 h 721392"/>
                <a:gd name="connsiteX15" fmla="*/ 335 w 270502"/>
                <a:gd name="connsiteY15" fmla="*/ 427937 h 721392"/>
                <a:gd name="connsiteX16" fmla="*/ 20264 w 270502"/>
                <a:gd name="connsiteY16" fmla="*/ 253359 h 721392"/>
                <a:gd name="connsiteX17" fmla="*/ 96852 w 270502"/>
                <a:gd name="connsiteY17" fmla="*/ 180349 h 721392"/>
                <a:gd name="connsiteX18" fmla="*/ 135235 w 270502"/>
                <a:gd name="connsiteY18" fmla="*/ 120232 h 721392"/>
                <a:gd name="connsiteX19" fmla="*/ 135234 w 270502"/>
                <a:gd name="connsiteY19" fmla="*/ 120232 h 721392"/>
                <a:gd name="connsiteX20" fmla="*/ 135235 w 270502"/>
                <a:gd name="connsiteY20" fmla="*/ 120232 h 721392"/>
                <a:gd name="connsiteX21" fmla="*/ 135234 w 270502"/>
                <a:gd name="connsiteY21" fmla="*/ 0 h 721392"/>
                <a:gd name="connsiteX22" fmla="*/ 210379 w 270502"/>
                <a:gd name="connsiteY22" fmla="*/ 75145 h 721392"/>
                <a:gd name="connsiteX23" fmla="*/ 135234 w 270502"/>
                <a:gd name="connsiteY23" fmla="*/ 150290 h 721392"/>
                <a:gd name="connsiteX24" fmla="*/ 60089 w 270502"/>
                <a:gd name="connsiteY24" fmla="*/ 75145 h 721392"/>
                <a:gd name="connsiteX25" fmla="*/ 135234 w 270502"/>
                <a:gd name="connsiteY25"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5 w 270502"/>
                <a:gd name="connsiteY15" fmla="*/ 120232 h 721392"/>
                <a:gd name="connsiteX16" fmla="*/ 135234 w 270502"/>
                <a:gd name="connsiteY16" fmla="*/ 120232 h 721392"/>
                <a:gd name="connsiteX17" fmla="*/ 135235 w 270502"/>
                <a:gd name="connsiteY17" fmla="*/ 120232 h 721392"/>
                <a:gd name="connsiteX18" fmla="*/ 135234 w 270502"/>
                <a:gd name="connsiteY18" fmla="*/ 0 h 721392"/>
                <a:gd name="connsiteX19" fmla="*/ 210379 w 270502"/>
                <a:gd name="connsiteY19" fmla="*/ 75145 h 721392"/>
                <a:gd name="connsiteX20" fmla="*/ 135234 w 270502"/>
                <a:gd name="connsiteY20" fmla="*/ 150290 h 721392"/>
                <a:gd name="connsiteX21" fmla="*/ 60089 w 270502"/>
                <a:gd name="connsiteY21" fmla="*/ 75145 h 721392"/>
                <a:gd name="connsiteX22" fmla="*/ 135234 w 270502"/>
                <a:gd name="connsiteY22"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4 w 270502"/>
                <a:gd name="connsiteY15" fmla="*/ 0 h 721392"/>
                <a:gd name="connsiteX16" fmla="*/ 210379 w 270502"/>
                <a:gd name="connsiteY16" fmla="*/ 75145 h 721392"/>
                <a:gd name="connsiteX17" fmla="*/ 135234 w 270502"/>
                <a:gd name="connsiteY17" fmla="*/ 150290 h 721392"/>
                <a:gd name="connsiteX18" fmla="*/ 60089 w 270502"/>
                <a:gd name="connsiteY18" fmla="*/ 75145 h 721392"/>
                <a:gd name="connsiteX19" fmla="*/ 135234 w 270502"/>
                <a:gd name="connsiteY19" fmla="*/ 0 h 72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0502" h="721392">
                  <a:moveTo>
                    <a:pt x="96852" y="180349"/>
                  </a:moveTo>
                  <a:lnTo>
                    <a:pt x="173589" y="180349"/>
                  </a:lnTo>
                  <a:cubicBezTo>
                    <a:pt x="212545" y="180349"/>
                    <a:pt x="245518" y="211730"/>
                    <a:pt x="250238" y="253359"/>
                  </a:cubicBezTo>
                  <a:lnTo>
                    <a:pt x="270166" y="427937"/>
                  </a:lnTo>
                  <a:cubicBezTo>
                    <a:pt x="271819" y="442545"/>
                    <a:pt x="267341" y="457033"/>
                    <a:pt x="257782" y="467703"/>
                  </a:cubicBezTo>
                  <a:cubicBezTo>
                    <a:pt x="249576" y="476901"/>
                    <a:pt x="238695" y="482221"/>
                    <a:pt x="226913" y="482882"/>
                  </a:cubicBezTo>
                  <a:lnTo>
                    <a:pt x="210320" y="707475"/>
                  </a:lnTo>
                  <a:cubicBezTo>
                    <a:pt x="209779" y="715320"/>
                    <a:pt x="203227" y="721392"/>
                    <a:pt x="195351" y="721392"/>
                  </a:cubicBezTo>
                  <a:lnTo>
                    <a:pt x="75119" y="721392"/>
                  </a:lnTo>
                  <a:cubicBezTo>
                    <a:pt x="67274" y="721392"/>
                    <a:pt x="60722" y="715320"/>
                    <a:pt x="60151" y="707475"/>
                  </a:cubicBezTo>
                  <a:lnTo>
                    <a:pt x="43558" y="482882"/>
                  </a:lnTo>
                  <a:cubicBezTo>
                    <a:pt x="31746" y="482221"/>
                    <a:pt x="20895" y="476870"/>
                    <a:pt x="12689" y="467703"/>
                  </a:cubicBezTo>
                  <a:cubicBezTo>
                    <a:pt x="3191" y="457062"/>
                    <a:pt x="-1318" y="442545"/>
                    <a:pt x="335" y="427937"/>
                  </a:cubicBezTo>
                  <a:lnTo>
                    <a:pt x="20264" y="253359"/>
                  </a:lnTo>
                  <a:cubicBezTo>
                    <a:pt x="25013" y="211730"/>
                    <a:pt x="57957" y="180349"/>
                    <a:pt x="96852" y="180349"/>
                  </a:cubicBezTo>
                  <a:close/>
                  <a:moveTo>
                    <a:pt x="135234" y="0"/>
                  </a:moveTo>
                  <a:cubicBezTo>
                    <a:pt x="176684" y="0"/>
                    <a:pt x="210379" y="33725"/>
                    <a:pt x="210379" y="75145"/>
                  </a:cubicBezTo>
                  <a:cubicBezTo>
                    <a:pt x="210379" y="116565"/>
                    <a:pt x="176655" y="150290"/>
                    <a:pt x="135234" y="150290"/>
                  </a:cubicBezTo>
                  <a:cubicBezTo>
                    <a:pt x="93814" y="150290"/>
                    <a:pt x="60089" y="116565"/>
                    <a:pt x="60089" y="75145"/>
                  </a:cubicBezTo>
                  <a:cubicBezTo>
                    <a:pt x="60089" y="33725"/>
                    <a:pt x="93814" y="0"/>
                    <a:pt x="135234" y="0"/>
                  </a:cubicBezTo>
                  <a:close/>
                </a:path>
              </a:pathLst>
            </a:custGeom>
            <a:solidFill>
              <a:schemeClr val="bg1">
                <a:lumMod val="85000"/>
              </a:schemeClr>
            </a:soli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noProof="0">
                <a:solidFill>
                  <a:schemeClr val="tx1"/>
                </a:solidFill>
              </a:endParaRPr>
            </a:p>
          </p:txBody>
        </p:sp>
        <p:sp>
          <p:nvSpPr>
            <p:cNvPr id="16" name="Oval 15">
              <a:extLst>
                <a:ext uri="{FF2B5EF4-FFF2-40B4-BE49-F238E27FC236}">
                  <a16:creationId xmlns:a16="http://schemas.microsoft.com/office/drawing/2014/main" id="{1A055EE1-9ABB-2A0D-4BC9-DF4D57D27B0E}"/>
                </a:ext>
              </a:extLst>
            </p:cNvPr>
            <p:cNvSpPr/>
            <p:nvPr/>
          </p:nvSpPr>
          <p:spPr>
            <a:xfrm>
              <a:off x="8983530" y="4074364"/>
              <a:ext cx="309454" cy="309454"/>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Freeform 16">
              <a:extLst>
                <a:ext uri="{FF2B5EF4-FFF2-40B4-BE49-F238E27FC236}">
                  <a16:creationId xmlns:a16="http://schemas.microsoft.com/office/drawing/2014/main" id="{BDAA240F-485B-B443-C09C-F19D7273D4C8}"/>
                </a:ext>
              </a:extLst>
            </p:cNvPr>
            <p:cNvSpPr/>
            <p:nvPr/>
          </p:nvSpPr>
          <p:spPr>
            <a:xfrm>
              <a:off x="9120057" y="4080064"/>
              <a:ext cx="172927" cy="302626"/>
            </a:xfrm>
            <a:custGeom>
              <a:avLst/>
              <a:gdLst>
                <a:gd name="connsiteX0" fmla="*/ 46431 w 172927"/>
                <a:gd name="connsiteY0" fmla="*/ 0 h 302626"/>
                <a:gd name="connsiteX1" fmla="*/ 78427 w 172927"/>
                <a:gd name="connsiteY1" fmla="*/ 6459 h 302626"/>
                <a:gd name="connsiteX2" fmla="*/ 172927 w 172927"/>
                <a:gd name="connsiteY2" fmla="*/ 149027 h 302626"/>
                <a:gd name="connsiteX3" fmla="*/ 78427 w 172927"/>
                <a:gd name="connsiteY3" fmla="*/ 291595 h 302626"/>
                <a:gd name="connsiteX4" fmla="*/ 23787 w 172927"/>
                <a:gd name="connsiteY4" fmla="*/ 302626 h 302626"/>
                <a:gd name="connsiteX5" fmla="*/ 14435 w 172927"/>
                <a:gd name="connsiteY5" fmla="*/ 295468 h 302626"/>
                <a:gd name="connsiteX6" fmla="*/ 381 w 172927"/>
                <a:gd name="connsiteY6" fmla="*/ 250230 h 302626"/>
                <a:gd name="connsiteX7" fmla="*/ 23052 w 172927"/>
                <a:gd name="connsiteY7" fmla="*/ 51631 h 302626"/>
                <a:gd name="connsiteX8" fmla="*/ 32723 w 172927"/>
                <a:gd name="connsiteY8" fmla="*/ 18675 h 302626"/>
                <a:gd name="connsiteX9" fmla="*/ 46431 w 172927"/>
                <a:gd name="connsiteY9" fmla="*/ 0 h 30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27" h="302626">
                  <a:moveTo>
                    <a:pt x="46431" y="0"/>
                  </a:moveTo>
                  <a:lnTo>
                    <a:pt x="78427" y="6459"/>
                  </a:lnTo>
                  <a:cubicBezTo>
                    <a:pt x="133960" y="29948"/>
                    <a:pt x="172927" y="84937"/>
                    <a:pt x="172927" y="149027"/>
                  </a:cubicBezTo>
                  <a:cubicBezTo>
                    <a:pt x="172927" y="213117"/>
                    <a:pt x="133960" y="268106"/>
                    <a:pt x="78427" y="291595"/>
                  </a:cubicBezTo>
                  <a:lnTo>
                    <a:pt x="23787" y="302626"/>
                  </a:lnTo>
                  <a:lnTo>
                    <a:pt x="14435" y="295468"/>
                  </a:lnTo>
                  <a:cubicBezTo>
                    <a:pt x="3630" y="283362"/>
                    <a:pt x="-1499" y="266848"/>
                    <a:pt x="381" y="250230"/>
                  </a:cubicBezTo>
                  <a:lnTo>
                    <a:pt x="23052" y="51631"/>
                  </a:lnTo>
                  <a:cubicBezTo>
                    <a:pt x="24403" y="39792"/>
                    <a:pt x="27758" y="28682"/>
                    <a:pt x="32723" y="18675"/>
                  </a:cubicBezTo>
                  <a:lnTo>
                    <a:pt x="46431" y="0"/>
                  </a:lnTo>
                  <a:close/>
                </a:path>
              </a:pathLst>
            </a:custGeom>
            <a:solidFill>
              <a:schemeClr val="accent5"/>
            </a:soli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noProof="0">
                <a:solidFill>
                  <a:schemeClr val="tx1"/>
                </a:solidFill>
              </a:endParaRPr>
            </a:p>
          </p:txBody>
        </p:sp>
        <p:sp>
          <p:nvSpPr>
            <p:cNvPr id="18" name="Graphic 3493">
              <a:extLst>
                <a:ext uri="{FF2B5EF4-FFF2-40B4-BE49-F238E27FC236}">
                  <a16:creationId xmlns:a16="http://schemas.microsoft.com/office/drawing/2014/main" id="{0FEA9694-2D56-58BF-DB0D-77E4A1A34F6F}"/>
                </a:ext>
              </a:extLst>
            </p:cNvPr>
            <p:cNvSpPr/>
            <p:nvPr/>
          </p:nvSpPr>
          <p:spPr>
            <a:xfrm flipH="1">
              <a:off x="8937091" y="4027700"/>
              <a:ext cx="636436" cy="636426"/>
            </a:xfrm>
            <a:custGeom>
              <a:avLst/>
              <a:gdLst>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15254 w 1079629"/>
                <a:gd name="connsiteY13" fmla="*/ 314410 h 1276592"/>
                <a:gd name="connsiteX14" fmla="*/ 962197 w 1079629"/>
                <a:gd name="connsiteY14" fmla="*/ 314416 h 1276592"/>
                <a:gd name="connsiteX15" fmla="*/ 962197 w 1079629"/>
                <a:gd name="connsiteY15" fmla="*/ 761353 h 1276592"/>
                <a:gd name="connsiteX16" fmla="*/ 515254 w 1079629"/>
                <a:gd name="connsiteY16" fmla="*/ 761353 h 1276592"/>
                <a:gd name="connsiteX17" fmla="*/ 515254 w 1079629"/>
                <a:gd name="connsiteY17" fmla="*/ 314410 h 1276592"/>
                <a:gd name="connsiteX18" fmla="*/ 476495 w 1079629"/>
                <a:gd name="connsiteY18" fmla="*/ 755879 h 1276592"/>
                <a:gd name="connsiteX19" fmla="*/ 520725 w 1079629"/>
                <a:gd name="connsiteY19" fmla="*/ 800112 h 1276592"/>
                <a:gd name="connsiteX20" fmla="*/ 485729 w 1079629"/>
                <a:gd name="connsiteY20" fmla="*/ 835108 h 1276592"/>
                <a:gd name="connsiteX21" fmla="*/ 441497 w 1079629"/>
                <a:gd name="connsiteY21" fmla="*/ 790876 h 1276592"/>
                <a:gd name="connsiteX22" fmla="*/ 45632 w 1079629"/>
                <a:gd name="connsiteY22" fmla="*/ 1110210 h 1276592"/>
                <a:gd name="connsiteX23" fmla="*/ 365231 w 1079629"/>
                <a:gd name="connsiteY23" fmla="*/ 824183 h 1276592"/>
                <a:gd name="connsiteX24" fmla="*/ 452424 w 1079629"/>
                <a:gd name="connsiteY24" fmla="*/ 911376 h 1276592"/>
                <a:gd name="connsiteX25" fmla="*/ 166397 w 1079629"/>
                <a:gd name="connsiteY25" fmla="*/ 1230975 h 1276592"/>
                <a:gd name="connsiteX26" fmla="*/ 76717 w 1079629"/>
                <a:gd name="connsiteY26" fmla="*/ 1233463 h 1276592"/>
                <a:gd name="connsiteX27" fmla="*/ 43144 w 1079629"/>
                <a:gd name="connsiteY27" fmla="*/ 1199890 h 1276592"/>
                <a:gd name="connsiteX28" fmla="*/ 45632 w 1079629"/>
                <a:gd name="connsiteY28" fmla="*/ 1110210 h 1276592"/>
                <a:gd name="connsiteX29" fmla="*/ 922345 w 1079629"/>
                <a:gd name="connsiteY29" fmla="*/ 721509 h 1276592"/>
                <a:gd name="connsiteX30" fmla="*/ 922345 w 1079629"/>
                <a:gd name="connsiteY30" fmla="*/ 354260 h 1276592"/>
                <a:gd name="connsiteX31" fmla="*/ 555095 w 1079629"/>
                <a:gd name="connsiteY31" fmla="*/ 354260 h 1276592"/>
                <a:gd name="connsiteX32" fmla="*/ 555095 w 1079629"/>
                <a:gd name="connsiteY32" fmla="*/ 721509 h 1276592"/>
                <a:gd name="connsiteX33" fmla="*/ 922345 w 1079629"/>
                <a:gd name="connsiteY33" fmla="*/ 721509 h 1276592"/>
                <a:gd name="connsiteX34" fmla="*/ 572794 w 1079629"/>
                <a:gd name="connsiteY34" fmla="*/ 371958 h 1276592"/>
                <a:gd name="connsiteX35" fmla="*/ 904646 w 1079629"/>
                <a:gd name="connsiteY35" fmla="*/ 371958 h 1276592"/>
                <a:gd name="connsiteX36" fmla="*/ 904646 w 1079629"/>
                <a:gd name="connsiteY36" fmla="*/ 703811 h 1276592"/>
                <a:gd name="connsiteX37" fmla="*/ 572794 w 1079629"/>
                <a:gd name="connsiteY37" fmla="*/ 703811 h 1276592"/>
                <a:gd name="connsiteX38" fmla="*/ 572794 w 1079629"/>
                <a:gd name="connsiteY38" fmla="*/ 371958 h 1276592"/>
                <a:gd name="connsiteX39" fmla="*/ 574334 w 1079629"/>
                <a:gd name="connsiteY39" fmla="*/ 550402 h 1276592"/>
                <a:gd name="connsiteX40" fmla="*/ 561818 w 1079629"/>
                <a:gd name="connsiteY40" fmla="*/ 537886 h 1276592"/>
                <a:gd name="connsiteX41" fmla="*/ 738726 w 1079629"/>
                <a:gd name="connsiteY41" fmla="*/ 361008 h 1276592"/>
                <a:gd name="connsiteX42" fmla="*/ 751242 w 1079629"/>
                <a:gd name="connsiteY42" fmla="*/ 373524 h 1276592"/>
                <a:gd name="connsiteX43" fmla="*/ 738726 w 1079629"/>
                <a:gd name="connsiteY43" fmla="*/ 386040 h 1276592"/>
                <a:gd name="connsiteX44" fmla="*/ 586850 w 1079629"/>
                <a:gd name="connsiteY44" fmla="*/ 537886 h 1276592"/>
                <a:gd name="connsiteX45" fmla="*/ 574334 w 1079629"/>
                <a:gd name="connsiteY45" fmla="*/ 550402 h 1276592"/>
                <a:gd name="connsiteX46" fmla="*/ 446725 w 1079629"/>
                <a:gd name="connsiteY46" fmla="*/ 184871 h 1276592"/>
                <a:gd name="connsiteX47" fmla="*/ 306948 w 1079629"/>
                <a:gd name="connsiteY47" fmla="*/ 45086 h 1276592"/>
                <a:gd name="connsiteX48" fmla="*/ 306948 w 1079629"/>
                <a:gd name="connsiteY48" fmla="*/ 27388 h 1276592"/>
                <a:gd name="connsiteX49" fmla="*/ 324647 w 1079629"/>
                <a:gd name="connsiteY49" fmla="*/ 27388 h 1276592"/>
                <a:gd name="connsiteX50" fmla="*/ 464424 w 1079629"/>
                <a:gd name="connsiteY50" fmla="*/ 167172 h 1276592"/>
                <a:gd name="connsiteX51" fmla="*/ 464424 w 1079629"/>
                <a:gd name="connsiteY51" fmla="*/ 184871 h 1276592"/>
                <a:gd name="connsiteX52" fmla="*/ 446725 w 1079629"/>
                <a:gd name="connsiteY52" fmla="*/ 184871 h 1276592"/>
                <a:gd name="connsiteX53" fmla="*/ 573156 w 1079629"/>
                <a:gd name="connsiteY53" fmla="*/ 11132 h 1276592"/>
                <a:gd name="connsiteX54" fmla="*/ 582720 w 1079629"/>
                <a:gd name="connsiteY54" fmla="*/ 96368 h 1276592"/>
                <a:gd name="connsiteX55" fmla="*/ 570265 w 1079629"/>
                <a:gd name="connsiteY55" fmla="*/ 110276 h 1276592"/>
                <a:gd name="connsiteX56" fmla="*/ 557846 w 1079629"/>
                <a:gd name="connsiteY56" fmla="*/ 99155 h 1276592"/>
                <a:gd name="connsiteX57" fmla="*/ 548283 w 1079629"/>
                <a:gd name="connsiteY57" fmla="*/ 13919 h 1276592"/>
                <a:gd name="connsiteX58" fmla="*/ 559325 w 1079629"/>
                <a:gd name="connsiteY58" fmla="*/ 90 h 1276592"/>
                <a:gd name="connsiteX59" fmla="*/ 573156 w 1079629"/>
                <a:gd name="connsiteY59" fmla="*/ 11132 h 1276592"/>
                <a:gd name="connsiteX60" fmla="*/ 378708 w 1079629"/>
                <a:gd name="connsiteY60" fmla="*/ 278296 h 1276592"/>
                <a:gd name="connsiteX61" fmla="*/ 389750 w 1079629"/>
                <a:gd name="connsiteY61" fmla="*/ 292124 h 1276592"/>
                <a:gd name="connsiteX62" fmla="*/ 375921 w 1079629"/>
                <a:gd name="connsiteY62" fmla="*/ 303167 h 1276592"/>
                <a:gd name="connsiteX63" fmla="*/ 290685 w 1079629"/>
                <a:gd name="connsiteY63" fmla="*/ 293603 h 1276592"/>
                <a:gd name="connsiteX64" fmla="*/ 279643 w 1079629"/>
                <a:gd name="connsiteY64" fmla="*/ 279775 h 1276592"/>
                <a:gd name="connsiteX65" fmla="*/ 293472 w 1079629"/>
                <a:gd name="connsiteY65" fmla="*/ 268732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4334 w 1079629"/>
                <a:gd name="connsiteY41" fmla="*/ 550402 h 1276592"/>
                <a:gd name="connsiteX42" fmla="*/ 561818 w 1079629"/>
                <a:gd name="connsiteY42" fmla="*/ 537886 h 1276592"/>
                <a:gd name="connsiteX43" fmla="*/ 738726 w 1079629"/>
                <a:gd name="connsiteY43" fmla="*/ 361008 h 1276592"/>
                <a:gd name="connsiteX44" fmla="*/ 751242 w 1079629"/>
                <a:gd name="connsiteY44" fmla="*/ 373524 h 1276592"/>
                <a:gd name="connsiteX45" fmla="*/ 586850 w 1079629"/>
                <a:gd name="connsiteY45" fmla="*/ 537886 h 1276592"/>
                <a:gd name="connsiteX46" fmla="*/ 574334 w 1079629"/>
                <a:gd name="connsiteY46" fmla="*/ 550402 h 1276592"/>
                <a:gd name="connsiteX47" fmla="*/ 446725 w 1079629"/>
                <a:gd name="connsiteY47" fmla="*/ 184871 h 1276592"/>
                <a:gd name="connsiteX48" fmla="*/ 306948 w 1079629"/>
                <a:gd name="connsiteY48" fmla="*/ 45086 h 1276592"/>
                <a:gd name="connsiteX49" fmla="*/ 306948 w 1079629"/>
                <a:gd name="connsiteY49" fmla="*/ 27388 h 1276592"/>
                <a:gd name="connsiteX50" fmla="*/ 324647 w 1079629"/>
                <a:gd name="connsiteY50" fmla="*/ 27388 h 1276592"/>
                <a:gd name="connsiteX51" fmla="*/ 464424 w 1079629"/>
                <a:gd name="connsiteY51" fmla="*/ 167172 h 1276592"/>
                <a:gd name="connsiteX52" fmla="*/ 464424 w 1079629"/>
                <a:gd name="connsiteY52" fmla="*/ 184871 h 1276592"/>
                <a:gd name="connsiteX53" fmla="*/ 446725 w 1079629"/>
                <a:gd name="connsiteY53" fmla="*/ 184871 h 1276592"/>
                <a:gd name="connsiteX54" fmla="*/ 573156 w 1079629"/>
                <a:gd name="connsiteY54" fmla="*/ 11132 h 1276592"/>
                <a:gd name="connsiteX55" fmla="*/ 582720 w 1079629"/>
                <a:gd name="connsiteY55" fmla="*/ 96368 h 1276592"/>
                <a:gd name="connsiteX56" fmla="*/ 570265 w 1079629"/>
                <a:gd name="connsiteY56" fmla="*/ 110276 h 1276592"/>
                <a:gd name="connsiteX57" fmla="*/ 557846 w 1079629"/>
                <a:gd name="connsiteY57" fmla="*/ 99155 h 1276592"/>
                <a:gd name="connsiteX58" fmla="*/ 548283 w 1079629"/>
                <a:gd name="connsiteY58" fmla="*/ 13919 h 1276592"/>
                <a:gd name="connsiteX59" fmla="*/ 559325 w 1079629"/>
                <a:gd name="connsiteY59" fmla="*/ 90 h 1276592"/>
                <a:gd name="connsiteX60" fmla="*/ 573156 w 1079629"/>
                <a:gd name="connsiteY60" fmla="*/ 11132 h 1276592"/>
                <a:gd name="connsiteX61" fmla="*/ 378708 w 1079629"/>
                <a:gd name="connsiteY61" fmla="*/ 278296 h 1276592"/>
                <a:gd name="connsiteX62" fmla="*/ 389750 w 1079629"/>
                <a:gd name="connsiteY62" fmla="*/ 292124 h 1276592"/>
                <a:gd name="connsiteX63" fmla="*/ 375921 w 1079629"/>
                <a:gd name="connsiteY63" fmla="*/ 303167 h 1276592"/>
                <a:gd name="connsiteX64" fmla="*/ 290685 w 1079629"/>
                <a:gd name="connsiteY64" fmla="*/ 293603 h 1276592"/>
                <a:gd name="connsiteX65" fmla="*/ 279643 w 1079629"/>
                <a:gd name="connsiteY65" fmla="*/ 279775 h 1276592"/>
                <a:gd name="connsiteX66" fmla="*/ 293472 w 1079629"/>
                <a:gd name="connsiteY66" fmla="*/ 268732 h 1276592"/>
                <a:gd name="connsiteX67" fmla="*/ 378708 w 1079629"/>
                <a:gd name="connsiteY67"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4334 w 1079629"/>
                <a:gd name="connsiteY41" fmla="*/ 550402 h 1276592"/>
                <a:gd name="connsiteX42" fmla="*/ 561818 w 1079629"/>
                <a:gd name="connsiteY42" fmla="*/ 537886 h 1276592"/>
                <a:gd name="connsiteX43" fmla="*/ 738726 w 1079629"/>
                <a:gd name="connsiteY43" fmla="*/ 361008 h 1276592"/>
                <a:gd name="connsiteX44" fmla="*/ 586850 w 1079629"/>
                <a:gd name="connsiteY44" fmla="*/ 537886 h 1276592"/>
                <a:gd name="connsiteX45" fmla="*/ 574334 w 1079629"/>
                <a:gd name="connsiteY45" fmla="*/ 550402 h 1276592"/>
                <a:gd name="connsiteX46" fmla="*/ 446725 w 1079629"/>
                <a:gd name="connsiteY46" fmla="*/ 184871 h 1276592"/>
                <a:gd name="connsiteX47" fmla="*/ 306948 w 1079629"/>
                <a:gd name="connsiteY47" fmla="*/ 45086 h 1276592"/>
                <a:gd name="connsiteX48" fmla="*/ 306948 w 1079629"/>
                <a:gd name="connsiteY48" fmla="*/ 27388 h 1276592"/>
                <a:gd name="connsiteX49" fmla="*/ 324647 w 1079629"/>
                <a:gd name="connsiteY49" fmla="*/ 27388 h 1276592"/>
                <a:gd name="connsiteX50" fmla="*/ 464424 w 1079629"/>
                <a:gd name="connsiteY50" fmla="*/ 167172 h 1276592"/>
                <a:gd name="connsiteX51" fmla="*/ 464424 w 1079629"/>
                <a:gd name="connsiteY51" fmla="*/ 184871 h 1276592"/>
                <a:gd name="connsiteX52" fmla="*/ 446725 w 1079629"/>
                <a:gd name="connsiteY52" fmla="*/ 184871 h 1276592"/>
                <a:gd name="connsiteX53" fmla="*/ 573156 w 1079629"/>
                <a:gd name="connsiteY53" fmla="*/ 11132 h 1276592"/>
                <a:gd name="connsiteX54" fmla="*/ 582720 w 1079629"/>
                <a:gd name="connsiteY54" fmla="*/ 96368 h 1276592"/>
                <a:gd name="connsiteX55" fmla="*/ 570265 w 1079629"/>
                <a:gd name="connsiteY55" fmla="*/ 110276 h 1276592"/>
                <a:gd name="connsiteX56" fmla="*/ 557846 w 1079629"/>
                <a:gd name="connsiteY56" fmla="*/ 99155 h 1276592"/>
                <a:gd name="connsiteX57" fmla="*/ 548283 w 1079629"/>
                <a:gd name="connsiteY57" fmla="*/ 13919 h 1276592"/>
                <a:gd name="connsiteX58" fmla="*/ 559325 w 1079629"/>
                <a:gd name="connsiteY58" fmla="*/ 90 h 1276592"/>
                <a:gd name="connsiteX59" fmla="*/ 573156 w 1079629"/>
                <a:gd name="connsiteY59" fmla="*/ 11132 h 1276592"/>
                <a:gd name="connsiteX60" fmla="*/ 378708 w 1079629"/>
                <a:gd name="connsiteY60" fmla="*/ 278296 h 1276592"/>
                <a:gd name="connsiteX61" fmla="*/ 389750 w 1079629"/>
                <a:gd name="connsiteY61" fmla="*/ 292124 h 1276592"/>
                <a:gd name="connsiteX62" fmla="*/ 375921 w 1079629"/>
                <a:gd name="connsiteY62" fmla="*/ 303167 h 1276592"/>
                <a:gd name="connsiteX63" fmla="*/ 290685 w 1079629"/>
                <a:gd name="connsiteY63" fmla="*/ 293603 h 1276592"/>
                <a:gd name="connsiteX64" fmla="*/ 279643 w 1079629"/>
                <a:gd name="connsiteY64" fmla="*/ 279775 h 1276592"/>
                <a:gd name="connsiteX65" fmla="*/ 293472 w 1079629"/>
                <a:gd name="connsiteY65" fmla="*/ 268732 h 1276592"/>
                <a:gd name="connsiteX66" fmla="*/ 378708 w 1079629"/>
                <a:gd name="connsiteY66"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4334 w 1079629"/>
                <a:gd name="connsiteY41" fmla="*/ 550402 h 1276592"/>
                <a:gd name="connsiteX42" fmla="*/ 561818 w 1079629"/>
                <a:gd name="connsiteY42" fmla="*/ 537886 h 1276592"/>
                <a:gd name="connsiteX43" fmla="*/ 586850 w 1079629"/>
                <a:gd name="connsiteY43" fmla="*/ 537886 h 1276592"/>
                <a:gd name="connsiteX44" fmla="*/ 574334 w 1079629"/>
                <a:gd name="connsiteY44" fmla="*/ 550402 h 1276592"/>
                <a:gd name="connsiteX45" fmla="*/ 446725 w 1079629"/>
                <a:gd name="connsiteY45" fmla="*/ 184871 h 1276592"/>
                <a:gd name="connsiteX46" fmla="*/ 306948 w 1079629"/>
                <a:gd name="connsiteY46" fmla="*/ 45086 h 1276592"/>
                <a:gd name="connsiteX47" fmla="*/ 306948 w 1079629"/>
                <a:gd name="connsiteY47" fmla="*/ 27388 h 1276592"/>
                <a:gd name="connsiteX48" fmla="*/ 324647 w 1079629"/>
                <a:gd name="connsiteY48" fmla="*/ 27388 h 1276592"/>
                <a:gd name="connsiteX49" fmla="*/ 464424 w 1079629"/>
                <a:gd name="connsiteY49" fmla="*/ 167172 h 1276592"/>
                <a:gd name="connsiteX50" fmla="*/ 464424 w 1079629"/>
                <a:gd name="connsiteY50" fmla="*/ 184871 h 1276592"/>
                <a:gd name="connsiteX51" fmla="*/ 446725 w 1079629"/>
                <a:gd name="connsiteY51" fmla="*/ 184871 h 1276592"/>
                <a:gd name="connsiteX52" fmla="*/ 573156 w 1079629"/>
                <a:gd name="connsiteY52" fmla="*/ 11132 h 1276592"/>
                <a:gd name="connsiteX53" fmla="*/ 582720 w 1079629"/>
                <a:gd name="connsiteY53" fmla="*/ 96368 h 1276592"/>
                <a:gd name="connsiteX54" fmla="*/ 570265 w 1079629"/>
                <a:gd name="connsiteY54" fmla="*/ 110276 h 1276592"/>
                <a:gd name="connsiteX55" fmla="*/ 557846 w 1079629"/>
                <a:gd name="connsiteY55" fmla="*/ 99155 h 1276592"/>
                <a:gd name="connsiteX56" fmla="*/ 548283 w 1079629"/>
                <a:gd name="connsiteY56" fmla="*/ 13919 h 1276592"/>
                <a:gd name="connsiteX57" fmla="*/ 559325 w 1079629"/>
                <a:gd name="connsiteY57" fmla="*/ 90 h 1276592"/>
                <a:gd name="connsiteX58" fmla="*/ 573156 w 1079629"/>
                <a:gd name="connsiteY58" fmla="*/ 11132 h 1276592"/>
                <a:gd name="connsiteX59" fmla="*/ 378708 w 1079629"/>
                <a:gd name="connsiteY59" fmla="*/ 278296 h 1276592"/>
                <a:gd name="connsiteX60" fmla="*/ 389750 w 1079629"/>
                <a:gd name="connsiteY60" fmla="*/ 292124 h 1276592"/>
                <a:gd name="connsiteX61" fmla="*/ 375921 w 1079629"/>
                <a:gd name="connsiteY61" fmla="*/ 303167 h 1276592"/>
                <a:gd name="connsiteX62" fmla="*/ 290685 w 1079629"/>
                <a:gd name="connsiteY62" fmla="*/ 293603 h 1276592"/>
                <a:gd name="connsiteX63" fmla="*/ 279643 w 1079629"/>
                <a:gd name="connsiteY63" fmla="*/ 279775 h 1276592"/>
                <a:gd name="connsiteX64" fmla="*/ 293472 w 1079629"/>
                <a:gd name="connsiteY64" fmla="*/ 268732 h 1276592"/>
                <a:gd name="connsiteX65" fmla="*/ 378708 w 1079629"/>
                <a:gd name="connsiteY65"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86850 w 1079629"/>
                <a:gd name="connsiteY41" fmla="*/ 537886 h 1276592"/>
                <a:gd name="connsiteX42" fmla="*/ 561818 w 1079629"/>
                <a:gd name="connsiteY42" fmla="*/ 537886 h 1276592"/>
                <a:gd name="connsiteX43" fmla="*/ 586850 w 1079629"/>
                <a:gd name="connsiteY43" fmla="*/ 537886 h 1276592"/>
                <a:gd name="connsiteX44" fmla="*/ 446725 w 1079629"/>
                <a:gd name="connsiteY44" fmla="*/ 184871 h 1276592"/>
                <a:gd name="connsiteX45" fmla="*/ 306948 w 1079629"/>
                <a:gd name="connsiteY45" fmla="*/ 45086 h 1276592"/>
                <a:gd name="connsiteX46" fmla="*/ 306948 w 1079629"/>
                <a:gd name="connsiteY46" fmla="*/ 27388 h 1276592"/>
                <a:gd name="connsiteX47" fmla="*/ 324647 w 1079629"/>
                <a:gd name="connsiteY47" fmla="*/ 27388 h 1276592"/>
                <a:gd name="connsiteX48" fmla="*/ 464424 w 1079629"/>
                <a:gd name="connsiteY48" fmla="*/ 167172 h 1276592"/>
                <a:gd name="connsiteX49" fmla="*/ 464424 w 1079629"/>
                <a:gd name="connsiteY49" fmla="*/ 184871 h 1276592"/>
                <a:gd name="connsiteX50" fmla="*/ 446725 w 1079629"/>
                <a:gd name="connsiteY50" fmla="*/ 184871 h 1276592"/>
                <a:gd name="connsiteX51" fmla="*/ 573156 w 1079629"/>
                <a:gd name="connsiteY51" fmla="*/ 11132 h 1276592"/>
                <a:gd name="connsiteX52" fmla="*/ 582720 w 1079629"/>
                <a:gd name="connsiteY52" fmla="*/ 96368 h 1276592"/>
                <a:gd name="connsiteX53" fmla="*/ 570265 w 1079629"/>
                <a:gd name="connsiteY53" fmla="*/ 110276 h 1276592"/>
                <a:gd name="connsiteX54" fmla="*/ 557846 w 1079629"/>
                <a:gd name="connsiteY54" fmla="*/ 99155 h 1276592"/>
                <a:gd name="connsiteX55" fmla="*/ 548283 w 1079629"/>
                <a:gd name="connsiteY55" fmla="*/ 13919 h 1276592"/>
                <a:gd name="connsiteX56" fmla="*/ 559325 w 1079629"/>
                <a:gd name="connsiteY56" fmla="*/ 90 h 1276592"/>
                <a:gd name="connsiteX57" fmla="*/ 573156 w 1079629"/>
                <a:gd name="connsiteY57" fmla="*/ 11132 h 1276592"/>
                <a:gd name="connsiteX58" fmla="*/ 378708 w 1079629"/>
                <a:gd name="connsiteY58" fmla="*/ 278296 h 1276592"/>
                <a:gd name="connsiteX59" fmla="*/ 389750 w 1079629"/>
                <a:gd name="connsiteY59" fmla="*/ 292124 h 1276592"/>
                <a:gd name="connsiteX60" fmla="*/ 375921 w 1079629"/>
                <a:gd name="connsiteY60" fmla="*/ 303167 h 1276592"/>
                <a:gd name="connsiteX61" fmla="*/ 290685 w 1079629"/>
                <a:gd name="connsiteY61" fmla="*/ 293603 h 1276592"/>
                <a:gd name="connsiteX62" fmla="*/ 279643 w 1079629"/>
                <a:gd name="connsiteY62" fmla="*/ 279775 h 1276592"/>
                <a:gd name="connsiteX63" fmla="*/ 293472 w 1079629"/>
                <a:gd name="connsiteY63" fmla="*/ 268732 h 1276592"/>
                <a:gd name="connsiteX64" fmla="*/ 378708 w 1079629"/>
                <a:gd name="connsiteY64"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446725 w 1079629"/>
                <a:gd name="connsiteY41" fmla="*/ 184871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464424 w 1079629"/>
                <a:gd name="connsiteY45" fmla="*/ 167172 h 1276592"/>
                <a:gd name="connsiteX46" fmla="*/ 464424 w 1079629"/>
                <a:gd name="connsiteY46" fmla="*/ 184871 h 1276592"/>
                <a:gd name="connsiteX47" fmla="*/ 446725 w 1079629"/>
                <a:gd name="connsiteY47" fmla="*/ 184871 h 1276592"/>
                <a:gd name="connsiteX48" fmla="*/ 573156 w 1079629"/>
                <a:gd name="connsiteY48" fmla="*/ 11132 h 1276592"/>
                <a:gd name="connsiteX49" fmla="*/ 582720 w 1079629"/>
                <a:gd name="connsiteY49" fmla="*/ 96368 h 1276592"/>
                <a:gd name="connsiteX50" fmla="*/ 570265 w 1079629"/>
                <a:gd name="connsiteY50" fmla="*/ 110276 h 1276592"/>
                <a:gd name="connsiteX51" fmla="*/ 557846 w 1079629"/>
                <a:gd name="connsiteY51" fmla="*/ 99155 h 1276592"/>
                <a:gd name="connsiteX52" fmla="*/ 548283 w 1079629"/>
                <a:gd name="connsiteY52" fmla="*/ 13919 h 1276592"/>
                <a:gd name="connsiteX53" fmla="*/ 559325 w 1079629"/>
                <a:gd name="connsiteY53" fmla="*/ 90 h 1276592"/>
                <a:gd name="connsiteX54" fmla="*/ 573156 w 1079629"/>
                <a:gd name="connsiteY54" fmla="*/ 11132 h 1276592"/>
                <a:gd name="connsiteX55" fmla="*/ 378708 w 1079629"/>
                <a:gd name="connsiteY55" fmla="*/ 278296 h 1276592"/>
                <a:gd name="connsiteX56" fmla="*/ 389750 w 1079629"/>
                <a:gd name="connsiteY56" fmla="*/ 292124 h 1276592"/>
                <a:gd name="connsiteX57" fmla="*/ 375921 w 1079629"/>
                <a:gd name="connsiteY57" fmla="*/ 303167 h 1276592"/>
                <a:gd name="connsiteX58" fmla="*/ 290685 w 1079629"/>
                <a:gd name="connsiteY58" fmla="*/ 293603 h 1276592"/>
                <a:gd name="connsiteX59" fmla="*/ 279643 w 1079629"/>
                <a:gd name="connsiteY59" fmla="*/ 279775 h 1276592"/>
                <a:gd name="connsiteX60" fmla="*/ 293472 w 1079629"/>
                <a:gd name="connsiteY60" fmla="*/ 268732 h 1276592"/>
                <a:gd name="connsiteX61" fmla="*/ 378708 w 1079629"/>
                <a:gd name="connsiteY61"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464424 w 1079629"/>
                <a:gd name="connsiteY41" fmla="*/ 184871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464424 w 1079629"/>
                <a:gd name="connsiteY45" fmla="*/ 167172 h 1276592"/>
                <a:gd name="connsiteX46" fmla="*/ 464424 w 1079629"/>
                <a:gd name="connsiteY46" fmla="*/ 184871 h 1276592"/>
                <a:gd name="connsiteX47" fmla="*/ 573156 w 1079629"/>
                <a:gd name="connsiteY47" fmla="*/ 11132 h 1276592"/>
                <a:gd name="connsiteX48" fmla="*/ 582720 w 1079629"/>
                <a:gd name="connsiteY48" fmla="*/ 96368 h 1276592"/>
                <a:gd name="connsiteX49" fmla="*/ 570265 w 1079629"/>
                <a:gd name="connsiteY49" fmla="*/ 110276 h 1276592"/>
                <a:gd name="connsiteX50" fmla="*/ 557846 w 1079629"/>
                <a:gd name="connsiteY50" fmla="*/ 99155 h 1276592"/>
                <a:gd name="connsiteX51" fmla="*/ 548283 w 1079629"/>
                <a:gd name="connsiteY51" fmla="*/ 13919 h 1276592"/>
                <a:gd name="connsiteX52" fmla="*/ 559325 w 1079629"/>
                <a:gd name="connsiteY52" fmla="*/ 90 h 1276592"/>
                <a:gd name="connsiteX53" fmla="*/ 573156 w 1079629"/>
                <a:gd name="connsiteY53" fmla="*/ 11132 h 1276592"/>
                <a:gd name="connsiteX54" fmla="*/ 378708 w 1079629"/>
                <a:gd name="connsiteY54" fmla="*/ 278296 h 1276592"/>
                <a:gd name="connsiteX55" fmla="*/ 389750 w 1079629"/>
                <a:gd name="connsiteY55" fmla="*/ 292124 h 1276592"/>
                <a:gd name="connsiteX56" fmla="*/ 375921 w 1079629"/>
                <a:gd name="connsiteY56" fmla="*/ 303167 h 1276592"/>
                <a:gd name="connsiteX57" fmla="*/ 290685 w 1079629"/>
                <a:gd name="connsiteY57" fmla="*/ 293603 h 1276592"/>
                <a:gd name="connsiteX58" fmla="*/ 279643 w 1079629"/>
                <a:gd name="connsiteY58" fmla="*/ 279775 h 1276592"/>
                <a:gd name="connsiteX59" fmla="*/ 293472 w 1079629"/>
                <a:gd name="connsiteY59" fmla="*/ 268732 h 1276592"/>
                <a:gd name="connsiteX60" fmla="*/ 378708 w 1079629"/>
                <a:gd name="connsiteY60"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464424 w 1079629"/>
                <a:gd name="connsiteY41" fmla="*/ 167172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464424 w 1079629"/>
                <a:gd name="connsiteY45" fmla="*/ 167172 h 1276592"/>
                <a:gd name="connsiteX46" fmla="*/ 573156 w 1079629"/>
                <a:gd name="connsiteY46" fmla="*/ 11132 h 1276592"/>
                <a:gd name="connsiteX47" fmla="*/ 582720 w 1079629"/>
                <a:gd name="connsiteY47" fmla="*/ 96368 h 1276592"/>
                <a:gd name="connsiteX48" fmla="*/ 570265 w 1079629"/>
                <a:gd name="connsiteY48" fmla="*/ 110276 h 1276592"/>
                <a:gd name="connsiteX49" fmla="*/ 557846 w 1079629"/>
                <a:gd name="connsiteY49" fmla="*/ 99155 h 1276592"/>
                <a:gd name="connsiteX50" fmla="*/ 548283 w 1079629"/>
                <a:gd name="connsiteY50" fmla="*/ 13919 h 1276592"/>
                <a:gd name="connsiteX51" fmla="*/ 559325 w 1079629"/>
                <a:gd name="connsiteY51" fmla="*/ 90 h 1276592"/>
                <a:gd name="connsiteX52" fmla="*/ 573156 w 1079629"/>
                <a:gd name="connsiteY52" fmla="*/ 11132 h 1276592"/>
                <a:gd name="connsiteX53" fmla="*/ 378708 w 1079629"/>
                <a:gd name="connsiteY53" fmla="*/ 278296 h 1276592"/>
                <a:gd name="connsiteX54" fmla="*/ 389750 w 1079629"/>
                <a:gd name="connsiteY54" fmla="*/ 292124 h 1276592"/>
                <a:gd name="connsiteX55" fmla="*/ 375921 w 1079629"/>
                <a:gd name="connsiteY55" fmla="*/ 303167 h 1276592"/>
                <a:gd name="connsiteX56" fmla="*/ 290685 w 1079629"/>
                <a:gd name="connsiteY56" fmla="*/ 293603 h 1276592"/>
                <a:gd name="connsiteX57" fmla="*/ 279643 w 1079629"/>
                <a:gd name="connsiteY57" fmla="*/ 279775 h 1276592"/>
                <a:gd name="connsiteX58" fmla="*/ 293472 w 1079629"/>
                <a:gd name="connsiteY58" fmla="*/ 268732 h 1276592"/>
                <a:gd name="connsiteX59" fmla="*/ 378708 w 1079629"/>
                <a:gd name="connsiteY59"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324647 w 1079629"/>
                <a:gd name="connsiteY41" fmla="*/ 27388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573156 w 1079629"/>
                <a:gd name="connsiteY45" fmla="*/ 11132 h 1276592"/>
                <a:gd name="connsiteX46" fmla="*/ 582720 w 1079629"/>
                <a:gd name="connsiteY46" fmla="*/ 96368 h 1276592"/>
                <a:gd name="connsiteX47" fmla="*/ 570265 w 1079629"/>
                <a:gd name="connsiteY47" fmla="*/ 110276 h 1276592"/>
                <a:gd name="connsiteX48" fmla="*/ 557846 w 1079629"/>
                <a:gd name="connsiteY48" fmla="*/ 99155 h 1276592"/>
                <a:gd name="connsiteX49" fmla="*/ 548283 w 1079629"/>
                <a:gd name="connsiteY49" fmla="*/ 13919 h 1276592"/>
                <a:gd name="connsiteX50" fmla="*/ 559325 w 1079629"/>
                <a:gd name="connsiteY50" fmla="*/ 90 h 1276592"/>
                <a:gd name="connsiteX51" fmla="*/ 573156 w 1079629"/>
                <a:gd name="connsiteY51" fmla="*/ 11132 h 1276592"/>
                <a:gd name="connsiteX52" fmla="*/ 378708 w 1079629"/>
                <a:gd name="connsiteY52" fmla="*/ 278296 h 1276592"/>
                <a:gd name="connsiteX53" fmla="*/ 389750 w 1079629"/>
                <a:gd name="connsiteY53" fmla="*/ 292124 h 1276592"/>
                <a:gd name="connsiteX54" fmla="*/ 375921 w 1079629"/>
                <a:gd name="connsiteY54" fmla="*/ 303167 h 1276592"/>
                <a:gd name="connsiteX55" fmla="*/ 290685 w 1079629"/>
                <a:gd name="connsiteY55" fmla="*/ 293603 h 1276592"/>
                <a:gd name="connsiteX56" fmla="*/ 279643 w 1079629"/>
                <a:gd name="connsiteY56" fmla="*/ 279775 h 1276592"/>
                <a:gd name="connsiteX57" fmla="*/ 293472 w 1079629"/>
                <a:gd name="connsiteY57" fmla="*/ 268732 h 1276592"/>
                <a:gd name="connsiteX58" fmla="*/ 378708 w 1079629"/>
                <a:gd name="connsiteY58"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306948 w 1079629"/>
                <a:gd name="connsiteY41" fmla="*/ 27388 h 1276592"/>
                <a:gd name="connsiteX42" fmla="*/ 306948 w 1079629"/>
                <a:gd name="connsiteY42" fmla="*/ 45086 h 1276592"/>
                <a:gd name="connsiteX43" fmla="*/ 306948 w 1079629"/>
                <a:gd name="connsiteY43" fmla="*/ 27388 h 1276592"/>
                <a:gd name="connsiteX44" fmla="*/ 573156 w 1079629"/>
                <a:gd name="connsiteY44" fmla="*/ 11132 h 1276592"/>
                <a:gd name="connsiteX45" fmla="*/ 582720 w 1079629"/>
                <a:gd name="connsiteY45" fmla="*/ 96368 h 1276592"/>
                <a:gd name="connsiteX46" fmla="*/ 570265 w 1079629"/>
                <a:gd name="connsiteY46" fmla="*/ 110276 h 1276592"/>
                <a:gd name="connsiteX47" fmla="*/ 557846 w 1079629"/>
                <a:gd name="connsiteY47" fmla="*/ 99155 h 1276592"/>
                <a:gd name="connsiteX48" fmla="*/ 548283 w 1079629"/>
                <a:gd name="connsiteY48" fmla="*/ 13919 h 1276592"/>
                <a:gd name="connsiteX49" fmla="*/ 559325 w 1079629"/>
                <a:gd name="connsiteY49" fmla="*/ 90 h 1276592"/>
                <a:gd name="connsiteX50" fmla="*/ 573156 w 1079629"/>
                <a:gd name="connsiteY50" fmla="*/ 11132 h 1276592"/>
                <a:gd name="connsiteX51" fmla="*/ 378708 w 1079629"/>
                <a:gd name="connsiteY51" fmla="*/ 278296 h 1276592"/>
                <a:gd name="connsiteX52" fmla="*/ 389750 w 1079629"/>
                <a:gd name="connsiteY52" fmla="*/ 292124 h 1276592"/>
                <a:gd name="connsiteX53" fmla="*/ 375921 w 1079629"/>
                <a:gd name="connsiteY53" fmla="*/ 303167 h 1276592"/>
                <a:gd name="connsiteX54" fmla="*/ 290685 w 1079629"/>
                <a:gd name="connsiteY54" fmla="*/ 293603 h 1276592"/>
                <a:gd name="connsiteX55" fmla="*/ 279643 w 1079629"/>
                <a:gd name="connsiteY55" fmla="*/ 279775 h 1276592"/>
                <a:gd name="connsiteX56" fmla="*/ 293472 w 1079629"/>
                <a:gd name="connsiteY56" fmla="*/ 268732 h 1276592"/>
                <a:gd name="connsiteX57" fmla="*/ 378708 w 1079629"/>
                <a:gd name="connsiteY57"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82720 w 1079629"/>
                <a:gd name="connsiteY42" fmla="*/ 96368 h 1276592"/>
                <a:gd name="connsiteX43" fmla="*/ 570265 w 1079629"/>
                <a:gd name="connsiteY43" fmla="*/ 110276 h 1276592"/>
                <a:gd name="connsiteX44" fmla="*/ 557846 w 1079629"/>
                <a:gd name="connsiteY44" fmla="*/ 99155 h 1276592"/>
                <a:gd name="connsiteX45" fmla="*/ 548283 w 1079629"/>
                <a:gd name="connsiteY45" fmla="*/ 13919 h 1276592"/>
                <a:gd name="connsiteX46" fmla="*/ 559325 w 1079629"/>
                <a:gd name="connsiteY46" fmla="*/ 90 h 1276592"/>
                <a:gd name="connsiteX47" fmla="*/ 573156 w 1079629"/>
                <a:gd name="connsiteY47" fmla="*/ 11132 h 1276592"/>
                <a:gd name="connsiteX48" fmla="*/ 378708 w 1079629"/>
                <a:gd name="connsiteY48" fmla="*/ 278296 h 1276592"/>
                <a:gd name="connsiteX49" fmla="*/ 389750 w 1079629"/>
                <a:gd name="connsiteY49" fmla="*/ 292124 h 1276592"/>
                <a:gd name="connsiteX50" fmla="*/ 375921 w 1079629"/>
                <a:gd name="connsiteY50" fmla="*/ 303167 h 1276592"/>
                <a:gd name="connsiteX51" fmla="*/ 290685 w 1079629"/>
                <a:gd name="connsiteY51" fmla="*/ 293603 h 1276592"/>
                <a:gd name="connsiteX52" fmla="*/ 279643 w 1079629"/>
                <a:gd name="connsiteY52" fmla="*/ 279775 h 1276592"/>
                <a:gd name="connsiteX53" fmla="*/ 293472 w 1079629"/>
                <a:gd name="connsiteY53" fmla="*/ 268732 h 1276592"/>
                <a:gd name="connsiteX54" fmla="*/ 378708 w 1079629"/>
                <a:gd name="connsiteY54"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82720 w 1079629"/>
                <a:gd name="connsiteY42" fmla="*/ 96368 h 1276592"/>
                <a:gd name="connsiteX43" fmla="*/ 570265 w 1079629"/>
                <a:gd name="connsiteY43" fmla="*/ 110276 h 1276592"/>
                <a:gd name="connsiteX44" fmla="*/ 548283 w 1079629"/>
                <a:gd name="connsiteY44" fmla="*/ 13919 h 1276592"/>
                <a:gd name="connsiteX45" fmla="*/ 559325 w 1079629"/>
                <a:gd name="connsiteY45" fmla="*/ 90 h 1276592"/>
                <a:gd name="connsiteX46" fmla="*/ 573156 w 1079629"/>
                <a:gd name="connsiteY46" fmla="*/ 11132 h 1276592"/>
                <a:gd name="connsiteX47" fmla="*/ 378708 w 1079629"/>
                <a:gd name="connsiteY47" fmla="*/ 278296 h 1276592"/>
                <a:gd name="connsiteX48" fmla="*/ 389750 w 1079629"/>
                <a:gd name="connsiteY48" fmla="*/ 292124 h 1276592"/>
                <a:gd name="connsiteX49" fmla="*/ 375921 w 1079629"/>
                <a:gd name="connsiteY49" fmla="*/ 303167 h 1276592"/>
                <a:gd name="connsiteX50" fmla="*/ 290685 w 1079629"/>
                <a:gd name="connsiteY50" fmla="*/ 293603 h 1276592"/>
                <a:gd name="connsiteX51" fmla="*/ 279643 w 1079629"/>
                <a:gd name="connsiteY51" fmla="*/ 279775 h 1276592"/>
                <a:gd name="connsiteX52" fmla="*/ 293472 w 1079629"/>
                <a:gd name="connsiteY52" fmla="*/ 268732 h 1276592"/>
                <a:gd name="connsiteX53" fmla="*/ 378708 w 1079629"/>
                <a:gd name="connsiteY53"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82720 w 1079629"/>
                <a:gd name="connsiteY42" fmla="*/ 96368 h 1276592"/>
                <a:gd name="connsiteX43" fmla="*/ 548283 w 1079629"/>
                <a:gd name="connsiteY43" fmla="*/ 13919 h 1276592"/>
                <a:gd name="connsiteX44" fmla="*/ 559325 w 1079629"/>
                <a:gd name="connsiteY44" fmla="*/ 90 h 1276592"/>
                <a:gd name="connsiteX45" fmla="*/ 573156 w 1079629"/>
                <a:gd name="connsiteY45" fmla="*/ 11132 h 1276592"/>
                <a:gd name="connsiteX46" fmla="*/ 378708 w 1079629"/>
                <a:gd name="connsiteY46" fmla="*/ 278296 h 1276592"/>
                <a:gd name="connsiteX47" fmla="*/ 389750 w 1079629"/>
                <a:gd name="connsiteY47" fmla="*/ 292124 h 1276592"/>
                <a:gd name="connsiteX48" fmla="*/ 375921 w 1079629"/>
                <a:gd name="connsiteY48" fmla="*/ 303167 h 1276592"/>
                <a:gd name="connsiteX49" fmla="*/ 290685 w 1079629"/>
                <a:gd name="connsiteY49" fmla="*/ 293603 h 1276592"/>
                <a:gd name="connsiteX50" fmla="*/ 279643 w 1079629"/>
                <a:gd name="connsiteY50" fmla="*/ 279775 h 1276592"/>
                <a:gd name="connsiteX51" fmla="*/ 293472 w 1079629"/>
                <a:gd name="connsiteY51" fmla="*/ 268732 h 1276592"/>
                <a:gd name="connsiteX52" fmla="*/ 378708 w 1079629"/>
                <a:gd name="connsiteY52"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48283 w 1079629"/>
                <a:gd name="connsiteY42" fmla="*/ 13919 h 1276592"/>
                <a:gd name="connsiteX43" fmla="*/ 559325 w 1079629"/>
                <a:gd name="connsiteY43" fmla="*/ 90 h 1276592"/>
                <a:gd name="connsiteX44" fmla="*/ 573156 w 1079629"/>
                <a:gd name="connsiteY44" fmla="*/ 11132 h 1276592"/>
                <a:gd name="connsiteX45" fmla="*/ 378708 w 1079629"/>
                <a:gd name="connsiteY45" fmla="*/ 278296 h 1276592"/>
                <a:gd name="connsiteX46" fmla="*/ 389750 w 1079629"/>
                <a:gd name="connsiteY46" fmla="*/ 292124 h 1276592"/>
                <a:gd name="connsiteX47" fmla="*/ 375921 w 1079629"/>
                <a:gd name="connsiteY47" fmla="*/ 303167 h 1276592"/>
                <a:gd name="connsiteX48" fmla="*/ 290685 w 1079629"/>
                <a:gd name="connsiteY48" fmla="*/ 293603 h 1276592"/>
                <a:gd name="connsiteX49" fmla="*/ 279643 w 1079629"/>
                <a:gd name="connsiteY49" fmla="*/ 279775 h 1276592"/>
                <a:gd name="connsiteX50" fmla="*/ 293472 w 1079629"/>
                <a:gd name="connsiteY50" fmla="*/ 268732 h 1276592"/>
                <a:gd name="connsiteX51" fmla="*/ 378708 w 1079629"/>
                <a:gd name="connsiteY51" fmla="*/ 278296 h 1276592"/>
                <a:gd name="connsiteX0" fmla="*/ 59021 w 1079629"/>
                <a:gd name="connsiteY0" fmla="*/ 1251069 h 1276502"/>
                <a:gd name="connsiteX1" fmla="*/ 185048 w 1079629"/>
                <a:gd name="connsiteY1" fmla="*/ 1247580 h 1276502"/>
                <a:gd name="connsiteX2" fmla="*/ 471075 w 1079629"/>
                <a:gd name="connsiteY2" fmla="*/ 927980 h 1276502"/>
                <a:gd name="connsiteX3" fmla="*/ 492820 w 1079629"/>
                <a:gd name="connsiteY3" fmla="*/ 863324 h 1276502"/>
                <a:gd name="connsiteX4" fmla="*/ 540712 w 1079629"/>
                <a:gd name="connsiteY4" fmla="*/ 815432 h 1276502"/>
                <a:gd name="connsiteX5" fmla="*/ 979892 w 1079629"/>
                <a:gd name="connsiteY5" fmla="*/ 778962 h 1276502"/>
                <a:gd name="connsiteX6" fmla="*/ 979892 w 1079629"/>
                <a:gd name="connsiteY6" fmla="*/ 296630 h 1276502"/>
                <a:gd name="connsiteX7" fmla="*/ 497555 w 1079629"/>
                <a:gd name="connsiteY7" fmla="*/ 296624 h 1276502"/>
                <a:gd name="connsiteX8" fmla="*/ 461085 w 1079629"/>
                <a:gd name="connsiteY8" fmla="*/ 735805 h 1276502"/>
                <a:gd name="connsiteX9" fmla="*/ 413193 w 1079629"/>
                <a:gd name="connsiteY9" fmla="*/ 783697 h 1276502"/>
                <a:gd name="connsiteX10" fmla="*/ 348537 w 1079629"/>
                <a:gd name="connsiteY10" fmla="*/ 805442 h 1276502"/>
                <a:gd name="connsiteX11" fmla="*/ 28937 w 1079629"/>
                <a:gd name="connsiteY11" fmla="*/ 1091469 h 1276502"/>
                <a:gd name="connsiteX12" fmla="*/ 25448 w 1079629"/>
                <a:gd name="connsiteY12" fmla="*/ 1217496 h 1276502"/>
                <a:gd name="connsiteX13" fmla="*/ 59021 w 1079629"/>
                <a:gd name="connsiteY13" fmla="*/ 1251069 h 1276502"/>
                <a:gd name="connsiteX14" fmla="*/ 515254 w 1079629"/>
                <a:gd name="connsiteY14" fmla="*/ 314320 h 1276502"/>
                <a:gd name="connsiteX15" fmla="*/ 962197 w 1079629"/>
                <a:gd name="connsiteY15" fmla="*/ 314326 h 1276502"/>
                <a:gd name="connsiteX16" fmla="*/ 962197 w 1079629"/>
                <a:gd name="connsiteY16" fmla="*/ 761263 h 1276502"/>
                <a:gd name="connsiteX17" fmla="*/ 515254 w 1079629"/>
                <a:gd name="connsiteY17" fmla="*/ 761263 h 1276502"/>
                <a:gd name="connsiteX18" fmla="*/ 515254 w 1079629"/>
                <a:gd name="connsiteY18" fmla="*/ 314320 h 1276502"/>
                <a:gd name="connsiteX19" fmla="*/ 476495 w 1079629"/>
                <a:gd name="connsiteY19" fmla="*/ 755789 h 1276502"/>
                <a:gd name="connsiteX20" fmla="*/ 520725 w 1079629"/>
                <a:gd name="connsiteY20" fmla="*/ 800022 h 1276502"/>
                <a:gd name="connsiteX21" fmla="*/ 485729 w 1079629"/>
                <a:gd name="connsiteY21" fmla="*/ 835018 h 1276502"/>
                <a:gd name="connsiteX22" fmla="*/ 441497 w 1079629"/>
                <a:gd name="connsiteY22" fmla="*/ 790786 h 1276502"/>
                <a:gd name="connsiteX23" fmla="*/ 476495 w 1079629"/>
                <a:gd name="connsiteY23" fmla="*/ 755789 h 1276502"/>
                <a:gd name="connsiteX24" fmla="*/ 45632 w 1079629"/>
                <a:gd name="connsiteY24" fmla="*/ 1110120 h 1276502"/>
                <a:gd name="connsiteX25" fmla="*/ 365231 w 1079629"/>
                <a:gd name="connsiteY25" fmla="*/ 824093 h 1276502"/>
                <a:gd name="connsiteX26" fmla="*/ 452424 w 1079629"/>
                <a:gd name="connsiteY26" fmla="*/ 911286 h 1276502"/>
                <a:gd name="connsiteX27" fmla="*/ 166397 w 1079629"/>
                <a:gd name="connsiteY27" fmla="*/ 1230885 h 1276502"/>
                <a:gd name="connsiteX28" fmla="*/ 76717 w 1079629"/>
                <a:gd name="connsiteY28" fmla="*/ 1233373 h 1276502"/>
                <a:gd name="connsiteX29" fmla="*/ 43144 w 1079629"/>
                <a:gd name="connsiteY29" fmla="*/ 1199800 h 1276502"/>
                <a:gd name="connsiteX30" fmla="*/ 45632 w 1079629"/>
                <a:gd name="connsiteY30" fmla="*/ 1110120 h 1276502"/>
                <a:gd name="connsiteX31" fmla="*/ 922345 w 1079629"/>
                <a:gd name="connsiteY31" fmla="*/ 721419 h 1276502"/>
                <a:gd name="connsiteX32" fmla="*/ 922345 w 1079629"/>
                <a:gd name="connsiteY32" fmla="*/ 354170 h 1276502"/>
                <a:gd name="connsiteX33" fmla="*/ 555095 w 1079629"/>
                <a:gd name="connsiteY33" fmla="*/ 354170 h 1276502"/>
                <a:gd name="connsiteX34" fmla="*/ 555095 w 1079629"/>
                <a:gd name="connsiteY34" fmla="*/ 721419 h 1276502"/>
                <a:gd name="connsiteX35" fmla="*/ 922345 w 1079629"/>
                <a:gd name="connsiteY35" fmla="*/ 721419 h 1276502"/>
                <a:gd name="connsiteX36" fmla="*/ 572794 w 1079629"/>
                <a:gd name="connsiteY36" fmla="*/ 371868 h 1276502"/>
                <a:gd name="connsiteX37" fmla="*/ 904646 w 1079629"/>
                <a:gd name="connsiteY37" fmla="*/ 371868 h 1276502"/>
                <a:gd name="connsiteX38" fmla="*/ 904646 w 1079629"/>
                <a:gd name="connsiteY38" fmla="*/ 703721 h 1276502"/>
                <a:gd name="connsiteX39" fmla="*/ 572794 w 1079629"/>
                <a:gd name="connsiteY39" fmla="*/ 703721 h 1276502"/>
                <a:gd name="connsiteX40" fmla="*/ 572794 w 1079629"/>
                <a:gd name="connsiteY40" fmla="*/ 371868 h 1276502"/>
                <a:gd name="connsiteX41" fmla="*/ 559325 w 1079629"/>
                <a:gd name="connsiteY41" fmla="*/ 0 h 1276502"/>
                <a:gd name="connsiteX42" fmla="*/ 548283 w 1079629"/>
                <a:gd name="connsiteY42" fmla="*/ 13829 h 1276502"/>
                <a:gd name="connsiteX43" fmla="*/ 559325 w 1079629"/>
                <a:gd name="connsiteY43" fmla="*/ 0 h 1276502"/>
                <a:gd name="connsiteX44" fmla="*/ 378708 w 1079629"/>
                <a:gd name="connsiteY44" fmla="*/ 278206 h 1276502"/>
                <a:gd name="connsiteX45" fmla="*/ 389750 w 1079629"/>
                <a:gd name="connsiteY45" fmla="*/ 292034 h 1276502"/>
                <a:gd name="connsiteX46" fmla="*/ 375921 w 1079629"/>
                <a:gd name="connsiteY46" fmla="*/ 303077 h 1276502"/>
                <a:gd name="connsiteX47" fmla="*/ 290685 w 1079629"/>
                <a:gd name="connsiteY47" fmla="*/ 293513 h 1276502"/>
                <a:gd name="connsiteX48" fmla="*/ 279643 w 1079629"/>
                <a:gd name="connsiteY48" fmla="*/ 279685 h 1276502"/>
                <a:gd name="connsiteX49" fmla="*/ 293472 w 1079629"/>
                <a:gd name="connsiteY49" fmla="*/ 268642 h 1276502"/>
                <a:gd name="connsiteX50" fmla="*/ 378708 w 1079629"/>
                <a:gd name="connsiteY50" fmla="*/ 278206 h 127650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378708 w 1079629"/>
                <a:gd name="connsiteY41" fmla="*/ 81316 h 1079612"/>
                <a:gd name="connsiteX42" fmla="*/ 389750 w 1079629"/>
                <a:gd name="connsiteY42" fmla="*/ 95144 h 1079612"/>
                <a:gd name="connsiteX43" fmla="*/ 375921 w 1079629"/>
                <a:gd name="connsiteY43" fmla="*/ 106187 h 1079612"/>
                <a:gd name="connsiteX44" fmla="*/ 290685 w 1079629"/>
                <a:gd name="connsiteY44" fmla="*/ 96623 h 1079612"/>
                <a:gd name="connsiteX45" fmla="*/ 279643 w 1079629"/>
                <a:gd name="connsiteY45" fmla="*/ 82795 h 1079612"/>
                <a:gd name="connsiteX46" fmla="*/ 293472 w 1079629"/>
                <a:gd name="connsiteY46" fmla="*/ 71752 h 1079612"/>
                <a:gd name="connsiteX47" fmla="*/ 378708 w 1079629"/>
                <a:gd name="connsiteY47" fmla="*/ 81316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378708 w 1079629"/>
                <a:gd name="connsiteY41" fmla="*/ 81316 h 1079612"/>
                <a:gd name="connsiteX42" fmla="*/ 389750 w 1079629"/>
                <a:gd name="connsiteY42" fmla="*/ 95144 h 1079612"/>
                <a:gd name="connsiteX43" fmla="*/ 290685 w 1079629"/>
                <a:gd name="connsiteY43" fmla="*/ 96623 h 1079612"/>
                <a:gd name="connsiteX44" fmla="*/ 279643 w 1079629"/>
                <a:gd name="connsiteY44" fmla="*/ 82795 h 1079612"/>
                <a:gd name="connsiteX45" fmla="*/ 293472 w 1079629"/>
                <a:gd name="connsiteY45" fmla="*/ 71752 h 1079612"/>
                <a:gd name="connsiteX46" fmla="*/ 378708 w 1079629"/>
                <a:gd name="connsiteY46" fmla="*/ 81316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293472 w 1079629"/>
                <a:gd name="connsiteY41" fmla="*/ 71752 h 1079612"/>
                <a:gd name="connsiteX42" fmla="*/ 389750 w 1079629"/>
                <a:gd name="connsiteY42" fmla="*/ 95144 h 1079612"/>
                <a:gd name="connsiteX43" fmla="*/ 290685 w 1079629"/>
                <a:gd name="connsiteY43" fmla="*/ 96623 h 1079612"/>
                <a:gd name="connsiteX44" fmla="*/ 279643 w 1079629"/>
                <a:gd name="connsiteY44" fmla="*/ 82795 h 1079612"/>
                <a:gd name="connsiteX45" fmla="*/ 293472 w 1079629"/>
                <a:gd name="connsiteY45" fmla="*/ 71752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293472 w 1079629"/>
                <a:gd name="connsiteY41" fmla="*/ 71752 h 1079612"/>
                <a:gd name="connsiteX42" fmla="*/ 290685 w 1079629"/>
                <a:gd name="connsiteY42" fmla="*/ 96623 h 1079612"/>
                <a:gd name="connsiteX43" fmla="*/ 279643 w 1079629"/>
                <a:gd name="connsiteY43" fmla="*/ 82795 h 1079612"/>
                <a:gd name="connsiteX44" fmla="*/ 293472 w 1079629"/>
                <a:gd name="connsiteY44" fmla="*/ 71752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293472 w 1079629"/>
                <a:gd name="connsiteY41" fmla="*/ 71752 h 1079612"/>
                <a:gd name="connsiteX42" fmla="*/ 290685 w 1079629"/>
                <a:gd name="connsiteY42" fmla="*/ 96623 h 1079612"/>
                <a:gd name="connsiteX43" fmla="*/ 293472 w 1079629"/>
                <a:gd name="connsiteY43" fmla="*/ 71752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79629" h="1079612">
                  <a:moveTo>
                    <a:pt x="59021" y="1054179"/>
                  </a:moveTo>
                  <a:cubicBezTo>
                    <a:pt x="94183" y="1089341"/>
                    <a:pt x="151736" y="1087919"/>
                    <a:pt x="185048" y="1050690"/>
                  </a:cubicBezTo>
                  <a:lnTo>
                    <a:pt x="471075" y="731090"/>
                  </a:lnTo>
                  <a:cubicBezTo>
                    <a:pt x="487473" y="712766"/>
                    <a:pt x="494608" y="689295"/>
                    <a:pt x="492820" y="666434"/>
                  </a:cubicBezTo>
                  <a:lnTo>
                    <a:pt x="540712" y="618542"/>
                  </a:lnTo>
                  <a:cubicBezTo>
                    <a:pt x="675100" y="714503"/>
                    <a:pt x="861474" y="700490"/>
                    <a:pt x="979892" y="582072"/>
                  </a:cubicBezTo>
                  <a:cubicBezTo>
                    <a:pt x="1112875" y="449097"/>
                    <a:pt x="1112875" y="232717"/>
                    <a:pt x="979892" y="99740"/>
                  </a:cubicBezTo>
                  <a:cubicBezTo>
                    <a:pt x="846905" y="-33248"/>
                    <a:pt x="630530" y="-33243"/>
                    <a:pt x="497555" y="99734"/>
                  </a:cubicBezTo>
                  <a:cubicBezTo>
                    <a:pt x="378138" y="219152"/>
                    <a:pt x="366031" y="405781"/>
                    <a:pt x="461085" y="538915"/>
                  </a:cubicBezTo>
                  <a:lnTo>
                    <a:pt x="413193" y="586807"/>
                  </a:lnTo>
                  <a:cubicBezTo>
                    <a:pt x="390337" y="585019"/>
                    <a:pt x="366869" y="592154"/>
                    <a:pt x="348537" y="608552"/>
                  </a:cubicBezTo>
                  <a:lnTo>
                    <a:pt x="28937" y="894579"/>
                  </a:lnTo>
                  <a:cubicBezTo>
                    <a:pt x="-8077" y="927700"/>
                    <a:pt x="-9952" y="985209"/>
                    <a:pt x="25448" y="1020606"/>
                  </a:cubicBezTo>
                  <a:lnTo>
                    <a:pt x="59021" y="1054179"/>
                  </a:lnTo>
                  <a:close/>
                  <a:moveTo>
                    <a:pt x="515254" y="117430"/>
                  </a:moveTo>
                  <a:cubicBezTo>
                    <a:pt x="638466" y="-5782"/>
                    <a:pt x="838971" y="-5790"/>
                    <a:pt x="962197" y="117436"/>
                  </a:cubicBezTo>
                  <a:cubicBezTo>
                    <a:pt x="1085414" y="240658"/>
                    <a:pt x="1085414" y="441150"/>
                    <a:pt x="962197" y="564373"/>
                  </a:cubicBezTo>
                  <a:cubicBezTo>
                    <a:pt x="838961" y="687596"/>
                    <a:pt x="638464" y="687596"/>
                    <a:pt x="515254" y="564373"/>
                  </a:cubicBezTo>
                  <a:cubicBezTo>
                    <a:pt x="392036" y="441150"/>
                    <a:pt x="392036" y="240653"/>
                    <a:pt x="515254" y="117430"/>
                  </a:cubicBezTo>
                  <a:close/>
                  <a:moveTo>
                    <a:pt x="476495" y="558899"/>
                  </a:moveTo>
                  <a:cubicBezTo>
                    <a:pt x="490339" y="575528"/>
                    <a:pt x="503775" y="589017"/>
                    <a:pt x="520725" y="603132"/>
                  </a:cubicBezTo>
                  <a:lnTo>
                    <a:pt x="485729" y="638128"/>
                  </a:lnTo>
                  <a:cubicBezTo>
                    <a:pt x="476963" y="618281"/>
                    <a:pt x="461361" y="602669"/>
                    <a:pt x="441497" y="593896"/>
                  </a:cubicBezTo>
                  <a:lnTo>
                    <a:pt x="476495" y="558899"/>
                  </a:lnTo>
                  <a:close/>
                  <a:moveTo>
                    <a:pt x="45632" y="913230"/>
                  </a:moveTo>
                  <a:lnTo>
                    <a:pt x="365231" y="627203"/>
                  </a:lnTo>
                  <a:cubicBezTo>
                    <a:pt x="422920" y="575576"/>
                    <a:pt x="504002" y="656771"/>
                    <a:pt x="452424" y="714396"/>
                  </a:cubicBezTo>
                  <a:lnTo>
                    <a:pt x="166397" y="1033995"/>
                  </a:lnTo>
                  <a:cubicBezTo>
                    <a:pt x="142408" y="1060808"/>
                    <a:pt x="101417" y="1061170"/>
                    <a:pt x="76717" y="1036483"/>
                  </a:cubicBezTo>
                  <a:lnTo>
                    <a:pt x="43144" y="1002910"/>
                  </a:lnTo>
                  <a:cubicBezTo>
                    <a:pt x="18086" y="977850"/>
                    <a:pt x="19146" y="936928"/>
                    <a:pt x="45632" y="913230"/>
                  </a:cubicBezTo>
                  <a:close/>
                  <a:moveTo>
                    <a:pt x="922345" y="524529"/>
                  </a:moveTo>
                  <a:cubicBezTo>
                    <a:pt x="1023599" y="423281"/>
                    <a:pt x="1023599" y="258528"/>
                    <a:pt x="922345" y="157280"/>
                  </a:cubicBezTo>
                  <a:cubicBezTo>
                    <a:pt x="821096" y="56031"/>
                    <a:pt x="656344" y="56031"/>
                    <a:pt x="555095" y="157280"/>
                  </a:cubicBezTo>
                  <a:cubicBezTo>
                    <a:pt x="453842" y="258528"/>
                    <a:pt x="453842" y="423281"/>
                    <a:pt x="555095" y="524529"/>
                  </a:cubicBezTo>
                  <a:cubicBezTo>
                    <a:pt x="656356" y="625791"/>
                    <a:pt x="821096" y="625780"/>
                    <a:pt x="922345" y="524529"/>
                  </a:cubicBezTo>
                  <a:close/>
                  <a:moveTo>
                    <a:pt x="572794" y="174978"/>
                  </a:moveTo>
                  <a:cubicBezTo>
                    <a:pt x="664285" y="83487"/>
                    <a:pt x="813150" y="83482"/>
                    <a:pt x="904646" y="174978"/>
                  </a:cubicBezTo>
                  <a:cubicBezTo>
                    <a:pt x="996135" y="266472"/>
                    <a:pt x="996135" y="415337"/>
                    <a:pt x="904646" y="506831"/>
                  </a:cubicBezTo>
                  <a:cubicBezTo>
                    <a:pt x="813153" y="598325"/>
                    <a:pt x="664287" y="598325"/>
                    <a:pt x="572794" y="506831"/>
                  </a:cubicBezTo>
                  <a:cubicBezTo>
                    <a:pt x="481307" y="415337"/>
                    <a:pt x="481307" y="266474"/>
                    <a:pt x="572794" y="174978"/>
                  </a:cubicBezTo>
                  <a:close/>
                </a:path>
              </a:pathLst>
            </a:custGeom>
            <a:solidFill>
              <a:schemeClr val="bg1"/>
            </a:solidFill>
            <a:ln w="3175" cap="flat">
              <a:solidFill>
                <a:schemeClr val="bg1"/>
              </a:solidFill>
              <a:prstDash val="solid"/>
              <a:miter/>
            </a:ln>
          </p:spPr>
          <p:txBody>
            <a:bodyPr rtlCol="0" anchor="ctr"/>
            <a:lstStyle/>
            <a:p>
              <a:endParaRPr lang="en-US" noProof="0"/>
            </a:p>
          </p:txBody>
        </p:sp>
      </p:grpSp>
      <p:grpSp>
        <p:nvGrpSpPr>
          <p:cNvPr id="456" name="Group 455">
            <a:extLst>
              <a:ext uri="{FF2B5EF4-FFF2-40B4-BE49-F238E27FC236}">
                <a16:creationId xmlns:a16="http://schemas.microsoft.com/office/drawing/2014/main" id="{FFE774B0-ED37-F338-6812-8FEFA20D5716}"/>
              </a:ext>
            </a:extLst>
          </p:cNvPr>
          <p:cNvGrpSpPr/>
          <p:nvPr/>
        </p:nvGrpSpPr>
        <p:grpSpPr>
          <a:xfrm>
            <a:off x="4759073" y="1300839"/>
            <a:ext cx="6576618" cy="4717196"/>
            <a:chOff x="4759073" y="1300839"/>
            <a:chExt cx="6576618" cy="4717196"/>
          </a:xfrm>
        </p:grpSpPr>
        <p:grpSp>
          <p:nvGrpSpPr>
            <p:cNvPr id="4" name="Group 3">
              <a:extLst>
                <a:ext uri="{FF2B5EF4-FFF2-40B4-BE49-F238E27FC236}">
                  <a16:creationId xmlns:a16="http://schemas.microsoft.com/office/drawing/2014/main" id="{01963203-1766-4710-453A-1B4E0A41C1C4}"/>
                </a:ext>
              </a:extLst>
            </p:cNvPr>
            <p:cNvGrpSpPr/>
            <p:nvPr/>
          </p:nvGrpSpPr>
          <p:grpSpPr>
            <a:xfrm>
              <a:off x="7967125" y="1749805"/>
              <a:ext cx="957943" cy="299361"/>
              <a:chOff x="8638721" y="2082822"/>
              <a:chExt cx="957943" cy="299361"/>
            </a:xfrm>
          </p:grpSpPr>
          <p:sp>
            <p:nvSpPr>
              <p:cNvPr id="7" name="TextBox 6">
                <a:extLst>
                  <a:ext uri="{FF2B5EF4-FFF2-40B4-BE49-F238E27FC236}">
                    <a16:creationId xmlns:a16="http://schemas.microsoft.com/office/drawing/2014/main" id="{B0CAD457-9AB6-13C6-C095-2200C0944641}"/>
                  </a:ext>
                </a:extLst>
              </p:cNvPr>
              <p:cNvSpPr txBox="1"/>
              <p:nvPr/>
            </p:nvSpPr>
            <p:spPr>
              <a:xfrm>
                <a:off x="8638721" y="2082822"/>
                <a:ext cx="957943" cy="246221"/>
              </a:xfrm>
              <a:prstGeom prst="rect">
                <a:avLst/>
              </a:prstGeom>
              <a:noFill/>
            </p:spPr>
            <p:txBody>
              <a:bodyPr wrap="square" lIns="0" tIns="0" rIns="0" bIns="0" rtlCol="0">
                <a:spAutoFit/>
              </a:bodyPr>
              <a:lstStyle/>
              <a:p>
                <a:pPr algn="ctr"/>
                <a:r>
                  <a:rPr lang="en-US" sz="1600" i="1" noProof="0">
                    <a:solidFill>
                      <a:schemeClr val="tx2"/>
                    </a:solidFill>
                  </a:rPr>
                  <a:t>P</a:t>
                </a:r>
                <a:r>
                  <a:rPr lang="en-US" sz="1600" noProof="0">
                    <a:solidFill>
                      <a:schemeClr val="tx2"/>
                    </a:solidFill>
                  </a:rPr>
                  <a:t>=.0029</a:t>
                </a:r>
                <a:r>
                  <a:rPr lang="en-US" sz="1600" baseline="30000" noProof="0">
                    <a:solidFill>
                      <a:schemeClr val="tx2"/>
                    </a:solidFill>
                  </a:rPr>
                  <a:t>†</a:t>
                </a:r>
              </a:p>
            </p:txBody>
          </p:sp>
          <p:cxnSp>
            <p:nvCxnSpPr>
              <p:cNvPr id="8" name="Straight Connector 7">
                <a:extLst>
                  <a:ext uri="{FF2B5EF4-FFF2-40B4-BE49-F238E27FC236}">
                    <a16:creationId xmlns:a16="http://schemas.microsoft.com/office/drawing/2014/main" id="{E7D2ADA7-1A38-5BA6-3337-CE0F31819589}"/>
                  </a:ext>
                </a:extLst>
              </p:cNvPr>
              <p:cNvCxnSpPr/>
              <p:nvPr/>
            </p:nvCxnSpPr>
            <p:spPr>
              <a:xfrm>
                <a:off x="8648700" y="2382183"/>
                <a:ext cx="901700" cy="0"/>
              </a:xfrm>
              <a:prstGeom prst="line">
                <a:avLst/>
              </a:prstGeom>
              <a:ln w="19050" cap="rnd">
                <a:solidFill>
                  <a:schemeClr val="accent3"/>
                </a:solidFill>
                <a:round/>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651E392F-F7CA-C94F-AB17-3BD90B7374BB}"/>
                </a:ext>
              </a:extLst>
            </p:cNvPr>
            <p:cNvGrpSpPr/>
            <p:nvPr/>
          </p:nvGrpSpPr>
          <p:grpSpPr>
            <a:xfrm>
              <a:off x="9929537" y="3447916"/>
              <a:ext cx="957943" cy="299361"/>
              <a:chOff x="10367012" y="3610711"/>
              <a:chExt cx="957943" cy="299361"/>
            </a:xfrm>
          </p:grpSpPr>
          <p:sp>
            <p:nvSpPr>
              <p:cNvPr id="10" name="TextBox 9">
                <a:extLst>
                  <a:ext uri="{FF2B5EF4-FFF2-40B4-BE49-F238E27FC236}">
                    <a16:creationId xmlns:a16="http://schemas.microsoft.com/office/drawing/2014/main" id="{119691CA-3D30-4D47-D521-761CEE9D2E6D}"/>
                  </a:ext>
                </a:extLst>
              </p:cNvPr>
              <p:cNvSpPr txBox="1"/>
              <p:nvPr/>
            </p:nvSpPr>
            <p:spPr>
              <a:xfrm>
                <a:off x="10367012" y="3610711"/>
                <a:ext cx="957943" cy="246221"/>
              </a:xfrm>
              <a:prstGeom prst="rect">
                <a:avLst/>
              </a:prstGeom>
              <a:noFill/>
            </p:spPr>
            <p:txBody>
              <a:bodyPr wrap="square" lIns="0" tIns="0" rIns="0" bIns="0" rtlCol="0">
                <a:spAutoFit/>
              </a:bodyPr>
              <a:lstStyle/>
              <a:p>
                <a:pPr algn="ctr"/>
                <a:r>
                  <a:rPr lang="en-US" sz="1600" i="1" noProof="0">
                    <a:solidFill>
                      <a:schemeClr val="tx2"/>
                    </a:solidFill>
                  </a:rPr>
                  <a:t>P</a:t>
                </a:r>
                <a:r>
                  <a:rPr lang="en-US" sz="1600" noProof="0">
                    <a:solidFill>
                      <a:schemeClr val="tx2"/>
                    </a:solidFill>
                  </a:rPr>
                  <a:t>=.0055</a:t>
                </a:r>
                <a:r>
                  <a:rPr lang="en-US" sz="1600" baseline="30000" noProof="0">
                    <a:solidFill>
                      <a:schemeClr val="tx2"/>
                    </a:solidFill>
                  </a:rPr>
                  <a:t>†</a:t>
                </a:r>
              </a:p>
            </p:txBody>
          </p:sp>
          <p:cxnSp>
            <p:nvCxnSpPr>
              <p:cNvPr id="11" name="Straight Connector 10">
                <a:extLst>
                  <a:ext uri="{FF2B5EF4-FFF2-40B4-BE49-F238E27FC236}">
                    <a16:creationId xmlns:a16="http://schemas.microsoft.com/office/drawing/2014/main" id="{2DA0DC7C-A27E-04A5-DEF5-6B4E38AF3100}"/>
                  </a:ext>
                </a:extLst>
              </p:cNvPr>
              <p:cNvCxnSpPr/>
              <p:nvPr/>
            </p:nvCxnSpPr>
            <p:spPr>
              <a:xfrm>
                <a:off x="10376991" y="3910072"/>
                <a:ext cx="901700" cy="0"/>
              </a:xfrm>
              <a:prstGeom prst="line">
                <a:avLst/>
              </a:prstGeom>
              <a:ln w="19050" cap="rnd">
                <a:solidFill>
                  <a:schemeClr val="accent3"/>
                </a:solidFill>
                <a:roun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4CEF4AC0-AE57-CF0D-E424-5056A80531AB}"/>
                </a:ext>
              </a:extLst>
            </p:cNvPr>
            <p:cNvGrpSpPr/>
            <p:nvPr/>
          </p:nvGrpSpPr>
          <p:grpSpPr>
            <a:xfrm>
              <a:off x="6003236" y="1300839"/>
              <a:ext cx="957943" cy="299361"/>
              <a:chOff x="8638721" y="2082822"/>
              <a:chExt cx="957943" cy="299361"/>
            </a:xfrm>
          </p:grpSpPr>
          <p:sp>
            <p:nvSpPr>
              <p:cNvPr id="19" name="TextBox 18">
                <a:extLst>
                  <a:ext uri="{FF2B5EF4-FFF2-40B4-BE49-F238E27FC236}">
                    <a16:creationId xmlns:a16="http://schemas.microsoft.com/office/drawing/2014/main" id="{4ACC0212-AB95-80EB-70C7-DCD9D7EC47ED}"/>
                  </a:ext>
                </a:extLst>
              </p:cNvPr>
              <p:cNvSpPr txBox="1"/>
              <p:nvPr/>
            </p:nvSpPr>
            <p:spPr>
              <a:xfrm>
                <a:off x="8638721" y="2082822"/>
                <a:ext cx="957943" cy="246221"/>
              </a:xfrm>
              <a:prstGeom prst="rect">
                <a:avLst/>
              </a:prstGeom>
              <a:noFill/>
            </p:spPr>
            <p:txBody>
              <a:bodyPr wrap="square" lIns="0" tIns="0" rIns="0" bIns="0" rtlCol="0">
                <a:spAutoFit/>
              </a:bodyPr>
              <a:lstStyle/>
              <a:p>
                <a:pPr algn="ctr"/>
                <a:r>
                  <a:rPr lang="en-US" sz="1600" i="1" noProof="0">
                    <a:solidFill>
                      <a:schemeClr val="tx2"/>
                    </a:solidFill>
                  </a:rPr>
                  <a:t>P</a:t>
                </a:r>
                <a:r>
                  <a:rPr lang="en-US" sz="1600" noProof="0">
                    <a:solidFill>
                      <a:schemeClr val="tx2"/>
                    </a:solidFill>
                  </a:rPr>
                  <a:t>=.0250*</a:t>
                </a:r>
              </a:p>
            </p:txBody>
          </p:sp>
          <p:cxnSp>
            <p:nvCxnSpPr>
              <p:cNvPr id="20" name="Straight Connector 19">
                <a:extLst>
                  <a:ext uri="{FF2B5EF4-FFF2-40B4-BE49-F238E27FC236}">
                    <a16:creationId xmlns:a16="http://schemas.microsoft.com/office/drawing/2014/main" id="{C239D5C9-0FA3-1864-0483-8E63A4B1418F}"/>
                  </a:ext>
                </a:extLst>
              </p:cNvPr>
              <p:cNvCxnSpPr/>
              <p:nvPr/>
            </p:nvCxnSpPr>
            <p:spPr>
              <a:xfrm>
                <a:off x="8648700" y="2382183"/>
                <a:ext cx="901700" cy="0"/>
              </a:xfrm>
              <a:prstGeom prst="line">
                <a:avLst/>
              </a:prstGeom>
              <a:ln w="19050" cap="rnd">
                <a:solidFill>
                  <a:schemeClr val="accent3"/>
                </a:solidFill>
                <a:round/>
              </a:ln>
            </p:spPr>
            <p:style>
              <a:lnRef idx="1">
                <a:schemeClr val="accent1"/>
              </a:lnRef>
              <a:fillRef idx="0">
                <a:schemeClr val="accent1"/>
              </a:fillRef>
              <a:effectRef idx="0">
                <a:schemeClr val="accent1"/>
              </a:effectRef>
              <a:fontRef idx="minor">
                <a:schemeClr val="tx1"/>
              </a:fontRef>
            </p:style>
          </p:cxnSp>
        </p:grpSp>
        <p:grpSp>
          <p:nvGrpSpPr>
            <p:cNvPr id="403" name="Graphic 22">
              <a:extLst>
                <a:ext uri="{FF2B5EF4-FFF2-40B4-BE49-F238E27FC236}">
                  <a16:creationId xmlns:a16="http://schemas.microsoft.com/office/drawing/2014/main" id="{D00C5BE5-3907-F47B-0076-F34EF5440037}"/>
                </a:ext>
              </a:extLst>
            </p:cNvPr>
            <p:cNvGrpSpPr/>
            <p:nvPr/>
          </p:nvGrpSpPr>
          <p:grpSpPr>
            <a:xfrm>
              <a:off x="5431030" y="1678529"/>
              <a:ext cx="5904661" cy="4286279"/>
              <a:chOff x="5431030" y="1678529"/>
              <a:chExt cx="5904661" cy="4286279"/>
            </a:xfrm>
          </p:grpSpPr>
          <p:sp>
            <p:nvSpPr>
              <p:cNvPr id="404" name="Freeform: Shape 403">
                <a:extLst>
                  <a:ext uri="{FF2B5EF4-FFF2-40B4-BE49-F238E27FC236}">
                    <a16:creationId xmlns:a16="http://schemas.microsoft.com/office/drawing/2014/main" id="{F6403701-5570-D2D6-22AB-E45CA745442B}"/>
                  </a:ext>
                </a:extLst>
              </p:cNvPr>
              <p:cNvSpPr/>
              <p:nvPr/>
            </p:nvSpPr>
            <p:spPr>
              <a:xfrm>
                <a:off x="5946903" y="2008085"/>
                <a:ext cx="442384" cy="3386268"/>
              </a:xfrm>
              <a:custGeom>
                <a:avLst/>
                <a:gdLst>
                  <a:gd name="connsiteX0" fmla="*/ 0 w 442384"/>
                  <a:gd name="connsiteY0" fmla="*/ 0 h 3386268"/>
                  <a:gd name="connsiteX1" fmla="*/ 442385 w 442384"/>
                  <a:gd name="connsiteY1" fmla="*/ 0 h 3386268"/>
                  <a:gd name="connsiteX2" fmla="*/ 442385 w 442384"/>
                  <a:gd name="connsiteY2" fmla="*/ 3386268 h 3386268"/>
                  <a:gd name="connsiteX3" fmla="*/ 0 w 442384"/>
                  <a:gd name="connsiteY3" fmla="*/ 3386268 h 3386268"/>
                </a:gdLst>
                <a:ahLst/>
                <a:cxnLst>
                  <a:cxn ang="0">
                    <a:pos x="connsiteX0" y="connsiteY0"/>
                  </a:cxn>
                  <a:cxn ang="0">
                    <a:pos x="connsiteX1" y="connsiteY1"/>
                  </a:cxn>
                  <a:cxn ang="0">
                    <a:pos x="connsiteX2" y="connsiteY2"/>
                  </a:cxn>
                  <a:cxn ang="0">
                    <a:pos x="connsiteX3" y="connsiteY3"/>
                  </a:cxn>
                </a:cxnLst>
                <a:rect l="l" t="t" r="r" b="b"/>
                <a:pathLst>
                  <a:path w="442384" h="3386268">
                    <a:moveTo>
                      <a:pt x="0" y="0"/>
                    </a:moveTo>
                    <a:lnTo>
                      <a:pt x="442385" y="0"/>
                    </a:lnTo>
                    <a:lnTo>
                      <a:pt x="442385" y="3386268"/>
                    </a:lnTo>
                    <a:lnTo>
                      <a:pt x="0" y="3386268"/>
                    </a:lnTo>
                    <a:close/>
                  </a:path>
                </a:pathLst>
              </a:custGeom>
              <a:solidFill>
                <a:srgbClr val="0F446E"/>
              </a:solidFill>
              <a:ln w="29039" cap="flat">
                <a:noFill/>
                <a:prstDash val="solid"/>
                <a:miter/>
              </a:ln>
            </p:spPr>
            <p:txBody>
              <a:bodyPr rtlCol="0" anchor="ctr"/>
              <a:lstStyle/>
              <a:p>
                <a:endParaRPr lang="en-US" sz="3200"/>
              </a:p>
            </p:txBody>
          </p:sp>
          <p:sp>
            <p:nvSpPr>
              <p:cNvPr id="405" name="Freeform: Shape 404">
                <a:extLst>
                  <a:ext uri="{FF2B5EF4-FFF2-40B4-BE49-F238E27FC236}">
                    <a16:creationId xmlns:a16="http://schemas.microsoft.com/office/drawing/2014/main" id="{80E97477-A247-3B27-0281-BE26FE6A703E}"/>
                  </a:ext>
                </a:extLst>
              </p:cNvPr>
              <p:cNvSpPr/>
              <p:nvPr/>
            </p:nvSpPr>
            <p:spPr>
              <a:xfrm>
                <a:off x="7902343" y="2479847"/>
                <a:ext cx="442384" cy="2914506"/>
              </a:xfrm>
              <a:custGeom>
                <a:avLst/>
                <a:gdLst>
                  <a:gd name="connsiteX0" fmla="*/ 0 w 442384"/>
                  <a:gd name="connsiteY0" fmla="*/ 0 h 2914506"/>
                  <a:gd name="connsiteX1" fmla="*/ 442385 w 442384"/>
                  <a:gd name="connsiteY1" fmla="*/ 0 h 2914506"/>
                  <a:gd name="connsiteX2" fmla="*/ 442385 w 442384"/>
                  <a:gd name="connsiteY2" fmla="*/ 2914506 h 2914506"/>
                  <a:gd name="connsiteX3" fmla="*/ 0 w 442384"/>
                  <a:gd name="connsiteY3" fmla="*/ 2914506 h 2914506"/>
                </a:gdLst>
                <a:ahLst/>
                <a:cxnLst>
                  <a:cxn ang="0">
                    <a:pos x="connsiteX0" y="connsiteY0"/>
                  </a:cxn>
                  <a:cxn ang="0">
                    <a:pos x="connsiteX1" y="connsiteY1"/>
                  </a:cxn>
                  <a:cxn ang="0">
                    <a:pos x="connsiteX2" y="connsiteY2"/>
                  </a:cxn>
                  <a:cxn ang="0">
                    <a:pos x="connsiteX3" y="connsiteY3"/>
                  </a:cxn>
                </a:cxnLst>
                <a:rect l="l" t="t" r="r" b="b"/>
                <a:pathLst>
                  <a:path w="442384" h="2914506">
                    <a:moveTo>
                      <a:pt x="0" y="0"/>
                    </a:moveTo>
                    <a:lnTo>
                      <a:pt x="442385" y="0"/>
                    </a:lnTo>
                    <a:lnTo>
                      <a:pt x="442385" y="2914506"/>
                    </a:lnTo>
                    <a:lnTo>
                      <a:pt x="0" y="2914506"/>
                    </a:lnTo>
                    <a:close/>
                  </a:path>
                </a:pathLst>
              </a:custGeom>
              <a:solidFill>
                <a:srgbClr val="0F446E"/>
              </a:solidFill>
              <a:ln w="29039" cap="flat">
                <a:noFill/>
                <a:prstDash val="solid"/>
                <a:miter/>
              </a:ln>
            </p:spPr>
            <p:txBody>
              <a:bodyPr rtlCol="0" anchor="ctr"/>
              <a:lstStyle/>
              <a:p>
                <a:endParaRPr lang="en-US" sz="3200"/>
              </a:p>
            </p:txBody>
          </p:sp>
          <p:sp>
            <p:nvSpPr>
              <p:cNvPr id="406" name="Freeform: Shape 405">
                <a:extLst>
                  <a:ext uri="{FF2B5EF4-FFF2-40B4-BE49-F238E27FC236}">
                    <a16:creationId xmlns:a16="http://schemas.microsoft.com/office/drawing/2014/main" id="{D5E74405-D37E-6390-101B-16778649A2E6}"/>
                  </a:ext>
                </a:extLst>
              </p:cNvPr>
              <p:cNvSpPr/>
              <p:nvPr/>
            </p:nvSpPr>
            <p:spPr>
              <a:xfrm>
                <a:off x="9857492" y="4134198"/>
                <a:ext cx="442384" cy="1260154"/>
              </a:xfrm>
              <a:custGeom>
                <a:avLst/>
                <a:gdLst>
                  <a:gd name="connsiteX0" fmla="*/ 0 w 442384"/>
                  <a:gd name="connsiteY0" fmla="*/ 0 h 1260154"/>
                  <a:gd name="connsiteX1" fmla="*/ 442384 w 442384"/>
                  <a:gd name="connsiteY1" fmla="*/ 0 h 1260154"/>
                  <a:gd name="connsiteX2" fmla="*/ 442384 w 442384"/>
                  <a:gd name="connsiteY2" fmla="*/ 1260155 h 1260154"/>
                  <a:gd name="connsiteX3" fmla="*/ 0 w 442384"/>
                  <a:gd name="connsiteY3" fmla="*/ 1260155 h 1260154"/>
                </a:gdLst>
                <a:ahLst/>
                <a:cxnLst>
                  <a:cxn ang="0">
                    <a:pos x="connsiteX0" y="connsiteY0"/>
                  </a:cxn>
                  <a:cxn ang="0">
                    <a:pos x="connsiteX1" y="connsiteY1"/>
                  </a:cxn>
                  <a:cxn ang="0">
                    <a:pos x="connsiteX2" y="connsiteY2"/>
                  </a:cxn>
                  <a:cxn ang="0">
                    <a:pos x="connsiteX3" y="connsiteY3"/>
                  </a:cxn>
                </a:cxnLst>
                <a:rect l="l" t="t" r="r" b="b"/>
                <a:pathLst>
                  <a:path w="442384" h="1260154">
                    <a:moveTo>
                      <a:pt x="0" y="0"/>
                    </a:moveTo>
                    <a:lnTo>
                      <a:pt x="442384" y="0"/>
                    </a:lnTo>
                    <a:lnTo>
                      <a:pt x="442384" y="1260155"/>
                    </a:lnTo>
                    <a:lnTo>
                      <a:pt x="0" y="1260155"/>
                    </a:lnTo>
                    <a:close/>
                  </a:path>
                </a:pathLst>
              </a:custGeom>
              <a:solidFill>
                <a:srgbClr val="0F446E"/>
              </a:solidFill>
              <a:ln w="29039" cap="flat">
                <a:noFill/>
                <a:prstDash val="solid"/>
                <a:miter/>
              </a:ln>
            </p:spPr>
            <p:txBody>
              <a:bodyPr rtlCol="0" anchor="ctr"/>
              <a:lstStyle/>
              <a:p>
                <a:endParaRPr lang="en-US" sz="3200"/>
              </a:p>
            </p:txBody>
          </p:sp>
          <p:sp>
            <p:nvSpPr>
              <p:cNvPr id="407" name="Freeform: Shape 406">
                <a:extLst>
                  <a:ext uri="{FF2B5EF4-FFF2-40B4-BE49-F238E27FC236}">
                    <a16:creationId xmlns:a16="http://schemas.microsoft.com/office/drawing/2014/main" id="{934951FA-2EE0-5D4D-76B3-C442DDDA3AD8}"/>
                  </a:ext>
                </a:extLst>
              </p:cNvPr>
              <p:cNvSpPr/>
              <p:nvPr/>
            </p:nvSpPr>
            <p:spPr>
              <a:xfrm>
                <a:off x="6505766" y="2657553"/>
                <a:ext cx="434542" cy="2736799"/>
              </a:xfrm>
              <a:custGeom>
                <a:avLst/>
                <a:gdLst>
                  <a:gd name="connsiteX0" fmla="*/ 0 w 434542"/>
                  <a:gd name="connsiteY0" fmla="*/ 0 h 2736799"/>
                  <a:gd name="connsiteX1" fmla="*/ 434542 w 434542"/>
                  <a:gd name="connsiteY1" fmla="*/ 0 h 2736799"/>
                  <a:gd name="connsiteX2" fmla="*/ 434542 w 434542"/>
                  <a:gd name="connsiteY2" fmla="*/ 2736800 h 2736799"/>
                  <a:gd name="connsiteX3" fmla="*/ 0 w 434542"/>
                  <a:gd name="connsiteY3" fmla="*/ 2736800 h 2736799"/>
                </a:gdLst>
                <a:ahLst/>
                <a:cxnLst>
                  <a:cxn ang="0">
                    <a:pos x="connsiteX0" y="connsiteY0"/>
                  </a:cxn>
                  <a:cxn ang="0">
                    <a:pos x="connsiteX1" y="connsiteY1"/>
                  </a:cxn>
                  <a:cxn ang="0">
                    <a:pos x="connsiteX2" y="connsiteY2"/>
                  </a:cxn>
                  <a:cxn ang="0">
                    <a:pos x="connsiteX3" y="connsiteY3"/>
                  </a:cxn>
                </a:cxnLst>
                <a:rect l="l" t="t" r="r" b="b"/>
                <a:pathLst>
                  <a:path w="434542" h="2736799">
                    <a:moveTo>
                      <a:pt x="0" y="0"/>
                    </a:moveTo>
                    <a:lnTo>
                      <a:pt x="434542" y="0"/>
                    </a:lnTo>
                    <a:lnTo>
                      <a:pt x="434542" y="2736800"/>
                    </a:lnTo>
                    <a:lnTo>
                      <a:pt x="0" y="2736800"/>
                    </a:lnTo>
                    <a:close/>
                  </a:path>
                </a:pathLst>
              </a:custGeom>
              <a:solidFill>
                <a:srgbClr val="7CA744"/>
              </a:solidFill>
              <a:ln w="29039" cap="flat">
                <a:noFill/>
                <a:prstDash val="solid"/>
                <a:miter/>
              </a:ln>
            </p:spPr>
            <p:txBody>
              <a:bodyPr rtlCol="0" anchor="ctr"/>
              <a:lstStyle/>
              <a:p>
                <a:endParaRPr lang="en-US" sz="3200"/>
              </a:p>
            </p:txBody>
          </p:sp>
          <p:sp>
            <p:nvSpPr>
              <p:cNvPr id="408" name="Freeform: Shape 407">
                <a:extLst>
                  <a:ext uri="{FF2B5EF4-FFF2-40B4-BE49-F238E27FC236}">
                    <a16:creationId xmlns:a16="http://schemas.microsoft.com/office/drawing/2014/main" id="{9458EFAD-F2EF-58D7-A519-44ACBF6C7665}"/>
                  </a:ext>
                </a:extLst>
              </p:cNvPr>
              <p:cNvSpPr/>
              <p:nvPr/>
            </p:nvSpPr>
            <p:spPr>
              <a:xfrm>
                <a:off x="8460915" y="3631757"/>
                <a:ext cx="434542" cy="1762596"/>
              </a:xfrm>
              <a:custGeom>
                <a:avLst/>
                <a:gdLst>
                  <a:gd name="connsiteX0" fmla="*/ 0 w 434542"/>
                  <a:gd name="connsiteY0" fmla="*/ 0 h 1762596"/>
                  <a:gd name="connsiteX1" fmla="*/ 434542 w 434542"/>
                  <a:gd name="connsiteY1" fmla="*/ 0 h 1762596"/>
                  <a:gd name="connsiteX2" fmla="*/ 434542 w 434542"/>
                  <a:gd name="connsiteY2" fmla="*/ 1762596 h 1762596"/>
                  <a:gd name="connsiteX3" fmla="*/ 0 w 434542"/>
                  <a:gd name="connsiteY3" fmla="*/ 1762596 h 1762596"/>
                </a:gdLst>
                <a:ahLst/>
                <a:cxnLst>
                  <a:cxn ang="0">
                    <a:pos x="connsiteX0" y="connsiteY0"/>
                  </a:cxn>
                  <a:cxn ang="0">
                    <a:pos x="connsiteX1" y="connsiteY1"/>
                  </a:cxn>
                  <a:cxn ang="0">
                    <a:pos x="connsiteX2" y="connsiteY2"/>
                  </a:cxn>
                  <a:cxn ang="0">
                    <a:pos x="connsiteX3" y="connsiteY3"/>
                  </a:cxn>
                </a:cxnLst>
                <a:rect l="l" t="t" r="r" b="b"/>
                <a:pathLst>
                  <a:path w="434542" h="1762596">
                    <a:moveTo>
                      <a:pt x="0" y="0"/>
                    </a:moveTo>
                    <a:lnTo>
                      <a:pt x="434542" y="0"/>
                    </a:lnTo>
                    <a:lnTo>
                      <a:pt x="434542" y="1762596"/>
                    </a:lnTo>
                    <a:lnTo>
                      <a:pt x="0" y="1762596"/>
                    </a:lnTo>
                    <a:close/>
                  </a:path>
                </a:pathLst>
              </a:custGeom>
              <a:solidFill>
                <a:srgbClr val="7CA744"/>
              </a:solidFill>
              <a:ln w="29039" cap="flat">
                <a:noFill/>
                <a:prstDash val="solid"/>
                <a:miter/>
              </a:ln>
            </p:spPr>
            <p:txBody>
              <a:bodyPr rtlCol="0" anchor="ctr"/>
              <a:lstStyle/>
              <a:p>
                <a:endParaRPr lang="en-US" sz="3200"/>
              </a:p>
            </p:txBody>
          </p:sp>
          <p:sp>
            <p:nvSpPr>
              <p:cNvPr id="409" name="Freeform: Shape 408">
                <a:extLst>
                  <a:ext uri="{FF2B5EF4-FFF2-40B4-BE49-F238E27FC236}">
                    <a16:creationId xmlns:a16="http://schemas.microsoft.com/office/drawing/2014/main" id="{F2F69AB0-40E0-FD32-9A08-494E55849653}"/>
                  </a:ext>
                </a:extLst>
              </p:cNvPr>
              <p:cNvSpPr/>
              <p:nvPr/>
            </p:nvSpPr>
            <p:spPr>
              <a:xfrm>
                <a:off x="10416355" y="5038939"/>
                <a:ext cx="434542" cy="355702"/>
              </a:xfrm>
              <a:custGeom>
                <a:avLst/>
                <a:gdLst>
                  <a:gd name="connsiteX0" fmla="*/ 0 w 434542"/>
                  <a:gd name="connsiteY0" fmla="*/ 0 h 355702"/>
                  <a:gd name="connsiteX1" fmla="*/ 434542 w 434542"/>
                  <a:gd name="connsiteY1" fmla="*/ 0 h 355702"/>
                  <a:gd name="connsiteX2" fmla="*/ 434542 w 434542"/>
                  <a:gd name="connsiteY2" fmla="*/ 355703 h 355702"/>
                  <a:gd name="connsiteX3" fmla="*/ 0 w 434542"/>
                  <a:gd name="connsiteY3" fmla="*/ 355703 h 355702"/>
                </a:gdLst>
                <a:ahLst/>
                <a:cxnLst>
                  <a:cxn ang="0">
                    <a:pos x="connsiteX0" y="connsiteY0"/>
                  </a:cxn>
                  <a:cxn ang="0">
                    <a:pos x="connsiteX1" y="connsiteY1"/>
                  </a:cxn>
                  <a:cxn ang="0">
                    <a:pos x="connsiteX2" y="connsiteY2"/>
                  </a:cxn>
                  <a:cxn ang="0">
                    <a:pos x="connsiteX3" y="connsiteY3"/>
                  </a:cxn>
                </a:cxnLst>
                <a:rect l="l" t="t" r="r" b="b"/>
                <a:pathLst>
                  <a:path w="434542" h="355702">
                    <a:moveTo>
                      <a:pt x="0" y="0"/>
                    </a:moveTo>
                    <a:lnTo>
                      <a:pt x="434542" y="0"/>
                    </a:lnTo>
                    <a:lnTo>
                      <a:pt x="434542" y="355703"/>
                    </a:lnTo>
                    <a:lnTo>
                      <a:pt x="0" y="355703"/>
                    </a:lnTo>
                    <a:close/>
                  </a:path>
                </a:pathLst>
              </a:custGeom>
              <a:solidFill>
                <a:srgbClr val="7CA744"/>
              </a:solidFill>
              <a:ln w="29039" cap="flat">
                <a:noFill/>
                <a:prstDash val="solid"/>
                <a:miter/>
              </a:ln>
            </p:spPr>
            <p:txBody>
              <a:bodyPr rtlCol="0" anchor="ctr"/>
              <a:lstStyle/>
              <a:p>
                <a:endParaRPr lang="en-US" sz="3200"/>
              </a:p>
            </p:txBody>
          </p:sp>
          <p:sp>
            <p:nvSpPr>
              <p:cNvPr id="410" name="Freeform: Shape 409">
                <a:extLst>
                  <a:ext uri="{FF2B5EF4-FFF2-40B4-BE49-F238E27FC236}">
                    <a16:creationId xmlns:a16="http://schemas.microsoft.com/office/drawing/2014/main" id="{7CFE906D-2635-0B90-4A19-1788F924AA77}"/>
                  </a:ext>
                </a:extLst>
              </p:cNvPr>
              <p:cNvSpPr/>
              <p:nvPr/>
            </p:nvSpPr>
            <p:spPr>
              <a:xfrm>
                <a:off x="5469953" y="1687402"/>
                <a:ext cx="5865738" cy="3703188"/>
              </a:xfrm>
              <a:custGeom>
                <a:avLst/>
                <a:gdLst>
                  <a:gd name="connsiteX0" fmla="*/ 5865738 w 5865738"/>
                  <a:gd name="connsiteY0" fmla="*/ 3703188 h 3703188"/>
                  <a:gd name="connsiteX1" fmla="*/ 0 w 5865738"/>
                  <a:gd name="connsiteY1" fmla="*/ 3703188 h 3703188"/>
                  <a:gd name="connsiteX2" fmla="*/ 0 w 5865738"/>
                  <a:gd name="connsiteY2" fmla="*/ 0 h 3703188"/>
                </a:gdLst>
                <a:ahLst/>
                <a:cxnLst>
                  <a:cxn ang="0">
                    <a:pos x="connsiteX0" y="connsiteY0"/>
                  </a:cxn>
                  <a:cxn ang="0">
                    <a:pos x="connsiteX1" y="connsiteY1"/>
                  </a:cxn>
                  <a:cxn ang="0">
                    <a:pos x="connsiteX2" y="connsiteY2"/>
                  </a:cxn>
                </a:cxnLst>
                <a:rect l="l" t="t" r="r" b="b"/>
                <a:pathLst>
                  <a:path w="5865738" h="3703188">
                    <a:moveTo>
                      <a:pt x="5865738" y="3703188"/>
                    </a:moveTo>
                    <a:lnTo>
                      <a:pt x="0" y="3703188"/>
                    </a:lnTo>
                    <a:lnTo>
                      <a:pt x="0" y="0"/>
                    </a:lnTo>
                  </a:path>
                </a:pathLst>
              </a:custGeom>
              <a:noFill/>
              <a:ln w="14519" cap="flat">
                <a:solidFill>
                  <a:srgbClr val="231F20"/>
                </a:solidFill>
                <a:prstDash val="solid"/>
                <a:round/>
              </a:ln>
            </p:spPr>
            <p:txBody>
              <a:bodyPr rtlCol="0" anchor="ctr"/>
              <a:lstStyle/>
              <a:p>
                <a:endParaRPr lang="en-US" sz="3200"/>
              </a:p>
            </p:txBody>
          </p:sp>
          <p:sp>
            <p:nvSpPr>
              <p:cNvPr id="411" name="TextBox 410">
                <a:extLst>
                  <a:ext uri="{FF2B5EF4-FFF2-40B4-BE49-F238E27FC236}">
                    <a16:creationId xmlns:a16="http://schemas.microsoft.com/office/drawing/2014/main" id="{6847F5C9-5553-F4A2-1981-C0B274607199}"/>
                  </a:ext>
                </a:extLst>
              </p:cNvPr>
              <p:cNvSpPr txBox="1"/>
              <p:nvPr/>
            </p:nvSpPr>
            <p:spPr>
              <a:xfrm>
                <a:off x="5930353" y="1678529"/>
                <a:ext cx="458459" cy="307777"/>
              </a:xfrm>
              <a:prstGeom prst="rect">
                <a:avLst/>
              </a:prstGeom>
              <a:noFill/>
            </p:spPr>
            <p:txBody>
              <a:bodyPr wrap="none" lIns="0" tIns="0" rIns="0" bIns="0" rtlCol="0">
                <a:spAutoFit/>
              </a:bodyPr>
              <a:lstStyle/>
              <a:p>
                <a:pPr algn="ctr"/>
                <a:r>
                  <a:rPr lang="en-US" sz="2000" b="1" spc="0" baseline="0" err="1">
                    <a:ln/>
                    <a:solidFill>
                      <a:srgbClr val="0F446E"/>
                    </a:solidFill>
                    <a:sym typeface="Aptos"/>
                    <a:rtl val="0"/>
                  </a:rPr>
                  <a:t>91.5</a:t>
                </a:r>
              </a:p>
            </p:txBody>
          </p:sp>
          <p:sp>
            <p:nvSpPr>
              <p:cNvPr id="412" name="TextBox 411">
                <a:extLst>
                  <a:ext uri="{FF2B5EF4-FFF2-40B4-BE49-F238E27FC236}">
                    <a16:creationId xmlns:a16="http://schemas.microsoft.com/office/drawing/2014/main" id="{ED16BE82-005D-9F33-3056-BFF978B335BD}"/>
                  </a:ext>
                </a:extLst>
              </p:cNvPr>
              <p:cNvSpPr txBox="1"/>
              <p:nvPr/>
            </p:nvSpPr>
            <p:spPr>
              <a:xfrm>
                <a:off x="7887245" y="2153475"/>
                <a:ext cx="458459" cy="307777"/>
              </a:xfrm>
              <a:prstGeom prst="rect">
                <a:avLst/>
              </a:prstGeom>
              <a:noFill/>
            </p:spPr>
            <p:txBody>
              <a:bodyPr wrap="none" lIns="0" tIns="0" rIns="0" bIns="0" rtlCol="0">
                <a:spAutoFit/>
              </a:bodyPr>
              <a:lstStyle/>
              <a:p>
                <a:pPr algn="ctr"/>
                <a:r>
                  <a:rPr lang="en-US" sz="2000" b="1" spc="0" baseline="0" err="1">
                    <a:ln/>
                    <a:solidFill>
                      <a:srgbClr val="0F446E"/>
                    </a:solidFill>
                    <a:sym typeface="Aptos"/>
                    <a:rtl val="0"/>
                  </a:rPr>
                  <a:t>78.7</a:t>
                </a:r>
              </a:p>
            </p:txBody>
          </p:sp>
          <p:sp>
            <p:nvSpPr>
              <p:cNvPr id="413" name="TextBox 412">
                <a:extLst>
                  <a:ext uri="{FF2B5EF4-FFF2-40B4-BE49-F238E27FC236}">
                    <a16:creationId xmlns:a16="http://schemas.microsoft.com/office/drawing/2014/main" id="{18ED09C2-FD50-95E7-5CB8-D9C2389045F8}"/>
                  </a:ext>
                </a:extLst>
              </p:cNvPr>
              <p:cNvSpPr txBox="1"/>
              <p:nvPr/>
            </p:nvSpPr>
            <p:spPr>
              <a:xfrm>
                <a:off x="9930406" y="3811300"/>
                <a:ext cx="259686" cy="307777"/>
              </a:xfrm>
              <a:prstGeom prst="rect">
                <a:avLst/>
              </a:prstGeom>
              <a:noFill/>
            </p:spPr>
            <p:txBody>
              <a:bodyPr wrap="none" lIns="0" tIns="0" rIns="0" bIns="0" rtlCol="0">
                <a:spAutoFit/>
              </a:bodyPr>
              <a:lstStyle/>
              <a:p>
                <a:pPr algn="ctr"/>
                <a:r>
                  <a:rPr lang="en-US" sz="2000" b="1" spc="0" baseline="0" err="1">
                    <a:ln/>
                    <a:solidFill>
                      <a:srgbClr val="0F446E"/>
                    </a:solidFill>
                    <a:sym typeface="Aptos"/>
                    <a:rtl val="0"/>
                  </a:rPr>
                  <a:t>34</a:t>
                </a:r>
              </a:p>
            </p:txBody>
          </p:sp>
          <p:sp>
            <p:nvSpPr>
              <p:cNvPr id="414" name="TextBox 413">
                <a:extLst>
                  <a:ext uri="{FF2B5EF4-FFF2-40B4-BE49-F238E27FC236}">
                    <a16:creationId xmlns:a16="http://schemas.microsoft.com/office/drawing/2014/main" id="{A9B070EA-3FAB-5145-91AB-053F032ED1CA}"/>
                  </a:ext>
                </a:extLst>
              </p:cNvPr>
              <p:cNvSpPr txBox="1"/>
              <p:nvPr/>
            </p:nvSpPr>
            <p:spPr>
              <a:xfrm>
                <a:off x="6496187" y="2335234"/>
                <a:ext cx="458459" cy="307777"/>
              </a:xfrm>
              <a:prstGeom prst="rect">
                <a:avLst/>
              </a:prstGeom>
              <a:noFill/>
            </p:spPr>
            <p:txBody>
              <a:bodyPr wrap="none" lIns="0" tIns="0" rIns="0" bIns="0" rtlCol="0">
                <a:spAutoFit/>
              </a:bodyPr>
              <a:lstStyle/>
              <a:p>
                <a:pPr algn="ctr"/>
                <a:r>
                  <a:rPr lang="en-US" sz="2000" b="1" spc="0" baseline="0" err="1">
                    <a:ln/>
                    <a:solidFill>
                      <a:srgbClr val="7CA744"/>
                    </a:solidFill>
                    <a:sym typeface="Aptos"/>
                    <a:rtl val="0"/>
                  </a:rPr>
                  <a:t>73.8</a:t>
                </a:r>
              </a:p>
            </p:txBody>
          </p:sp>
          <p:sp>
            <p:nvSpPr>
              <p:cNvPr id="415" name="TextBox 414">
                <a:extLst>
                  <a:ext uri="{FF2B5EF4-FFF2-40B4-BE49-F238E27FC236}">
                    <a16:creationId xmlns:a16="http://schemas.microsoft.com/office/drawing/2014/main" id="{1C444C1A-DEDB-3C92-C41D-8E6AE5B55424}"/>
                  </a:ext>
                </a:extLst>
              </p:cNvPr>
              <p:cNvSpPr txBox="1"/>
              <p:nvPr/>
            </p:nvSpPr>
            <p:spPr>
              <a:xfrm>
                <a:off x="8453079" y="3306543"/>
                <a:ext cx="458459" cy="307777"/>
              </a:xfrm>
              <a:prstGeom prst="rect">
                <a:avLst/>
              </a:prstGeom>
              <a:noFill/>
            </p:spPr>
            <p:txBody>
              <a:bodyPr wrap="none" lIns="0" tIns="0" rIns="0" bIns="0" rtlCol="0">
                <a:spAutoFit/>
              </a:bodyPr>
              <a:lstStyle/>
              <a:p>
                <a:pPr algn="ctr"/>
                <a:r>
                  <a:rPr lang="en-US" sz="2000" b="1" spc="0" baseline="0" err="1">
                    <a:ln/>
                    <a:solidFill>
                      <a:srgbClr val="7CA744"/>
                    </a:solidFill>
                    <a:sym typeface="Aptos"/>
                    <a:rtl val="0"/>
                  </a:rPr>
                  <a:t>47.6</a:t>
                </a:r>
              </a:p>
            </p:txBody>
          </p:sp>
          <p:sp>
            <p:nvSpPr>
              <p:cNvPr id="416" name="TextBox 415">
                <a:extLst>
                  <a:ext uri="{FF2B5EF4-FFF2-40B4-BE49-F238E27FC236}">
                    <a16:creationId xmlns:a16="http://schemas.microsoft.com/office/drawing/2014/main" id="{8F02BA90-6CB2-45E1-0734-ADB9A0958290}"/>
                  </a:ext>
                </a:extLst>
              </p:cNvPr>
              <p:cNvSpPr txBox="1"/>
              <p:nvPr/>
            </p:nvSpPr>
            <p:spPr>
              <a:xfrm>
                <a:off x="10451799" y="4719804"/>
                <a:ext cx="328616" cy="307777"/>
              </a:xfrm>
              <a:prstGeom prst="rect">
                <a:avLst/>
              </a:prstGeom>
              <a:noFill/>
            </p:spPr>
            <p:txBody>
              <a:bodyPr wrap="none" lIns="0" tIns="0" rIns="0" bIns="0" rtlCol="0">
                <a:spAutoFit/>
              </a:bodyPr>
              <a:lstStyle/>
              <a:p>
                <a:pPr algn="ctr"/>
                <a:r>
                  <a:rPr lang="en-US" sz="2000" b="1" spc="0" baseline="0" err="1">
                    <a:ln/>
                    <a:solidFill>
                      <a:srgbClr val="7CA744"/>
                    </a:solidFill>
                    <a:sym typeface="Aptos"/>
                    <a:rtl val="0"/>
                  </a:rPr>
                  <a:t>9.5</a:t>
                </a:r>
              </a:p>
            </p:txBody>
          </p:sp>
          <p:sp>
            <p:nvSpPr>
              <p:cNvPr id="417" name="Freeform: Shape 416">
                <a:extLst>
                  <a:ext uri="{FF2B5EF4-FFF2-40B4-BE49-F238E27FC236}">
                    <a16:creationId xmlns:a16="http://schemas.microsoft.com/office/drawing/2014/main" id="{11748CFA-7B12-9A17-9A86-F60E563FC4E8}"/>
                  </a:ext>
                </a:extLst>
              </p:cNvPr>
              <p:cNvSpPr/>
              <p:nvPr/>
            </p:nvSpPr>
            <p:spPr>
              <a:xfrm>
                <a:off x="6012840" y="5874219"/>
                <a:ext cx="90916" cy="90589"/>
              </a:xfrm>
              <a:custGeom>
                <a:avLst/>
                <a:gdLst>
                  <a:gd name="connsiteX0" fmla="*/ 0 w 90916"/>
                  <a:gd name="connsiteY0" fmla="*/ 0 h 90589"/>
                  <a:gd name="connsiteX1" fmla="*/ 90917 w 90916"/>
                  <a:gd name="connsiteY1" fmla="*/ 0 h 90589"/>
                  <a:gd name="connsiteX2" fmla="*/ 90917 w 90916"/>
                  <a:gd name="connsiteY2" fmla="*/ 90590 h 90589"/>
                  <a:gd name="connsiteX3" fmla="*/ 0 w 90916"/>
                  <a:gd name="connsiteY3" fmla="*/ 90590 h 90589"/>
                </a:gdLst>
                <a:ahLst/>
                <a:cxnLst>
                  <a:cxn ang="0">
                    <a:pos x="connsiteX0" y="connsiteY0"/>
                  </a:cxn>
                  <a:cxn ang="0">
                    <a:pos x="connsiteX1" y="connsiteY1"/>
                  </a:cxn>
                  <a:cxn ang="0">
                    <a:pos x="connsiteX2" y="connsiteY2"/>
                  </a:cxn>
                  <a:cxn ang="0">
                    <a:pos x="connsiteX3" y="connsiteY3"/>
                  </a:cxn>
                </a:cxnLst>
                <a:rect l="l" t="t" r="r" b="b"/>
                <a:pathLst>
                  <a:path w="90916" h="90589">
                    <a:moveTo>
                      <a:pt x="0" y="0"/>
                    </a:moveTo>
                    <a:lnTo>
                      <a:pt x="90917" y="0"/>
                    </a:lnTo>
                    <a:lnTo>
                      <a:pt x="90917" y="90590"/>
                    </a:lnTo>
                    <a:lnTo>
                      <a:pt x="0" y="90590"/>
                    </a:lnTo>
                    <a:close/>
                  </a:path>
                </a:pathLst>
              </a:custGeom>
              <a:solidFill>
                <a:srgbClr val="0F446E"/>
              </a:solidFill>
              <a:ln w="29039" cap="flat">
                <a:noFill/>
                <a:prstDash val="solid"/>
                <a:miter/>
              </a:ln>
            </p:spPr>
            <p:txBody>
              <a:bodyPr rtlCol="0" anchor="ctr"/>
              <a:lstStyle/>
              <a:p>
                <a:endParaRPr lang="en-US" sz="3200"/>
              </a:p>
            </p:txBody>
          </p:sp>
          <p:sp>
            <p:nvSpPr>
              <p:cNvPr id="418" name="Freeform: Shape 417">
                <a:extLst>
                  <a:ext uri="{FF2B5EF4-FFF2-40B4-BE49-F238E27FC236}">
                    <a16:creationId xmlns:a16="http://schemas.microsoft.com/office/drawing/2014/main" id="{AC3A093B-32E8-E0F0-6A04-991FA7B52EE2}"/>
                  </a:ext>
                </a:extLst>
              </p:cNvPr>
              <p:cNvSpPr/>
              <p:nvPr/>
            </p:nvSpPr>
            <p:spPr>
              <a:xfrm>
                <a:off x="8645654" y="5874219"/>
                <a:ext cx="80750" cy="90589"/>
              </a:xfrm>
              <a:custGeom>
                <a:avLst/>
                <a:gdLst>
                  <a:gd name="connsiteX0" fmla="*/ 0 w 80750"/>
                  <a:gd name="connsiteY0" fmla="*/ 0 h 90589"/>
                  <a:gd name="connsiteX1" fmla="*/ 80751 w 80750"/>
                  <a:gd name="connsiteY1" fmla="*/ 0 h 90589"/>
                  <a:gd name="connsiteX2" fmla="*/ 80751 w 80750"/>
                  <a:gd name="connsiteY2" fmla="*/ 90590 h 90589"/>
                  <a:gd name="connsiteX3" fmla="*/ 0 w 80750"/>
                  <a:gd name="connsiteY3" fmla="*/ 90590 h 90589"/>
                </a:gdLst>
                <a:ahLst/>
                <a:cxnLst>
                  <a:cxn ang="0">
                    <a:pos x="connsiteX0" y="connsiteY0"/>
                  </a:cxn>
                  <a:cxn ang="0">
                    <a:pos x="connsiteX1" y="connsiteY1"/>
                  </a:cxn>
                  <a:cxn ang="0">
                    <a:pos x="connsiteX2" y="connsiteY2"/>
                  </a:cxn>
                  <a:cxn ang="0">
                    <a:pos x="connsiteX3" y="connsiteY3"/>
                  </a:cxn>
                </a:cxnLst>
                <a:rect l="l" t="t" r="r" b="b"/>
                <a:pathLst>
                  <a:path w="80750" h="90589">
                    <a:moveTo>
                      <a:pt x="0" y="0"/>
                    </a:moveTo>
                    <a:lnTo>
                      <a:pt x="80751" y="0"/>
                    </a:lnTo>
                    <a:lnTo>
                      <a:pt x="80751" y="90590"/>
                    </a:lnTo>
                    <a:lnTo>
                      <a:pt x="0" y="90590"/>
                    </a:lnTo>
                    <a:close/>
                  </a:path>
                </a:pathLst>
              </a:custGeom>
              <a:solidFill>
                <a:srgbClr val="7CA744"/>
              </a:solidFill>
              <a:ln w="29039" cap="flat">
                <a:noFill/>
                <a:prstDash val="solid"/>
                <a:miter/>
              </a:ln>
            </p:spPr>
            <p:txBody>
              <a:bodyPr rtlCol="0" anchor="ctr"/>
              <a:lstStyle/>
              <a:p>
                <a:endParaRPr lang="en-US" sz="3200"/>
              </a:p>
            </p:txBody>
          </p:sp>
          <p:sp>
            <p:nvSpPr>
              <p:cNvPr id="419" name="Freeform: Shape 418">
                <a:extLst>
                  <a:ext uri="{FF2B5EF4-FFF2-40B4-BE49-F238E27FC236}">
                    <a16:creationId xmlns:a16="http://schemas.microsoft.com/office/drawing/2014/main" id="{93A314EE-CCDF-0E66-B85B-BB340B27FD71}"/>
                  </a:ext>
                </a:extLst>
              </p:cNvPr>
              <p:cNvSpPr/>
              <p:nvPr/>
            </p:nvSpPr>
            <p:spPr>
              <a:xfrm>
                <a:off x="5431030" y="5390590"/>
                <a:ext cx="56351" cy="28942"/>
              </a:xfrm>
              <a:custGeom>
                <a:avLst/>
                <a:gdLst>
                  <a:gd name="connsiteX0" fmla="*/ 0 w 56351"/>
                  <a:gd name="connsiteY0" fmla="*/ 0 h 28942"/>
                  <a:gd name="connsiteX1" fmla="*/ 56351 w 56351"/>
                  <a:gd name="connsiteY1" fmla="*/ 0 h 28942"/>
                </a:gdLst>
                <a:ahLst/>
                <a:cxnLst>
                  <a:cxn ang="0">
                    <a:pos x="connsiteX0" y="connsiteY0"/>
                  </a:cxn>
                  <a:cxn ang="0">
                    <a:pos x="connsiteX1" y="connsiteY1"/>
                  </a:cxn>
                </a:cxnLst>
                <a:rect l="l" t="t" r="r" b="b"/>
                <a:pathLst>
                  <a:path w="56351" h="28942">
                    <a:moveTo>
                      <a:pt x="0" y="0"/>
                    </a:moveTo>
                    <a:lnTo>
                      <a:pt x="56351" y="0"/>
                    </a:lnTo>
                  </a:path>
                </a:pathLst>
              </a:custGeom>
              <a:ln w="7840" cap="flat">
                <a:solidFill>
                  <a:srgbClr val="231F20"/>
                </a:solidFill>
                <a:prstDash val="solid"/>
                <a:round/>
              </a:ln>
            </p:spPr>
            <p:txBody>
              <a:bodyPr rtlCol="0" anchor="ctr"/>
              <a:lstStyle/>
              <a:p>
                <a:endParaRPr lang="en-US" sz="3200"/>
              </a:p>
            </p:txBody>
          </p:sp>
          <p:sp>
            <p:nvSpPr>
              <p:cNvPr id="420" name="Freeform: Shape 419">
                <a:extLst>
                  <a:ext uri="{FF2B5EF4-FFF2-40B4-BE49-F238E27FC236}">
                    <a16:creationId xmlns:a16="http://schemas.microsoft.com/office/drawing/2014/main" id="{E595B3D4-2D2A-F741-C555-39F8B35CD6CA}"/>
                  </a:ext>
                </a:extLst>
              </p:cNvPr>
              <p:cNvSpPr/>
              <p:nvPr/>
            </p:nvSpPr>
            <p:spPr>
              <a:xfrm>
                <a:off x="5431030" y="5027073"/>
                <a:ext cx="38922" cy="28942"/>
              </a:xfrm>
              <a:custGeom>
                <a:avLst/>
                <a:gdLst>
                  <a:gd name="connsiteX0" fmla="*/ 0 w 38922"/>
                  <a:gd name="connsiteY0" fmla="*/ 0 h 28942"/>
                  <a:gd name="connsiteX1" fmla="*/ 38923 w 38922"/>
                  <a:gd name="connsiteY1" fmla="*/ 0 h 28942"/>
                </a:gdLst>
                <a:ahLst/>
                <a:cxnLst>
                  <a:cxn ang="0">
                    <a:pos x="connsiteX0" y="connsiteY0"/>
                  </a:cxn>
                  <a:cxn ang="0">
                    <a:pos x="connsiteX1" y="connsiteY1"/>
                  </a:cxn>
                </a:cxnLst>
                <a:rect l="l" t="t" r="r" b="b"/>
                <a:pathLst>
                  <a:path w="38922" h="28942">
                    <a:moveTo>
                      <a:pt x="0" y="0"/>
                    </a:moveTo>
                    <a:lnTo>
                      <a:pt x="38923" y="0"/>
                    </a:lnTo>
                  </a:path>
                </a:pathLst>
              </a:custGeom>
              <a:ln w="7840" cap="flat">
                <a:solidFill>
                  <a:srgbClr val="231F20"/>
                </a:solidFill>
                <a:prstDash val="solid"/>
                <a:round/>
              </a:ln>
            </p:spPr>
            <p:txBody>
              <a:bodyPr rtlCol="0" anchor="ctr"/>
              <a:lstStyle/>
              <a:p>
                <a:endParaRPr lang="en-US" sz="3200"/>
              </a:p>
            </p:txBody>
          </p:sp>
          <p:sp>
            <p:nvSpPr>
              <p:cNvPr id="421" name="Freeform: Shape 420">
                <a:extLst>
                  <a:ext uri="{FF2B5EF4-FFF2-40B4-BE49-F238E27FC236}">
                    <a16:creationId xmlns:a16="http://schemas.microsoft.com/office/drawing/2014/main" id="{8526E26C-9DED-EE2D-86C8-E9E2A938ADCE}"/>
                  </a:ext>
                </a:extLst>
              </p:cNvPr>
              <p:cNvSpPr/>
              <p:nvPr/>
            </p:nvSpPr>
            <p:spPr>
              <a:xfrm>
                <a:off x="5431030" y="4656031"/>
                <a:ext cx="38922" cy="28942"/>
              </a:xfrm>
              <a:custGeom>
                <a:avLst/>
                <a:gdLst>
                  <a:gd name="connsiteX0" fmla="*/ 0 w 38922"/>
                  <a:gd name="connsiteY0" fmla="*/ 0 h 28942"/>
                  <a:gd name="connsiteX1" fmla="*/ 38923 w 38922"/>
                  <a:gd name="connsiteY1" fmla="*/ 0 h 28942"/>
                </a:gdLst>
                <a:ahLst/>
                <a:cxnLst>
                  <a:cxn ang="0">
                    <a:pos x="connsiteX0" y="connsiteY0"/>
                  </a:cxn>
                  <a:cxn ang="0">
                    <a:pos x="connsiteX1" y="connsiteY1"/>
                  </a:cxn>
                </a:cxnLst>
                <a:rect l="l" t="t" r="r" b="b"/>
                <a:pathLst>
                  <a:path w="38922" h="28942">
                    <a:moveTo>
                      <a:pt x="0" y="0"/>
                    </a:moveTo>
                    <a:lnTo>
                      <a:pt x="38923" y="0"/>
                    </a:lnTo>
                  </a:path>
                </a:pathLst>
              </a:custGeom>
              <a:ln w="7840" cap="flat">
                <a:solidFill>
                  <a:srgbClr val="231F20"/>
                </a:solidFill>
                <a:prstDash val="solid"/>
                <a:round/>
              </a:ln>
            </p:spPr>
            <p:txBody>
              <a:bodyPr rtlCol="0" anchor="ctr"/>
              <a:lstStyle/>
              <a:p>
                <a:endParaRPr lang="en-US" sz="3200"/>
              </a:p>
            </p:txBody>
          </p:sp>
          <p:sp>
            <p:nvSpPr>
              <p:cNvPr id="422" name="Freeform: Shape 421">
                <a:extLst>
                  <a:ext uri="{FF2B5EF4-FFF2-40B4-BE49-F238E27FC236}">
                    <a16:creationId xmlns:a16="http://schemas.microsoft.com/office/drawing/2014/main" id="{5DC14FAE-0048-CF33-4EF8-EBA864D4578B}"/>
                  </a:ext>
                </a:extLst>
              </p:cNvPr>
              <p:cNvSpPr/>
              <p:nvPr/>
            </p:nvSpPr>
            <p:spPr>
              <a:xfrm>
                <a:off x="5431030" y="4284988"/>
                <a:ext cx="38922" cy="28942"/>
              </a:xfrm>
              <a:custGeom>
                <a:avLst/>
                <a:gdLst>
                  <a:gd name="connsiteX0" fmla="*/ 0 w 38922"/>
                  <a:gd name="connsiteY0" fmla="*/ 0 h 28942"/>
                  <a:gd name="connsiteX1" fmla="*/ 38923 w 38922"/>
                  <a:gd name="connsiteY1" fmla="*/ 0 h 28942"/>
                </a:gdLst>
                <a:ahLst/>
                <a:cxnLst>
                  <a:cxn ang="0">
                    <a:pos x="connsiteX0" y="connsiteY0"/>
                  </a:cxn>
                  <a:cxn ang="0">
                    <a:pos x="connsiteX1" y="connsiteY1"/>
                  </a:cxn>
                </a:cxnLst>
                <a:rect l="l" t="t" r="r" b="b"/>
                <a:pathLst>
                  <a:path w="38922" h="28942">
                    <a:moveTo>
                      <a:pt x="0" y="0"/>
                    </a:moveTo>
                    <a:lnTo>
                      <a:pt x="38923" y="0"/>
                    </a:lnTo>
                  </a:path>
                </a:pathLst>
              </a:custGeom>
              <a:ln w="7840" cap="flat">
                <a:solidFill>
                  <a:srgbClr val="231F20"/>
                </a:solidFill>
                <a:prstDash val="solid"/>
                <a:round/>
              </a:ln>
            </p:spPr>
            <p:txBody>
              <a:bodyPr rtlCol="0" anchor="ctr"/>
              <a:lstStyle/>
              <a:p>
                <a:endParaRPr lang="en-US" sz="3200"/>
              </a:p>
            </p:txBody>
          </p:sp>
          <p:sp>
            <p:nvSpPr>
              <p:cNvPr id="423" name="Freeform: Shape 422">
                <a:extLst>
                  <a:ext uri="{FF2B5EF4-FFF2-40B4-BE49-F238E27FC236}">
                    <a16:creationId xmlns:a16="http://schemas.microsoft.com/office/drawing/2014/main" id="{D25CE3F1-B195-B52D-4424-2EEF1DFC59EC}"/>
                  </a:ext>
                </a:extLst>
              </p:cNvPr>
              <p:cNvSpPr/>
              <p:nvPr/>
            </p:nvSpPr>
            <p:spPr>
              <a:xfrm>
                <a:off x="5431030" y="3913946"/>
                <a:ext cx="38922" cy="28942"/>
              </a:xfrm>
              <a:custGeom>
                <a:avLst/>
                <a:gdLst>
                  <a:gd name="connsiteX0" fmla="*/ 0 w 38922"/>
                  <a:gd name="connsiteY0" fmla="*/ 0 h 28942"/>
                  <a:gd name="connsiteX1" fmla="*/ 38923 w 38922"/>
                  <a:gd name="connsiteY1" fmla="*/ 0 h 28942"/>
                </a:gdLst>
                <a:ahLst/>
                <a:cxnLst>
                  <a:cxn ang="0">
                    <a:pos x="connsiteX0" y="connsiteY0"/>
                  </a:cxn>
                  <a:cxn ang="0">
                    <a:pos x="connsiteX1" y="connsiteY1"/>
                  </a:cxn>
                </a:cxnLst>
                <a:rect l="l" t="t" r="r" b="b"/>
                <a:pathLst>
                  <a:path w="38922" h="28942">
                    <a:moveTo>
                      <a:pt x="0" y="0"/>
                    </a:moveTo>
                    <a:lnTo>
                      <a:pt x="38923" y="0"/>
                    </a:lnTo>
                  </a:path>
                </a:pathLst>
              </a:custGeom>
              <a:ln w="7840" cap="flat">
                <a:solidFill>
                  <a:srgbClr val="231F20"/>
                </a:solidFill>
                <a:prstDash val="solid"/>
                <a:round/>
              </a:ln>
            </p:spPr>
            <p:txBody>
              <a:bodyPr rtlCol="0" anchor="ctr"/>
              <a:lstStyle/>
              <a:p>
                <a:endParaRPr lang="en-US" sz="3200"/>
              </a:p>
            </p:txBody>
          </p:sp>
          <p:sp>
            <p:nvSpPr>
              <p:cNvPr id="424" name="Freeform: Shape 423">
                <a:extLst>
                  <a:ext uri="{FF2B5EF4-FFF2-40B4-BE49-F238E27FC236}">
                    <a16:creationId xmlns:a16="http://schemas.microsoft.com/office/drawing/2014/main" id="{75605DB0-F4DB-572A-CF53-B561CF87F33F}"/>
                  </a:ext>
                </a:extLst>
              </p:cNvPr>
              <p:cNvSpPr/>
              <p:nvPr/>
            </p:nvSpPr>
            <p:spPr>
              <a:xfrm>
                <a:off x="5431030" y="3542903"/>
                <a:ext cx="38922" cy="28942"/>
              </a:xfrm>
              <a:custGeom>
                <a:avLst/>
                <a:gdLst>
                  <a:gd name="connsiteX0" fmla="*/ 0 w 38922"/>
                  <a:gd name="connsiteY0" fmla="*/ 0 h 28942"/>
                  <a:gd name="connsiteX1" fmla="*/ 38923 w 38922"/>
                  <a:gd name="connsiteY1" fmla="*/ 0 h 28942"/>
                </a:gdLst>
                <a:ahLst/>
                <a:cxnLst>
                  <a:cxn ang="0">
                    <a:pos x="connsiteX0" y="connsiteY0"/>
                  </a:cxn>
                  <a:cxn ang="0">
                    <a:pos x="connsiteX1" y="connsiteY1"/>
                  </a:cxn>
                </a:cxnLst>
                <a:rect l="l" t="t" r="r" b="b"/>
                <a:pathLst>
                  <a:path w="38922" h="28942">
                    <a:moveTo>
                      <a:pt x="0" y="0"/>
                    </a:moveTo>
                    <a:lnTo>
                      <a:pt x="38923" y="0"/>
                    </a:lnTo>
                  </a:path>
                </a:pathLst>
              </a:custGeom>
              <a:ln w="7840" cap="flat">
                <a:solidFill>
                  <a:srgbClr val="231F20"/>
                </a:solidFill>
                <a:prstDash val="solid"/>
                <a:round/>
              </a:ln>
            </p:spPr>
            <p:txBody>
              <a:bodyPr rtlCol="0" anchor="ctr"/>
              <a:lstStyle/>
              <a:p>
                <a:endParaRPr lang="en-US" sz="3200"/>
              </a:p>
            </p:txBody>
          </p:sp>
          <p:sp>
            <p:nvSpPr>
              <p:cNvPr id="425" name="Freeform: Shape 424">
                <a:extLst>
                  <a:ext uri="{FF2B5EF4-FFF2-40B4-BE49-F238E27FC236}">
                    <a16:creationId xmlns:a16="http://schemas.microsoft.com/office/drawing/2014/main" id="{3CB05599-2070-0E5A-1518-8A9DFE63CE2B}"/>
                  </a:ext>
                </a:extLst>
              </p:cNvPr>
              <p:cNvSpPr/>
              <p:nvPr/>
            </p:nvSpPr>
            <p:spPr>
              <a:xfrm>
                <a:off x="5431030" y="3171861"/>
                <a:ext cx="38922" cy="28942"/>
              </a:xfrm>
              <a:custGeom>
                <a:avLst/>
                <a:gdLst>
                  <a:gd name="connsiteX0" fmla="*/ 0 w 38922"/>
                  <a:gd name="connsiteY0" fmla="*/ 0 h 28942"/>
                  <a:gd name="connsiteX1" fmla="*/ 38923 w 38922"/>
                  <a:gd name="connsiteY1" fmla="*/ 0 h 28942"/>
                </a:gdLst>
                <a:ahLst/>
                <a:cxnLst>
                  <a:cxn ang="0">
                    <a:pos x="connsiteX0" y="connsiteY0"/>
                  </a:cxn>
                  <a:cxn ang="0">
                    <a:pos x="connsiteX1" y="connsiteY1"/>
                  </a:cxn>
                </a:cxnLst>
                <a:rect l="l" t="t" r="r" b="b"/>
                <a:pathLst>
                  <a:path w="38922" h="28942">
                    <a:moveTo>
                      <a:pt x="0" y="0"/>
                    </a:moveTo>
                    <a:lnTo>
                      <a:pt x="38923" y="0"/>
                    </a:lnTo>
                  </a:path>
                </a:pathLst>
              </a:custGeom>
              <a:ln w="7840" cap="flat">
                <a:solidFill>
                  <a:srgbClr val="231F20"/>
                </a:solidFill>
                <a:prstDash val="solid"/>
                <a:round/>
              </a:ln>
            </p:spPr>
            <p:txBody>
              <a:bodyPr rtlCol="0" anchor="ctr"/>
              <a:lstStyle/>
              <a:p>
                <a:endParaRPr lang="en-US" sz="3200"/>
              </a:p>
            </p:txBody>
          </p:sp>
          <p:sp>
            <p:nvSpPr>
              <p:cNvPr id="426" name="Freeform: Shape 425">
                <a:extLst>
                  <a:ext uri="{FF2B5EF4-FFF2-40B4-BE49-F238E27FC236}">
                    <a16:creationId xmlns:a16="http://schemas.microsoft.com/office/drawing/2014/main" id="{A1E6FF9A-F73C-E4CC-ED91-5734A4BFBAC2}"/>
                  </a:ext>
                </a:extLst>
              </p:cNvPr>
              <p:cNvSpPr/>
              <p:nvPr/>
            </p:nvSpPr>
            <p:spPr>
              <a:xfrm>
                <a:off x="5431030" y="2800819"/>
                <a:ext cx="38922" cy="28942"/>
              </a:xfrm>
              <a:custGeom>
                <a:avLst/>
                <a:gdLst>
                  <a:gd name="connsiteX0" fmla="*/ 0 w 38922"/>
                  <a:gd name="connsiteY0" fmla="*/ 0 h 28942"/>
                  <a:gd name="connsiteX1" fmla="*/ 38923 w 38922"/>
                  <a:gd name="connsiteY1" fmla="*/ 0 h 28942"/>
                </a:gdLst>
                <a:ahLst/>
                <a:cxnLst>
                  <a:cxn ang="0">
                    <a:pos x="connsiteX0" y="connsiteY0"/>
                  </a:cxn>
                  <a:cxn ang="0">
                    <a:pos x="connsiteX1" y="connsiteY1"/>
                  </a:cxn>
                </a:cxnLst>
                <a:rect l="l" t="t" r="r" b="b"/>
                <a:pathLst>
                  <a:path w="38922" h="28942">
                    <a:moveTo>
                      <a:pt x="0" y="0"/>
                    </a:moveTo>
                    <a:lnTo>
                      <a:pt x="38923" y="0"/>
                    </a:lnTo>
                  </a:path>
                </a:pathLst>
              </a:custGeom>
              <a:ln w="7840" cap="flat">
                <a:solidFill>
                  <a:srgbClr val="231F20"/>
                </a:solidFill>
                <a:prstDash val="solid"/>
                <a:round/>
              </a:ln>
            </p:spPr>
            <p:txBody>
              <a:bodyPr rtlCol="0" anchor="ctr"/>
              <a:lstStyle/>
              <a:p>
                <a:endParaRPr lang="en-US" sz="3200"/>
              </a:p>
            </p:txBody>
          </p:sp>
          <p:sp>
            <p:nvSpPr>
              <p:cNvPr id="427" name="Freeform: Shape 426">
                <a:extLst>
                  <a:ext uri="{FF2B5EF4-FFF2-40B4-BE49-F238E27FC236}">
                    <a16:creationId xmlns:a16="http://schemas.microsoft.com/office/drawing/2014/main" id="{A86805C7-6A4D-449F-7547-4A432EE8986A}"/>
                  </a:ext>
                </a:extLst>
              </p:cNvPr>
              <p:cNvSpPr/>
              <p:nvPr/>
            </p:nvSpPr>
            <p:spPr>
              <a:xfrm>
                <a:off x="5431030" y="2429487"/>
                <a:ext cx="38922" cy="28942"/>
              </a:xfrm>
              <a:custGeom>
                <a:avLst/>
                <a:gdLst>
                  <a:gd name="connsiteX0" fmla="*/ 0 w 38922"/>
                  <a:gd name="connsiteY0" fmla="*/ 0 h 28942"/>
                  <a:gd name="connsiteX1" fmla="*/ 38923 w 38922"/>
                  <a:gd name="connsiteY1" fmla="*/ 0 h 28942"/>
                </a:gdLst>
                <a:ahLst/>
                <a:cxnLst>
                  <a:cxn ang="0">
                    <a:pos x="connsiteX0" y="connsiteY0"/>
                  </a:cxn>
                  <a:cxn ang="0">
                    <a:pos x="connsiteX1" y="connsiteY1"/>
                  </a:cxn>
                </a:cxnLst>
                <a:rect l="l" t="t" r="r" b="b"/>
                <a:pathLst>
                  <a:path w="38922" h="28942">
                    <a:moveTo>
                      <a:pt x="0" y="0"/>
                    </a:moveTo>
                    <a:lnTo>
                      <a:pt x="38923" y="0"/>
                    </a:lnTo>
                  </a:path>
                </a:pathLst>
              </a:custGeom>
              <a:ln w="7840" cap="flat">
                <a:solidFill>
                  <a:srgbClr val="231F20"/>
                </a:solidFill>
                <a:prstDash val="solid"/>
                <a:round/>
              </a:ln>
            </p:spPr>
            <p:txBody>
              <a:bodyPr rtlCol="0" anchor="ctr"/>
              <a:lstStyle/>
              <a:p>
                <a:endParaRPr lang="en-US" sz="3200"/>
              </a:p>
            </p:txBody>
          </p:sp>
          <p:sp>
            <p:nvSpPr>
              <p:cNvPr id="428" name="Freeform: Shape 427">
                <a:extLst>
                  <a:ext uri="{FF2B5EF4-FFF2-40B4-BE49-F238E27FC236}">
                    <a16:creationId xmlns:a16="http://schemas.microsoft.com/office/drawing/2014/main" id="{4C6BBFDE-E4B5-0D79-6F3A-DC00B9DECB89}"/>
                  </a:ext>
                </a:extLst>
              </p:cNvPr>
              <p:cNvSpPr/>
              <p:nvPr/>
            </p:nvSpPr>
            <p:spPr>
              <a:xfrm>
                <a:off x="5431030" y="2058444"/>
                <a:ext cx="38922" cy="28942"/>
              </a:xfrm>
              <a:custGeom>
                <a:avLst/>
                <a:gdLst>
                  <a:gd name="connsiteX0" fmla="*/ 0 w 38922"/>
                  <a:gd name="connsiteY0" fmla="*/ 0 h 28942"/>
                  <a:gd name="connsiteX1" fmla="*/ 38923 w 38922"/>
                  <a:gd name="connsiteY1" fmla="*/ 0 h 28942"/>
                </a:gdLst>
                <a:ahLst/>
                <a:cxnLst>
                  <a:cxn ang="0">
                    <a:pos x="connsiteX0" y="connsiteY0"/>
                  </a:cxn>
                  <a:cxn ang="0">
                    <a:pos x="connsiteX1" y="connsiteY1"/>
                  </a:cxn>
                </a:cxnLst>
                <a:rect l="l" t="t" r="r" b="b"/>
                <a:pathLst>
                  <a:path w="38922" h="28942">
                    <a:moveTo>
                      <a:pt x="0" y="0"/>
                    </a:moveTo>
                    <a:lnTo>
                      <a:pt x="38923" y="0"/>
                    </a:lnTo>
                  </a:path>
                </a:pathLst>
              </a:custGeom>
              <a:ln w="7840" cap="flat">
                <a:solidFill>
                  <a:srgbClr val="231F20"/>
                </a:solidFill>
                <a:prstDash val="solid"/>
                <a:round/>
              </a:ln>
            </p:spPr>
            <p:txBody>
              <a:bodyPr rtlCol="0" anchor="ctr"/>
              <a:lstStyle/>
              <a:p>
                <a:endParaRPr lang="en-US" sz="3200"/>
              </a:p>
            </p:txBody>
          </p:sp>
          <p:sp>
            <p:nvSpPr>
              <p:cNvPr id="429" name="Freeform: Shape 428">
                <a:extLst>
                  <a:ext uri="{FF2B5EF4-FFF2-40B4-BE49-F238E27FC236}">
                    <a16:creationId xmlns:a16="http://schemas.microsoft.com/office/drawing/2014/main" id="{79A0590B-9C34-CF4F-6E6A-2CAC30FC29D9}"/>
                  </a:ext>
                </a:extLst>
              </p:cNvPr>
              <p:cNvSpPr/>
              <p:nvPr/>
            </p:nvSpPr>
            <p:spPr>
              <a:xfrm>
                <a:off x="5431030" y="1687402"/>
                <a:ext cx="38922" cy="28942"/>
              </a:xfrm>
              <a:custGeom>
                <a:avLst/>
                <a:gdLst>
                  <a:gd name="connsiteX0" fmla="*/ 0 w 38922"/>
                  <a:gd name="connsiteY0" fmla="*/ 0 h 28942"/>
                  <a:gd name="connsiteX1" fmla="*/ 38923 w 38922"/>
                  <a:gd name="connsiteY1" fmla="*/ 0 h 28942"/>
                </a:gdLst>
                <a:ahLst/>
                <a:cxnLst>
                  <a:cxn ang="0">
                    <a:pos x="connsiteX0" y="connsiteY0"/>
                  </a:cxn>
                  <a:cxn ang="0">
                    <a:pos x="connsiteX1" y="connsiteY1"/>
                  </a:cxn>
                </a:cxnLst>
                <a:rect l="l" t="t" r="r" b="b"/>
                <a:pathLst>
                  <a:path w="38922" h="28942">
                    <a:moveTo>
                      <a:pt x="0" y="0"/>
                    </a:moveTo>
                    <a:lnTo>
                      <a:pt x="38923" y="0"/>
                    </a:lnTo>
                  </a:path>
                </a:pathLst>
              </a:custGeom>
              <a:noFill/>
              <a:ln w="7840" cap="flat">
                <a:solidFill>
                  <a:srgbClr val="231F20"/>
                </a:solidFill>
                <a:prstDash val="solid"/>
                <a:round/>
              </a:ln>
            </p:spPr>
            <p:txBody>
              <a:bodyPr rtlCol="0" anchor="ctr"/>
              <a:lstStyle/>
              <a:p>
                <a:endParaRPr lang="en-US" sz="3200"/>
              </a:p>
            </p:txBody>
          </p:sp>
        </p:grpSp>
        <p:grpSp>
          <p:nvGrpSpPr>
            <p:cNvPr id="455" name="Group 454">
              <a:extLst>
                <a:ext uri="{FF2B5EF4-FFF2-40B4-BE49-F238E27FC236}">
                  <a16:creationId xmlns:a16="http://schemas.microsoft.com/office/drawing/2014/main" id="{DE5893B1-1D1C-B982-3F50-6030E61FA874}"/>
                </a:ext>
              </a:extLst>
            </p:cNvPr>
            <p:cNvGrpSpPr/>
            <p:nvPr/>
          </p:nvGrpSpPr>
          <p:grpSpPr>
            <a:xfrm>
              <a:off x="4759073" y="1569533"/>
              <a:ext cx="637301" cy="3918764"/>
              <a:chOff x="12388217" y="1569533"/>
              <a:chExt cx="637301" cy="3918764"/>
            </a:xfrm>
          </p:grpSpPr>
          <p:grpSp>
            <p:nvGrpSpPr>
              <p:cNvPr id="433" name="Group 432">
                <a:extLst>
                  <a:ext uri="{FF2B5EF4-FFF2-40B4-BE49-F238E27FC236}">
                    <a16:creationId xmlns:a16="http://schemas.microsoft.com/office/drawing/2014/main" id="{1D1D75DB-D9F2-0F55-8E6E-6B91770770E2}"/>
                  </a:ext>
                </a:extLst>
              </p:cNvPr>
              <p:cNvGrpSpPr/>
              <p:nvPr/>
            </p:nvGrpSpPr>
            <p:grpSpPr>
              <a:xfrm>
                <a:off x="12751405" y="1569533"/>
                <a:ext cx="274113" cy="3918764"/>
                <a:chOff x="12751405" y="1569533"/>
                <a:chExt cx="274113" cy="3918764"/>
              </a:xfrm>
            </p:grpSpPr>
            <p:sp>
              <p:nvSpPr>
                <p:cNvPr id="431" name="TextBox 430">
                  <a:extLst>
                    <a:ext uri="{FF2B5EF4-FFF2-40B4-BE49-F238E27FC236}">
                      <a16:creationId xmlns:a16="http://schemas.microsoft.com/office/drawing/2014/main" id="{FF55B4D9-1998-2FD3-7ED3-F77BC141880B}"/>
                    </a:ext>
                  </a:extLst>
                </p:cNvPr>
                <p:cNvSpPr txBox="1"/>
                <p:nvPr/>
              </p:nvSpPr>
              <p:spPr>
                <a:xfrm>
                  <a:off x="12751405" y="1569533"/>
                  <a:ext cx="274113" cy="215444"/>
                </a:xfrm>
                <a:prstGeom prst="rect">
                  <a:avLst/>
                </a:prstGeom>
                <a:noFill/>
              </p:spPr>
              <p:txBody>
                <a:bodyPr wrap="none" lIns="0" tIns="0" rIns="0" bIns="0" rtlCol="0">
                  <a:spAutoFit/>
                </a:bodyPr>
                <a:lstStyle/>
                <a:p>
                  <a:pPr algn="r"/>
                  <a:r>
                    <a:rPr lang="en-US" sz="1400" baseline="0">
                      <a:ln/>
                      <a:solidFill>
                        <a:srgbClr val="231F20"/>
                      </a:solidFill>
                      <a:sym typeface="Aptos"/>
                      <a:rtl val="0"/>
                    </a:rPr>
                    <a:t>100</a:t>
                  </a:r>
                </a:p>
              </p:txBody>
            </p:sp>
            <p:sp>
              <p:nvSpPr>
                <p:cNvPr id="432" name="TextBox 431">
                  <a:extLst>
                    <a:ext uri="{FF2B5EF4-FFF2-40B4-BE49-F238E27FC236}">
                      <a16:creationId xmlns:a16="http://schemas.microsoft.com/office/drawing/2014/main" id="{BD8F197D-C399-CA99-CF99-01CBF805F0D6}"/>
                    </a:ext>
                  </a:extLst>
                </p:cNvPr>
                <p:cNvSpPr txBox="1"/>
                <p:nvPr/>
              </p:nvSpPr>
              <p:spPr>
                <a:xfrm>
                  <a:off x="12842776" y="1940373"/>
                  <a:ext cx="182742" cy="215444"/>
                </a:xfrm>
                <a:prstGeom prst="rect">
                  <a:avLst/>
                </a:prstGeom>
                <a:noFill/>
              </p:spPr>
              <p:txBody>
                <a:bodyPr wrap="none" lIns="0" tIns="0" rIns="0" bIns="0" rtlCol="0">
                  <a:spAutoFit/>
                </a:bodyPr>
                <a:lstStyle/>
                <a:p>
                  <a:pPr algn="r"/>
                  <a:r>
                    <a:rPr lang="en-US" sz="1400" baseline="0">
                      <a:ln/>
                      <a:solidFill>
                        <a:srgbClr val="231F20"/>
                      </a:solidFill>
                      <a:sym typeface="Aptos"/>
                      <a:rtl val="0"/>
                    </a:rPr>
                    <a:t>90</a:t>
                  </a:r>
                </a:p>
              </p:txBody>
            </p:sp>
            <p:sp>
              <p:nvSpPr>
                <p:cNvPr id="434" name="TextBox 433">
                  <a:extLst>
                    <a:ext uri="{FF2B5EF4-FFF2-40B4-BE49-F238E27FC236}">
                      <a16:creationId xmlns:a16="http://schemas.microsoft.com/office/drawing/2014/main" id="{7C63434D-0D50-3987-5CDC-6382244387E3}"/>
                    </a:ext>
                  </a:extLst>
                </p:cNvPr>
                <p:cNvSpPr txBox="1"/>
                <p:nvPr/>
              </p:nvSpPr>
              <p:spPr>
                <a:xfrm>
                  <a:off x="12842776" y="2313753"/>
                  <a:ext cx="182742" cy="215444"/>
                </a:xfrm>
                <a:prstGeom prst="rect">
                  <a:avLst/>
                </a:prstGeom>
                <a:noFill/>
              </p:spPr>
              <p:txBody>
                <a:bodyPr wrap="none" lIns="0" tIns="0" rIns="0" bIns="0" rtlCol="0">
                  <a:spAutoFit/>
                </a:bodyPr>
                <a:lstStyle/>
                <a:p>
                  <a:pPr algn="r"/>
                  <a:r>
                    <a:rPr lang="en-US" sz="1400" baseline="0">
                      <a:ln/>
                      <a:solidFill>
                        <a:srgbClr val="231F20"/>
                      </a:solidFill>
                      <a:sym typeface="Aptos"/>
                      <a:rtl val="0"/>
                    </a:rPr>
                    <a:t>80</a:t>
                  </a:r>
                </a:p>
              </p:txBody>
            </p:sp>
            <p:sp>
              <p:nvSpPr>
                <p:cNvPr id="435" name="TextBox 434">
                  <a:extLst>
                    <a:ext uri="{FF2B5EF4-FFF2-40B4-BE49-F238E27FC236}">
                      <a16:creationId xmlns:a16="http://schemas.microsoft.com/office/drawing/2014/main" id="{FEE76026-AC4C-7E4E-1D2D-E80E1882C7F7}"/>
                    </a:ext>
                  </a:extLst>
                </p:cNvPr>
                <p:cNvSpPr txBox="1"/>
                <p:nvPr/>
              </p:nvSpPr>
              <p:spPr>
                <a:xfrm>
                  <a:off x="12842776" y="2682053"/>
                  <a:ext cx="182742" cy="215444"/>
                </a:xfrm>
                <a:prstGeom prst="rect">
                  <a:avLst/>
                </a:prstGeom>
                <a:noFill/>
              </p:spPr>
              <p:txBody>
                <a:bodyPr wrap="none" lIns="0" tIns="0" rIns="0" bIns="0" rtlCol="0">
                  <a:spAutoFit/>
                </a:bodyPr>
                <a:lstStyle/>
                <a:p>
                  <a:pPr algn="r"/>
                  <a:r>
                    <a:rPr lang="en-US" sz="1400" baseline="0">
                      <a:ln/>
                      <a:solidFill>
                        <a:srgbClr val="231F20"/>
                      </a:solidFill>
                      <a:sym typeface="Aptos"/>
                      <a:rtl val="0"/>
                    </a:rPr>
                    <a:t>70</a:t>
                  </a:r>
                </a:p>
              </p:txBody>
            </p:sp>
            <p:sp>
              <p:nvSpPr>
                <p:cNvPr id="436" name="TextBox 435">
                  <a:extLst>
                    <a:ext uri="{FF2B5EF4-FFF2-40B4-BE49-F238E27FC236}">
                      <a16:creationId xmlns:a16="http://schemas.microsoft.com/office/drawing/2014/main" id="{FE3A12CE-3E82-24DD-1B76-E356E1AAB3EA}"/>
                    </a:ext>
                  </a:extLst>
                </p:cNvPr>
                <p:cNvSpPr txBox="1"/>
                <p:nvPr/>
              </p:nvSpPr>
              <p:spPr>
                <a:xfrm>
                  <a:off x="12842776" y="3055433"/>
                  <a:ext cx="182742" cy="215444"/>
                </a:xfrm>
                <a:prstGeom prst="rect">
                  <a:avLst/>
                </a:prstGeom>
                <a:noFill/>
              </p:spPr>
              <p:txBody>
                <a:bodyPr wrap="none" lIns="0" tIns="0" rIns="0" bIns="0" rtlCol="0">
                  <a:spAutoFit/>
                </a:bodyPr>
                <a:lstStyle/>
                <a:p>
                  <a:pPr algn="r"/>
                  <a:r>
                    <a:rPr lang="en-US" sz="1400" baseline="0">
                      <a:ln/>
                      <a:solidFill>
                        <a:srgbClr val="231F20"/>
                      </a:solidFill>
                      <a:sym typeface="Aptos"/>
                      <a:rtl val="0"/>
                    </a:rPr>
                    <a:t>60</a:t>
                  </a:r>
                </a:p>
              </p:txBody>
            </p:sp>
            <p:sp>
              <p:nvSpPr>
                <p:cNvPr id="437" name="TextBox 436">
                  <a:extLst>
                    <a:ext uri="{FF2B5EF4-FFF2-40B4-BE49-F238E27FC236}">
                      <a16:creationId xmlns:a16="http://schemas.microsoft.com/office/drawing/2014/main" id="{BD494520-707D-3C57-C609-003C313B51AA}"/>
                    </a:ext>
                  </a:extLst>
                </p:cNvPr>
                <p:cNvSpPr txBox="1"/>
                <p:nvPr/>
              </p:nvSpPr>
              <p:spPr>
                <a:xfrm>
                  <a:off x="12842776" y="3421193"/>
                  <a:ext cx="182742" cy="215444"/>
                </a:xfrm>
                <a:prstGeom prst="rect">
                  <a:avLst/>
                </a:prstGeom>
                <a:noFill/>
              </p:spPr>
              <p:txBody>
                <a:bodyPr wrap="none" lIns="0" tIns="0" rIns="0" bIns="0" rtlCol="0">
                  <a:spAutoFit/>
                </a:bodyPr>
                <a:lstStyle/>
                <a:p>
                  <a:pPr algn="r"/>
                  <a:r>
                    <a:rPr lang="en-US" sz="1400" baseline="0">
                      <a:ln/>
                      <a:solidFill>
                        <a:srgbClr val="231F20"/>
                      </a:solidFill>
                      <a:sym typeface="Aptos"/>
                      <a:rtl val="0"/>
                    </a:rPr>
                    <a:t>50</a:t>
                  </a:r>
                </a:p>
              </p:txBody>
            </p:sp>
            <p:sp>
              <p:nvSpPr>
                <p:cNvPr id="438" name="TextBox 437">
                  <a:extLst>
                    <a:ext uri="{FF2B5EF4-FFF2-40B4-BE49-F238E27FC236}">
                      <a16:creationId xmlns:a16="http://schemas.microsoft.com/office/drawing/2014/main" id="{0C40E2D4-DBD3-B6F4-22B7-86EF6C491B12}"/>
                    </a:ext>
                  </a:extLst>
                </p:cNvPr>
                <p:cNvSpPr txBox="1"/>
                <p:nvPr/>
              </p:nvSpPr>
              <p:spPr>
                <a:xfrm>
                  <a:off x="12842776" y="3797113"/>
                  <a:ext cx="182742" cy="215444"/>
                </a:xfrm>
                <a:prstGeom prst="rect">
                  <a:avLst/>
                </a:prstGeom>
                <a:noFill/>
              </p:spPr>
              <p:txBody>
                <a:bodyPr wrap="none" lIns="0" tIns="0" rIns="0" bIns="0" rtlCol="0">
                  <a:spAutoFit/>
                </a:bodyPr>
                <a:lstStyle/>
                <a:p>
                  <a:pPr algn="r"/>
                  <a:r>
                    <a:rPr lang="en-US" sz="1400" baseline="0">
                      <a:ln/>
                      <a:solidFill>
                        <a:srgbClr val="231F20"/>
                      </a:solidFill>
                      <a:sym typeface="Aptos"/>
                      <a:rtl val="0"/>
                    </a:rPr>
                    <a:t>40</a:t>
                  </a:r>
                </a:p>
              </p:txBody>
            </p:sp>
            <p:sp>
              <p:nvSpPr>
                <p:cNvPr id="439" name="TextBox 438">
                  <a:extLst>
                    <a:ext uri="{FF2B5EF4-FFF2-40B4-BE49-F238E27FC236}">
                      <a16:creationId xmlns:a16="http://schemas.microsoft.com/office/drawing/2014/main" id="{71E0C405-CCB4-04F9-AA27-10C5BE3583FC}"/>
                    </a:ext>
                  </a:extLst>
                </p:cNvPr>
                <p:cNvSpPr txBox="1"/>
                <p:nvPr/>
              </p:nvSpPr>
              <p:spPr>
                <a:xfrm>
                  <a:off x="12842776" y="4162873"/>
                  <a:ext cx="182742" cy="215444"/>
                </a:xfrm>
                <a:prstGeom prst="rect">
                  <a:avLst/>
                </a:prstGeom>
                <a:noFill/>
              </p:spPr>
              <p:txBody>
                <a:bodyPr wrap="none" lIns="0" tIns="0" rIns="0" bIns="0" rtlCol="0">
                  <a:spAutoFit/>
                </a:bodyPr>
                <a:lstStyle/>
                <a:p>
                  <a:pPr algn="r"/>
                  <a:r>
                    <a:rPr lang="en-US" sz="1400" baseline="0">
                      <a:ln/>
                      <a:solidFill>
                        <a:srgbClr val="231F20"/>
                      </a:solidFill>
                      <a:sym typeface="Aptos"/>
                      <a:rtl val="0"/>
                    </a:rPr>
                    <a:t>30</a:t>
                  </a:r>
                </a:p>
              </p:txBody>
            </p:sp>
            <p:sp>
              <p:nvSpPr>
                <p:cNvPr id="440" name="TextBox 439">
                  <a:extLst>
                    <a:ext uri="{FF2B5EF4-FFF2-40B4-BE49-F238E27FC236}">
                      <a16:creationId xmlns:a16="http://schemas.microsoft.com/office/drawing/2014/main" id="{7C7BAD1E-B317-7075-4CED-76E211389AA3}"/>
                    </a:ext>
                  </a:extLst>
                </p:cNvPr>
                <p:cNvSpPr txBox="1"/>
                <p:nvPr/>
              </p:nvSpPr>
              <p:spPr>
                <a:xfrm>
                  <a:off x="12842776" y="4533713"/>
                  <a:ext cx="182742" cy="215444"/>
                </a:xfrm>
                <a:prstGeom prst="rect">
                  <a:avLst/>
                </a:prstGeom>
                <a:noFill/>
              </p:spPr>
              <p:txBody>
                <a:bodyPr wrap="none" lIns="0" tIns="0" rIns="0" bIns="0" rtlCol="0">
                  <a:spAutoFit/>
                </a:bodyPr>
                <a:lstStyle/>
                <a:p>
                  <a:pPr algn="r"/>
                  <a:r>
                    <a:rPr lang="en-US" sz="1400" baseline="0">
                      <a:ln/>
                      <a:solidFill>
                        <a:srgbClr val="231F20"/>
                      </a:solidFill>
                      <a:sym typeface="Aptos"/>
                      <a:rtl val="0"/>
                    </a:rPr>
                    <a:t>20</a:t>
                  </a:r>
                </a:p>
              </p:txBody>
            </p:sp>
            <p:sp>
              <p:nvSpPr>
                <p:cNvPr id="441" name="TextBox 440">
                  <a:extLst>
                    <a:ext uri="{FF2B5EF4-FFF2-40B4-BE49-F238E27FC236}">
                      <a16:creationId xmlns:a16="http://schemas.microsoft.com/office/drawing/2014/main" id="{12462DFC-8633-B071-8333-E8FE8CC2AE59}"/>
                    </a:ext>
                  </a:extLst>
                </p:cNvPr>
                <p:cNvSpPr txBox="1"/>
                <p:nvPr/>
              </p:nvSpPr>
              <p:spPr>
                <a:xfrm>
                  <a:off x="12842776" y="4909633"/>
                  <a:ext cx="182742" cy="215444"/>
                </a:xfrm>
                <a:prstGeom prst="rect">
                  <a:avLst/>
                </a:prstGeom>
                <a:noFill/>
              </p:spPr>
              <p:txBody>
                <a:bodyPr wrap="none" lIns="0" tIns="0" rIns="0" bIns="0" rtlCol="0">
                  <a:spAutoFit/>
                </a:bodyPr>
                <a:lstStyle/>
                <a:p>
                  <a:pPr algn="r"/>
                  <a:r>
                    <a:rPr lang="en-US" sz="1400" baseline="0">
                      <a:ln/>
                      <a:solidFill>
                        <a:srgbClr val="231F20"/>
                      </a:solidFill>
                      <a:sym typeface="Aptos"/>
                      <a:rtl val="0"/>
                    </a:rPr>
                    <a:t>10</a:t>
                  </a:r>
                </a:p>
              </p:txBody>
            </p:sp>
            <p:sp>
              <p:nvSpPr>
                <p:cNvPr id="442" name="TextBox 441">
                  <a:extLst>
                    <a:ext uri="{FF2B5EF4-FFF2-40B4-BE49-F238E27FC236}">
                      <a16:creationId xmlns:a16="http://schemas.microsoft.com/office/drawing/2014/main" id="{4BC2A797-C11F-45BE-8072-48DC690F9A73}"/>
                    </a:ext>
                  </a:extLst>
                </p:cNvPr>
                <p:cNvSpPr txBox="1"/>
                <p:nvPr/>
              </p:nvSpPr>
              <p:spPr>
                <a:xfrm>
                  <a:off x="12934147" y="5272853"/>
                  <a:ext cx="91371" cy="215444"/>
                </a:xfrm>
                <a:prstGeom prst="rect">
                  <a:avLst/>
                </a:prstGeom>
                <a:noFill/>
              </p:spPr>
              <p:txBody>
                <a:bodyPr wrap="none" lIns="0" tIns="0" rIns="0" bIns="0" rtlCol="0">
                  <a:spAutoFit/>
                </a:bodyPr>
                <a:lstStyle/>
                <a:p>
                  <a:pPr algn="r"/>
                  <a:r>
                    <a:rPr lang="en-US" sz="1400" baseline="0">
                      <a:ln/>
                      <a:solidFill>
                        <a:srgbClr val="231F20"/>
                      </a:solidFill>
                      <a:sym typeface="Aptos"/>
                      <a:rtl val="0"/>
                    </a:rPr>
                    <a:t>0</a:t>
                  </a:r>
                </a:p>
              </p:txBody>
            </p:sp>
          </p:grpSp>
          <p:sp>
            <p:nvSpPr>
              <p:cNvPr id="444" name="TextBox 443">
                <a:extLst>
                  <a:ext uri="{FF2B5EF4-FFF2-40B4-BE49-F238E27FC236}">
                    <a16:creationId xmlns:a16="http://schemas.microsoft.com/office/drawing/2014/main" id="{6B6ECC7C-6770-3643-A3F0-A5214622C843}"/>
                  </a:ext>
                </a:extLst>
              </p:cNvPr>
              <p:cNvSpPr txBox="1"/>
              <p:nvPr/>
            </p:nvSpPr>
            <p:spPr>
              <a:xfrm rot="16200000">
                <a:off x="11898948" y="3408345"/>
                <a:ext cx="1224759" cy="246221"/>
              </a:xfrm>
              <a:prstGeom prst="rect">
                <a:avLst/>
              </a:prstGeom>
              <a:noFill/>
            </p:spPr>
            <p:txBody>
              <a:bodyPr wrap="none" lIns="0" tIns="0" rIns="0" bIns="0" rtlCol="0">
                <a:spAutoFit/>
              </a:bodyPr>
              <a:lstStyle/>
              <a:p>
                <a:pPr algn="ctr"/>
                <a:r>
                  <a:rPr lang="en-US" sz="1600" baseline="0">
                    <a:ln/>
                    <a:solidFill>
                      <a:srgbClr val="231F20"/>
                    </a:solidFill>
                    <a:sym typeface="Aptos"/>
                    <a:rtl val="0"/>
                  </a:rPr>
                  <a:t>Participants, %</a:t>
                </a:r>
              </a:p>
            </p:txBody>
          </p:sp>
        </p:grpSp>
        <p:grpSp>
          <p:nvGrpSpPr>
            <p:cNvPr id="448" name="Group 447">
              <a:extLst>
                <a:ext uri="{FF2B5EF4-FFF2-40B4-BE49-F238E27FC236}">
                  <a16:creationId xmlns:a16="http://schemas.microsoft.com/office/drawing/2014/main" id="{FAA741F8-6E34-C9DD-32C4-B7B73A4A8D8E}"/>
                </a:ext>
              </a:extLst>
            </p:cNvPr>
            <p:cNvGrpSpPr/>
            <p:nvPr/>
          </p:nvGrpSpPr>
          <p:grpSpPr>
            <a:xfrm>
              <a:off x="6189870" y="5412405"/>
              <a:ext cx="4548594" cy="246221"/>
              <a:chOff x="13807001" y="5412405"/>
              <a:chExt cx="4548594" cy="246221"/>
            </a:xfrm>
          </p:grpSpPr>
          <p:sp>
            <p:nvSpPr>
              <p:cNvPr id="445" name="TextBox 444">
                <a:extLst>
                  <a:ext uri="{FF2B5EF4-FFF2-40B4-BE49-F238E27FC236}">
                    <a16:creationId xmlns:a16="http://schemas.microsoft.com/office/drawing/2014/main" id="{FD0B4B4B-5DE7-A2FC-B3B1-A53CED8A6153}"/>
                  </a:ext>
                </a:extLst>
              </p:cNvPr>
              <p:cNvSpPr txBox="1"/>
              <p:nvPr/>
            </p:nvSpPr>
            <p:spPr>
              <a:xfrm>
                <a:off x="13807001" y="5412405"/>
                <a:ext cx="639534" cy="246221"/>
              </a:xfrm>
              <a:prstGeom prst="rect">
                <a:avLst/>
              </a:prstGeom>
              <a:noFill/>
            </p:spPr>
            <p:txBody>
              <a:bodyPr wrap="none" lIns="0" tIns="0" rIns="0" bIns="0" rtlCol="0">
                <a:spAutoFit/>
              </a:bodyPr>
              <a:lstStyle/>
              <a:p>
                <a:pPr algn="ctr"/>
                <a:r>
                  <a:rPr lang="en-US" sz="1600" spc="41" baseline="0">
                    <a:ln/>
                    <a:solidFill>
                      <a:srgbClr val="231F20"/>
                    </a:solidFill>
                    <a:sym typeface="Aptos"/>
                    <a:rtl val="0"/>
                  </a:rPr>
                  <a:t>TIS </a:t>
                </a:r>
                <a:r>
                  <a:rPr lang="en-US" sz="1600" spc="41" baseline="0">
                    <a:ln/>
                    <a:solidFill>
                      <a:srgbClr val="231F20"/>
                    </a:solidFill>
                    <a:cs typeface="Arial" panose="020B0604020202020204" pitchFamily="34" charset="0"/>
                    <a:sym typeface="Aptos"/>
                    <a:rtl val="0"/>
                  </a:rPr>
                  <a:t>≥20</a:t>
                </a:r>
                <a:endParaRPr lang="en-US" sz="1600" spc="41" baseline="0">
                  <a:ln/>
                  <a:solidFill>
                    <a:srgbClr val="231F20"/>
                  </a:solidFill>
                  <a:sym typeface="Aptos"/>
                  <a:rtl val="0"/>
                </a:endParaRPr>
              </a:p>
            </p:txBody>
          </p:sp>
          <p:sp>
            <p:nvSpPr>
              <p:cNvPr id="446" name="TextBox 445">
                <a:extLst>
                  <a:ext uri="{FF2B5EF4-FFF2-40B4-BE49-F238E27FC236}">
                    <a16:creationId xmlns:a16="http://schemas.microsoft.com/office/drawing/2014/main" id="{9FAED00A-BDFF-E17B-E5C8-10525D35F625}"/>
                  </a:ext>
                </a:extLst>
              </p:cNvPr>
              <p:cNvSpPr txBox="1"/>
              <p:nvPr/>
            </p:nvSpPr>
            <p:spPr>
              <a:xfrm>
                <a:off x="15772961" y="5412405"/>
                <a:ext cx="639534" cy="246221"/>
              </a:xfrm>
              <a:prstGeom prst="rect">
                <a:avLst/>
              </a:prstGeom>
              <a:noFill/>
            </p:spPr>
            <p:txBody>
              <a:bodyPr wrap="none" lIns="0" tIns="0" rIns="0" bIns="0" rtlCol="0">
                <a:spAutoFit/>
              </a:bodyPr>
              <a:lstStyle/>
              <a:p>
                <a:pPr algn="ctr"/>
                <a:r>
                  <a:rPr lang="en-US" sz="1600" spc="41" baseline="0">
                    <a:ln/>
                    <a:solidFill>
                      <a:srgbClr val="231F20"/>
                    </a:solidFill>
                    <a:sym typeface="Aptos"/>
                    <a:rtl val="0"/>
                  </a:rPr>
                  <a:t>TIS </a:t>
                </a:r>
                <a:r>
                  <a:rPr lang="en-US" sz="1600" spc="41" baseline="0">
                    <a:ln/>
                    <a:solidFill>
                      <a:srgbClr val="231F20"/>
                    </a:solidFill>
                    <a:cs typeface="Arial" panose="020B0604020202020204" pitchFamily="34" charset="0"/>
                    <a:sym typeface="Aptos"/>
                    <a:rtl val="0"/>
                  </a:rPr>
                  <a:t>≥40</a:t>
                </a:r>
                <a:endParaRPr lang="en-US" sz="1600" spc="41" baseline="0">
                  <a:ln/>
                  <a:solidFill>
                    <a:srgbClr val="231F20"/>
                  </a:solidFill>
                  <a:sym typeface="Aptos"/>
                  <a:rtl val="0"/>
                </a:endParaRPr>
              </a:p>
            </p:txBody>
          </p:sp>
          <p:sp>
            <p:nvSpPr>
              <p:cNvPr id="447" name="TextBox 446">
                <a:extLst>
                  <a:ext uri="{FF2B5EF4-FFF2-40B4-BE49-F238E27FC236}">
                    <a16:creationId xmlns:a16="http://schemas.microsoft.com/office/drawing/2014/main" id="{33C1FDE1-2FEC-2681-91DD-68802CCFB236}"/>
                  </a:ext>
                </a:extLst>
              </p:cNvPr>
              <p:cNvSpPr txBox="1"/>
              <p:nvPr/>
            </p:nvSpPr>
            <p:spPr>
              <a:xfrm>
                <a:off x="17716061" y="5412405"/>
                <a:ext cx="639534" cy="246221"/>
              </a:xfrm>
              <a:prstGeom prst="rect">
                <a:avLst/>
              </a:prstGeom>
              <a:noFill/>
            </p:spPr>
            <p:txBody>
              <a:bodyPr wrap="none" lIns="0" tIns="0" rIns="0" bIns="0" rtlCol="0">
                <a:spAutoFit/>
              </a:bodyPr>
              <a:lstStyle/>
              <a:p>
                <a:pPr algn="ctr"/>
                <a:r>
                  <a:rPr lang="en-US" sz="1600" spc="41" baseline="0">
                    <a:ln/>
                    <a:solidFill>
                      <a:srgbClr val="231F20"/>
                    </a:solidFill>
                    <a:sym typeface="Aptos"/>
                    <a:rtl val="0"/>
                  </a:rPr>
                  <a:t>TIS </a:t>
                </a:r>
                <a:r>
                  <a:rPr lang="en-US" sz="1600" spc="41" baseline="0">
                    <a:ln/>
                    <a:solidFill>
                      <a:srgbClr val="231F20"/>
                    </a:solidFill>
                    <a:cs typeface="Arial" panose="020B0604020202020204" pitchFamily="34" charset="0"/>
                    <a:sym typeface="Aptos"/>
                    <a:rtl val="0"/>
                  </a:rPr>
                  <a:t>≥60</a:t>
                </a:r>
                <a:endParaRPr lang="en-US" sz="1600" spc="41" baseline="0">
                  <a:ln/>
                  <a:solidFill>
                    <a:srgbClr val="231F20"/>
                  </a:solidFill>
                  <a:sym typeface="Aptos"/>
                  <a:rtl val="0"/>
                </a:endParaRPr>
              </a:p>
            </p:txBody>
          </p:sp>
        </p:grpSp>
        <p:grpSp>
          <p:nvGrpSpPr>
            <p:cNvPr id="454" name="Group 453">
              <a:extLst>
                <a:ext uri="{FF2B5EF4-FFF2-40B4-BE49-F238E27FC236}">
                  <a16:creationId xmlns:a16="http://schemas.microsoft.com/office/drawing/2014/main" id="{35574358-ABDA-A6C0-E666-AF557FD978BC}"/>
                </a:ext>
              </a:extLst>
            </p:cNvPr>
            <p:cNvGrpSpPr/>
            <p:nvPr/>
          </p:nvGrpSpPr>
          <p:grpSpPr>
            <a:xfrm>
              <a:off x="6011552" y="5802591"/>
              <a:ext cx="4533371" cy="215444"/>
              <a:chOff x="13633704" y="5802591"/>
              <a:chExt cx="4533371" cy="215444"/>
            </a:xfrm>
          </p:grpSpPr>
          <p:sp>
            <p:nvSpPr>
              <p:cNvPr id="449" name="TextBox 448">
                <a:extLst>
                  <a:ext uri="{FF2B5EF4-FFF2-40B4-BE49-F238E27FC236}">
                    <a16:creationId xmlns:a16="http://schemas.microsoft.com/office/drawing/2014/main" id="{09D2E7FA-CA64-8BBC-1296-5BEF9C8C0309}"/>
                  </a:ext>
                </a:extLst>
              </p:cNvPr>
              <p:cNvSpPr txBox="1"/>
              <p:nvPr/>
            </p:nvSpPr>
            <p:spPr>
              <a:xfrm>
                <a:off x="13787300" y="5802591"/>
                <a:ext cx="2106539" cy="215444"/>
              </a:xfrm>
              <a:prstGeom prst="rect">
                <a:avLst/>
              </a:prstGeom>
              <a:noFill/>
            </p:spPr>
            <p:txBody>
              <a:bodyPr wrap="none" lIns="0" tIns="0" rIns="0" bIns="0" rtlCol="0">
                <a:spAutoFit/>
              </a:bodyPr>
              <a:lstStyle/>
              <a:p>
                <a:r>
                  <a:rPr lang="en-US" sz="1400" baseline="0">
                    <a:ln/>
                    <a:solidFill>
                      <a:schemeClr val="accent3"/>
                    </a:solidFill>
                    <a:sym typeface="Aptos"/>
                    <a:rtl val="0"/>
                  </a:rPr>
                  <a:t>Efgartig</a:t>
                </a:r>
                <a:r>
                  <a:rPr lang="en-US" sz="1400">
                    <a:ln/>
                    <a:solidFill>
                      <a:schemeClr val="accent3"/>
                    </a:solidFill>
                    <a:sym typeface="Aptos"/>
                    <a:rtl val="0"/>
                  </a:rPr>
                  <a:t>i</a:t>
                </a:r>
                <a:r>
                  <a:rPr lang="en-US" sz="1400" baseline="0">
                    <a:ln/>
                    <a:solidFill>
                      <a:schemeClr val="accent3"/>
                    </a:solidFill>
                    <a:sym typeface="Aptos"/>
                    <a:rtl val="0"/>
                  </a:rPr>
                  <a:t>mod PH20 SC (N=47)</a:t>
                </a:r>
              </a:p>
            </p:txBody>
          </p:sp>
          <p:sp>
            <p:nvSpPr>
              <p:cNvPr id="450" name="TextBox 449">
                <a:extLst>
                  <a:ext uri="{FF2B5EF4-FFF2-40B4-BE49-F238E27FC236}">
                    <a16:creationId xmlns:a16="http://schemas.microsoft.com/office/drawing/2014/main" id="{3CC272A5-8D97-1AAC-17A1-1E536304B168}"/>
                  </a:ext>
                </a:extLst>
              </p:cNvPr>
              <p:cNvSpPr txBox="1"/>
              <p:nvPr/>
            </p:nvSpPr>
            <p:spPr>
              <a:xfrm>
                <a:off x="16408580" y="5802591"/>
                <a:ext cx="1758495" cy="215444"/>
              </a:xfrm>
              <a:prstGeom prst="rect">
                <a:avLst/>
              </a:prstGeom>
              <a:noFill/>
            </p:spPr>
            <p:txBody>
              <a:bodyPr wrap="none" lIns="0" tIns="0" rIns="0" bIns="0" rtlCol="0">
                <a:spAutoFit/>
              </a:bodyPr>
              <a:lstStyle/>
              <a:p>
                <a:r>
                  <a:rPr lang="en-US" sz="1400" baseline="0">
                    <a:ln/>
                    <a:solidFill>
                      <a:srgbClr val="7CA744"/>
                    </a:solidFill>
                    <a:sym typeface="Aptos"/>
                    <a:rtl val="0"/>
                  </a:rPr>
                  <a:t>Placebo PH20 SC (N=42)</a:t>
                </a:r>
              </a:p>
            </p:txBody>
          </p:sp>
          <p:grpSp>
            <p:nvGrpSpPr>
              <p:cNvPr id="453" name="Group 452">
                <a:extLst>
                  <a:ext uri="{FF2B5EF4-FFF2-40B4-BE49-F238E27FC236}">
                    <a16:creationId xmlns:a16="http://schemas.microsoft.com/office/drawing/2014/main" id="{E243664D-F260-32BD-B4C4-8BA9BD6DFE6E}"/>
                  </a:ext>
                </a:extLst>
              </p:cNvPr>
              <p:cNvGrpSpPr/>
              <p:nvPr/>
            </p:nvGrpSpPr>
            <p:grpSpPr>
              <a:xfrm>
                <a:off x="13633704" y="5873496"/>
                <a:ext cx="2720340" cy="91440"/>
                <a:chOff x="13633704" y="5873496"/>
                <a:chExt cx="2720340" cy="91440"/>
              </a:xfrm>
            </p:grpSpPr>
            <p:sp>
              <p:nvSpPr>
                <p:cNvPr id="451" name="Rectangle 450">
                  <a:extLst>
                    <a:ext uri="{FF2B5EF4-FFF2-40B4-BE49-F238E27FC236}">
                      <a16:creationId xmlns:a16="http://schemas.microsoft.com/office/drawing/2014/main" id="{6C022A76-4AB8-CB0F-D7D2-F0BCD2D95077}"/>
                    </a:ext>
                  </a:extLst>
                </p:cNvPr>
                <p:cNvSpPr/>
                <p:nvPr/>
              </p:nvSpPr>
              <p:spPr>
                <a:xfrm>
                  <a:off x="16262604" y="5873496"/>
                  <a:ext cx="91440" cy="91440"/>
                </a:xfrm>
                <a:prstGeom prst="rect">
                  <a:avLst/>
                </a:prstGeom>
                <a:solidFill>
                  <a:srgbClr val="7CA7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2" name="Rectangle 451">
                  <a:extLst>
                    <a:ext uri="{FF2B5EF4-FFF2-40B4-BE49-F238E27FC236}">
                      <a16:creationId xmlns:a16="http://schemas.microsoft.com/office/drawing/2014/main" id="{BA17BD3F-0368-8528-13FD-B813835F8F94}"/>
                    </a:ext>
                  </a:extLst>
                </p:cNvPr>
                <p:cNvSpPr/>
                <p:nvPr/>
              </p:nvSpPr>
              <p:spPr>
                <a:xfrm>
                  <a:off x="13633704" y="5873496"/>
                  <a:ext cx="91440" cy="91440"/>
                </a:xfrm>
                <a:prstGeom prst="rect">
                  <a:avLst/>
                </a:prstGeom>
                <a:solidFill>
                  <a:srgbClr val="0F4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Tree>
    <p:extLst>
      <p:ext uri="{BB962C8B-B14F-4D97-AF65-F5344CB8AC3E}">
        <p14:creationId xmlns:p14="http://schemas.microsoft.com/office/powerpoint/2010/main" val="3515284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06D724-8587-3BF8-52EF-5383468F3D8C}"/>
            </a:ext>
          </a:extLst>
        </p:cNvPr>
        <p:cNvGrpSpPr/>
        <p:nvPr/>
      </p:nvGrpSpPr>
      <p:grpSpPr>
        <a:xfrm>
          <a:off x="0" y="0"/>
          <a:ext cx="0" cy="0"/>
          <a:chOff x="0" y="0"/>
          <a:chExt cx="0" cy="0"/>
        </a:xfrm>
      </p:grpSpPr>
      <p:sp>
        <p:nvSpPr>
          <p:cNvPr id="12" name="Footer Placeholder 12">
            <a:extLst>
              <a:ext uri="{FF2B5EF4-FFF2-40B4-BE49-F238E27FC236}">
                <a16:creationId xmlns:a16="http://schemas.microsoft.com/office/drawing/2014/main" id="{89408489-6ACC-E56F-C291-78CAA424E45F}"/>
              </a:ext>
            </a:extLst>
          </p:cNvPr>
          <p:cNvSpPr>
            <a:spLocks noGrp="1"/>
          </p:cNvSpPr>
          <p:nvPr>
            <p:ph type="ftr" sz="quarter" idx="11"/>
          </p:nvPr>
        </p:nvSpPr>
        <p:spPr>
          <a:xfrm>
            <a:off x="904874" y="6566905"/>
            <a:ext cx="10972800" cy="116955"/>
          </a:xfrm>
          <a:noFill/>
        </p:spPr>
        <p:txBody>
          <a:bodyPr vert="horz" wrap="square" lIns="0" tIns="0" rIns="0" bIns="0" rtlCol="0" anchor="b">
            <a:spAutoFit/>
          </a:bodyPr>
          <a:lstStyle>
            <a:lvl1pPr algn="l">
              <a:lnSpc>
                <a:spcPct val="95000"/>
              </a:lnSpc>
              <a:spcBef>
                <a:spcPts val="400"/>
              </a:spcBef>
              <a:defRPr lang="en-US" sz="800" b="0">
                <a:solidFill>
                  <a:schemeClr val="tx2">
                    <a:lumMod val="75000"/>
                  </a:schemeClr>
                </a:solidFill>
                <a:latin typeface="+mn-lt"/>
              </a:defRPr>
            </a:lvl1pPr>
          </a:lstStyle>
          <a:p>
            <a:r>
              <a:rPr lang="en-US"/>
              <a:t>LSM, least-squares mean; MDGA, </a:t>
            </a:r>
            <a:r>
              <a:rPr lang="en-GB"/>
              <a:t>Medical Doctor (Physician) Global Assessment</a:t>
            </a:r>
            <a:r>
              <a:rPr lang="en-US"/>
              <a:t>; MMT8, Manual Muscle Testing 8; PGA, Patient Global Assessment; </a:t>
            </a:r>
            <a:r>
              <a:rPr lang="en-GB"/>
              <a:t>PH20, recombinant human hyaluronidase PH20; SC, subcutaneous; SE, standard error; </a:t>
            </a:r>
            <a:r>
              <a:rPr lang="en-US"/>
              <a:t>TIS, Total Improvement Score.</a:t>
            </a:r>
          </a:p>
        </p:txBody>
      </p:sp>
      <p:sp>
        <p:nvSpPr>
          <p:cNvPr id="21" name="Title 20">
            <a:extLst>
              <a:ext uri="{FF2B5EF4-FFF2-40B4-BE49-F238E27FC236}">
                <a16:creationId xmlns:a16="http://schemas.microsoft.com/office/drawing/2014/main" id="{E2592793-F2F2-4A1D-42D8-F3BCB1616A5A}"/>
              </a:ext>
            </a:extLst>
          </p:cNvPr>
          <p:cNvSpPr>
            <a:spLocks noGrp="1"/>
          </p:cNvSpPr>
          <p:nvPr>
            <p:ph type="title"/>
          </p:nvPr>
        </p:nvSpPr>
        <p:spPr/>
        <p:txBody>
          <a:bodyPr wrap="none"/>
          <a:lstStyle/>
          <a:p>
            <a:r>
              <a:rPr kumimoji="0" lang="en-GB" sz="2200" b="1" i="0" u="none" strike="noStrike" kern="0" cap="none" spc="0" normalizeH="0" baseline="0" noProof="0">
                <a:ln>
                  <a:noFill/>
                </a:ln>
                <a:solidFill>
                  <a:srgbClr val="0B436E"/>
                </a:solidFill>
                <a:effectLst/>
                <a:uLnTx/>
                <a:uFillTx/>
                <a:latin typeface="Calibri" panose="020F0502020204030204"/>
                <a:ea typeface="+mn-ea"/>
                <a:cs typeface="+mn-cs"/>
              </a:rPr>
              <a:t>		</a:t>
            </a:r>
            <a:r>
              <a:rPr kumimoji="0" lang="en-GB" sz="2200" i="0" u="none" strike="noStrike" kern="0" cap="none" spc="0" normalizeH="0" baseline="0" noProof="0">
                <a:ln>
                  <a:noFill/>
                </a:ln>
                <a:solidFill>
                  <a:srgbClr val="0B436E"/>
                </a:solidFill>
                <a:effectLst/>
                <a:uLnTx/>
                <a:uFillTx/>
                <a:latin typeface="Calibri" panose="020F0502020204030204"/>
                <a:ea typeface="+mn-ea"/>
                <a:cs typeface="+mn-cs"/>
              </a:rPr>
              <a:t>Individual Components Constituting the TIS </a:t>
            </a:r>
            <a:r>
              <a:rPr kumimoji="0" lang="en-GB" sz="2200" b="1" i="0" u="none" strike="noStrike" kern="0" cap="none" spc="0" normalizeH="0" baseline="0" noProof="0">
                <a:ln>
                  <a:noFill/>
                </a:ln>
                <a:solidFill>
                  <a:srgbClr val="0B436E"/>
                </a:solidFill>
                <a:effectLst/>
                <a:uLnTx/>
                <a:uFillTx/>
                <a:latin typeface="Calibri" panose="020F0502020204030204"/>
                <a:ea typeface="+mn-ea"/>
                <a:cs typeface="+mn-cs"/>
              </a:rPr>
              <a:t>Favored Efgartigimod PH20 SC</a:t>
            </a:r>
            <a:endParaRPr lang="en-US" baseline="30000" noProof="0"/>
          </a:p>
        </p:txBody>
      </p:sp>
      <p:sp>
        <p:nvSpPr>
          <p:cNvPr id="5" name="Slide Number Placeholder 4">
            <a:extLst>
              <a:ext uri="{FF2B5EF4-FFF2-40B4-BE49-F238E27FC236}">
                <a16:creationId xmlns:a16="http://schemas.microsoft.com/office/drawing/2014/main" id="{62AF7398-4DD9-2380-8A53-B778309EC927}"/>
              </a:ext>
            </a:extLst>
          </p:cNvPr>
          <p:cNvSpPr>
            <a:spLocks noGrp="1"/>
          </p:cNvSpPr>
          <p:nvPr>
            <p:ph type="sldNum" sz="quarter" idx="4"/>
          </p:nvPr>
        </p:nvSpPr>
        <p:spPr/>
        <p:txBody>
          <a:bodyPr/>
          <a:lstStyle/>
          <a:p>
            <a:fld id="{A366880C-2072-4A02-B747-1981AA856017}" type="slidenum">
              <a:rPr lang="en-US" noProof="0" smtClean="0"/>
              <a:pPr/>
              <a:t>11</a:t>
            </a:fld>
            <a:endParaRPr lang="en-US" noProof="0"/>
          </a:p>
        </p:txBody>
      </p:sp>
      <p:grpSp>
        <p:nvGrpSpPr>
          <p:cNvPr id="2" name="Graphic 372">
            <a:extLst>
              <a:ext uri="{FF2B5EF4-FFF2-40B4-BE49-F238E27FC236}">
                <a16:creationId xmlns:a16="http://schemas.microsoft.com/office/drawing/2014/main" id="{34175146-59E1-CC61-93B8-CCFB8C9DBC7B}"/>
              </a:ext>
            </a:extLst>
          </p:cNvPr>
          <p:cNvGrpSpPr/>
          <p:nvPr/>
        </p:nvGrpSpPr>
        <p:grpSpPr>
          <a:xfrm>
            <a:off x="415739" y="405765"/>
            <a:ext cx="569270" cy="569270"/>
            <a:chOff x="8996593" y="5591893"/>
            <a:chExt cx="569270" cy="569270"/>
          </a:xfrm>
          <a:solidFill>
            <a:schemeClr val="bg1">
              <a:lumMod val="65000"/>
            </a:schemeClr>
          </a:solidFill>
        </p:grpSpPr>
        <p:sp>
          <p:nvSpPr>
            <p:cNvPr id="3" name="Freeform 355">
              <a:extLst>
                <a:ext uri="{FF2B5EF4-FFF2-40B4-BE49-F238E27FC236}">
                  <a16:creationId xmlns:a16="http://schemas.microsoft.com/office/drawing/2014/main" id="{853954B7-7E13-26CD-7B56-02CB325E4EDB}"/>
                </a:ext>
              </a:extLst>
            </p:cNvPr>
            <p:cNvSpPr/>
            <p:nvPr/>
          </p:nvSpPr>
          <p:spPr>
            <a:xfrm>
              <a:off x="8996593" y="5591894"/>
              <a:ext cx="145786" cy="145786"/>
            </a:xfrm>
            <a:custGeom>
              <a:avLst/>
              <a:gdLst>
                <a:gd name="connsiteX0" fmla="*/ 145786 w 145786"/>
                <a:gd name="connsiteY0" fmla="*/ 72937 h 145786"/>
                <a:gd name="connsiteX1" fmla="*/ 72849 w 145786"/>
                <a:gd name="connsiteY1" fmla="*/ 145786 h 145786"/>
                <a:gd name="connsiteX2" fmla="*/ 0 w 145786"/>
                <a:gd name="connsiteY2" fmla="*/ 72937 h 145786"/>
                <a:gd name="connsiteX3" fmla="*/ 72849 w 145786"/>
                <a:gd name="connsiteY3" fmla="*/ 0 h 145786"/>
                <a:gd name="connsiteX4" fmla="*/ 145786 w 145786"/>
                <a:gd name="connsiteY4" fmla="*/ 72937 h 145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786" h="145786">
                  <a:moveTo>
                    <a:pt x="145786" y="72937"/>
                  </a:moveTo>
                  <a:cubicBezTo>
                    <a:pt x="145786" y="113142"/>
                    <a:pt x="113053" y="145786"/>
                    <a:pt x="72849" y="145786"/>
                  </a:cubicBezTo>
                  <a:cubicBezTo>
                    <a:pt x="32643" y="145786"/>
                    <a:pt x="0" y="113142"/>
                    <a:pt x="0" y="72937"/>
                  </a:cubicBezTo>
                  <a:cubicBezTo>
                    <a:pt x="0" y="32732"/>
                    <a:pt x="32643" y="0"/>
                    <a:pt x="72849" y="0"/>
                  </a:cubicBezTo>
                  <a:cubicBezTo>
                    <a:pt x="113053" y="-1"/>
                    <a:pt x="145786" y="32732"/>
                    <a:pt x="145786" y="72937"/>
                  </a:cubicBezTo>
                  <a:close/>
                </a:path>
              </a:pathLst>
            </a:custGeom>
            <a:solidFill>
              <a:schemeClr val="accent2">
                <a:lumMod val="90000"/>
              </a:schemeClr>
            </a:solidFill>
            <a:ln w="1172" cap="flat">
              <a:noFill/>
              <a:prstDash val="solid"/>
              <a:miter/>
            </a:ln>
          </p:spPr>
          <p:txBody>
            <a:bodyPr rtlCol="0" anchor="ctr"/>
            <a:lstStyle/>
            <a:p>
              <a:endParaRPr lang="en-US" sz="700"/>
            </a:p>
          </p:txBody>
        </p:sp>
        <p:sp>
          <p:nvSpPr>
            <p:cNvPr id="22" name="Freeform 356">
              <a:extLst>
                <a:ext uri="{FF2B5EF4-FFF2-40B4-BE49-F238E27FC236}">
                  <a16:creationId xmlns:a16="http://schemas.microsoft.com/office/drawing/2014/main" id="{CCB0AD20-12A9-C0B7-70AC-18B9575CD266}"/>
                </a:ext>
              </a:extLst>
            </p:cNvPr>
            <p:cNvSpPr/>
            <p:nvPr/>
          </p:nvSpPr>
          <p:spPr>
            <a:xfrm>
              <a:off x="9208290" y="5591893"/>
              <a:ext cx="145786" cy="145786"/>
            </a:xfrm>
            <a:custGeom>
              <a:avLst/>
              <a:gdLst>
                <a:gd name="connsiteX0" fmla="*/ 72937 w 145786"/>
                <a:gd name="connsiteY0" fmla="*/ 0 h 145786"/>
                <a:gd name="connsiteX1" fmla="*/ 0 w 145786"/>
                <a:gd name="connsiteY1" fmla="*/ 72937 h 145786"/>
                <a:gd name="connsiteX2" fmla="*/ 72937 w 145786"/>
                <a:gd name="connsiteY2" fmla="*/ 145786 h 145786"/>
                <a:gd name="connsiteX3" fmla="*/ 145786 w 145786"/>
                <a:gd name="connsiteY3" fmla="*/ 72937 h 145786"/>
                <a:gd name="connsiteX4" fmla="*/ 72937 w 145786"/>
                <a:gd name="connsiteY4" fmla="*/ 0 h 145786"/>
                <a:gd name="connsiteX5" fmla="*/ 72937 w 145786"/>
                <a:gd name="connsiteY5" fmla="*/ 127997 h 145786"/>
                <a:gd name="connsiteX6" fmla="*/ 17789 w 145786"/>
                <a:gd name="connsiteY6" fmla="*/ 72939 h 145786"/>
                <a:gd name="connsiteX7" fmla="*/ 72937 w 145786"/>
                <a:gd name="connsiteY7" fmla="*/ 17790 h 145786"/>
                <a:gd name="connsiteX8" fmla="*/ 127996 w 145786"/>
                <a:gd name="connsiteY8" fmla="*/ 72939 h 145786"/>
                <a:gd name="connsiteX9" fmla="*/ 72937 w 145786"/>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937" y="0"/>
                  </a:moveTo>
                  <a:cubicBezTo>
                    <a:pt x="32732" y="0"/>
                    <a:pt x="0" y="32733"/>
                    <a:pt x="0" y="72937"/>
                  </a:cubicBezTo>
                  <a:cubicBezTo>
                    <a:pt x="0" y="113142"/>
                    <a:pt x="32733" y="145786"/>
                    <a:pt x="72937" y="145786"/>
                  </a:cubicBezTo>
                  <a:cubicBezTo>
                    <a:pt x="113142" y="145786"/>
                    <a:pt x="145786" y="113142"/>
                    <a:pt x="145786" y="72937"/>
                  </a:cubicBezTo>
                  <a:cubicBezTo>
                    <a:pt x="145786" y="32733"/>
                    <a:pt x="113142" y="0"/>
                    <a:pt x="72937" y="0"/>
                  </a:cubicBezTo>
                  <a:close/>
                  <a:moveTo>
                    <a:pt x="72937" y="127997"/>
                  </a:moveTo>
                  <a:cubicBezTo>
                    <a:pt x="42517" y="127997"/>
                    <a:pt x="17789" y="103358"/>
                    <a:pt x="17789" y="72939"/>
                  </a:cubicBezTo>
                  <a:cubicBezTo>
                    <a:pt x="17789" y="42518"/>
                    <a:pt x="42517" y="17790"/>
                    <a:pt x="72937" y="17790"/>
                  </a:cubicBezTo>
                  <a:cubicBezTo>
                    <a:pt x="103268" y="17790"/>
                    <a:pt x="127996" y="42518"/>
                    <a:pt x="127996" y="72939"/>
                  </a:cubicBezTo>
                  <a:cubicBezTo>
                    <a:pt x="127996" y="103358"/>
                    <a:pt x="103268" y="127997"/>
                    <a:pt x="72937" y="127997"/>
                  </a:cubicBezTo>
                  <a:close/>
                </a:path>
              </a:pathLst>
            </a:custGeom>
            <a:grpFill/>
            <a:ln w="1172" cap="flat">
              <a:noFill/>
              <a:prstDash val="solid"/>
              <a:miter/>
            </a:ln>
          </p:spPr>
          <p:txBody>
            <a:bodyPr rtlCol="0" anchor="ctr"/>
            <a:lstStyle/>
            <a:p>
              <a:endParaRPr lang="en-US" sz="700"/>
            </a:p>
          </p:txBody>
        </p:sp>
        <p:sp>
          <p:nvSpPr>
            <p:cNvPr id="24" name="Freeform 357">
              <a:extLst>
                <a:ext uri="{FF2B5EF4-FFF2-40B4-BE49-F238E27FC236}">
                  <a16:creationId xmlns:a16="http://schemas.microsoft.com/office/drawing/2014/main" id="{6A18706B-23C8-E890-2DC6-5BA25C9E3B60}"/>
                </a:ext>
              </a:extLst>
            </p:cNvPr>
            <p:cNvSpPr/>
            <p:nvPr/>
          </p:nvSpPr>
          <p:spPr>
            <a:xfrm>
              <a:off x="9419987" y="5591893"/>
              <a:ext cx="145874" cy="145786"/>
            </a:xfrm>
            <a:custGeom>
              <a:avLst/>
              <a:gdLst>
                <a:gd name="connsiteX0" fmla="*/ 72937 w 145874"/>
                <a:gd name="connsiteY0" fmla="*/ 0 h 145786"/>
                <a:gd name="connsiteX1" fmla="*/ 0 w 145874"/>
                <a:gd name="connsiteY1" fmla="*/ 72937 h 145786"/>
                <a:gd name="connsiteX2" fmla="*/ 72937 w 145874"/>
                <a:gd name="connsiteY2" fmla="*/ 145786 h 145786"/>
                <a:gd name="connsiteX3" fmla="*/ 145875 w 145874"/>
                <a:gd name="connsiteY3" fmla="*/ 72937 h 145786"/>
                <a:gd name="connsiteX4" fmla="*/ 72937 w 145874"/>
                <a:gd name="connsiteY4" fmla="*/ 0 h 145786"/>
                <a:gd name="connsiteX5" fmla="*/ 72937 w 145874"/>
                <a:gd name="connsiteY5" fmla="*/ 127997 h 145786"/>
                <a:gd name="connsiteX6" fmla="*/ 17789 w 145874"/>
                <a:gd name="connsiteY6" fmla="*/ 72939 h 145786"/>
                <a:gd name="connsiteX7" fmla="*/ 72937 w 145874"/>
                <a:gd name="connsiteY7" fmla="*/ 17790 h 145786"/>
                <a:gd name="connsiteX8" fmla="*/ 128086 w 145874"/>
                <a:gd name="connsiteY8" fmla="*/ 72939 h 145786"/>
                <a:gd name="connsiteX9" fmla="*/ 72937 w 145874"/>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874" h="145786">
                  <a:moveTo>
                    <a:pt x="72937" y="0"/>
                  </a:moveTo>
                  <a:cubicBezTo>
                    <a:pt x="32732" y="0"/>
                    <a:pt x="0" y="32733"/>
                    <a:pt x="0" y="72937"/>
                  </a:cubicBezTo>
                  <a:cubicBezTo>
                    <a:pt x="0" y="113142"/>
                    <a:pt x="32733" y="145786"/>
                    <a:pt x="72937" y="145786"/>
                  </a:cubicBezTo>
                  <a:cubicBezTo>
                    <a:pt x="113142" y="145786"/>
                    <a:pt x="145875" y="113142"/>
                    <a:pt x="145875" y="72937"/>
                  </a:cubicBezTo>
                  <a:cubicBezTo>
                    <a:pt x="145876" y="32733"/>
                    <a:pt x="113143" y="0"/>
                    <a:pt x="72937" y="0"/>
                  </a:cubicBezTo>
                  <a:close/>
                  <a:moveTo>
                    <a:pt x="72937" y="127997"/>
                  </a:moveTo>
                  <a:cubicBezTo>
                    <a:pt x="42517" y="127997"/>
                    <a:pt x="17789" y="103358"/>
                    <a:pt x="17789" y="72939"/>
                  </a:cubicBezTo>
                  <a:cubicBezTo>
                    <a:pt x="17789" y="42518"/>
                    <a:pt x="42517" y="17790"/>
                    <a:pt x="72937" y="17790"/>
                  </a:cubicBezTo>
                  <a:cubicBezTo>
                    <a:pt x="103358" y="17790"/>
                    <a:pt x="128086" y="42518"/>
                    <a:pt x="128086" y="72939"/>
                  </a:cubicBezTo>
                  <a:cubicBezTo>
                    <a:pt x="128086" y="103358"/>
                    <a:pt x="103358" y="127997"/>
                    <a:pt x="72937" y="127997"/>
                  </a:cubicBezTo>
                  <a:close/>
                </a:path>
              </a:pathLst>
            </a:custGeom>
            <a:grpFill/>
            <a:ln w="1172" cap="flat">
              <a:noFill/>
              <a:prstDash val="solid"/>
              <a:miter/>
            </a:ln>
          </p:spPr>
          <p:txBody>
            <a:bodyPr rtlCol="0" anchor="ctr"/>
            <a:lstStyle/>
            <a:p>
              <a:endParaRPr lang="en-US" sz="700"/>
            </a:p>
          </p:txBody>
        </p:sp>
        <p:sp>
          <p:nvSpPr>
            <p:cNvPr id="25" name="Freeform 358">
              <a:extLst>
                <a:ext uri="{FF2B5EF4-FFF2-40B4-BE49-F238E27FC236}">
                  <a16:creationId xmlns:a16="http://schemas.microsoft.com/office/drawing/2014/main" id="{C564C15A-0603-83EA-9E6A-C8B9481C9038}"/>
                </a:ext>
              </a:extLst>
            </p:cNvPr>
            <p:cNvSpPr/>
            <p:nvPr/>
          </p:nvSpPr>
          <p:spPr>
            <a:xfrm>
              <a:off x="8996593" y="5803680"/>
              <a:ext cx="145786" cy="145786"/>
            </a:xfrm>
            <a:custGeom>
              <a:avLst/>
              <a:gdLst>
                <a:gd name="connsiteX0" fmla="*/ 72849 w 145786"/>
                <a:gd name="connsiteY0" fmla="*/ 0 h 145786"/>
                <a:gd name="connsiteX1" fmla="*/ 0 w 145786"/>
                <a:gd name="connsiteY1" fmla="*/ 72849 h 145786"/>
                <a:gd name="connsiteX2" fmla="*/ 72849 w 145786"/>
                <a:gd name="connsiteY2" fmla="*/ 145786 h 145786"/>
                <a:gd name="connsiteX3" fmla="*/ 145786 w 145786"/>
                <a:gd name="connsiteY3" fmla="*/ 72849 h 145786"/>
                <a:gd name="connsiteX4" fmla="*/ 72849 w 145786"/>
                <a:gd name="connsiteY4" fmla="*/ 0 h 145786"/>
                <a:gd name="connsiteX5" fmla="*/ 72849 w 145786"/>
                <a:gd name="connsiteY5" fmla="*/ 127996 h 145786"/>
                <a:gd name="connsiteX6" fmla="*/ 17790 w 145786"/>
                <a:gd name="connsiteY6" fmla="*/ 72848 h 145786"/>
                <a:gd name="connsiteX7" fmla="*/ 72849 w 145786"/>
                <a:gd name="connsiteY7" fmla="*/ 17789 h 145786"/>
                <a:gd name="connsiteX8" fmla="*/ 127996 w 145786"/>
                <a:gd name="connsiteY8" fmla="*/ 72848 h 145786"/>
                <a:gd name="connsiteX9" fmla="*/ 72849 w 145786"/>
                <a:gd name="connsiteY9" fmla="*/ 127996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849" y="0"/>
                  </a:moveTo>
                  <a:cubicBezTo>
                    <a:pt x="32643" y="0"/>
                    <a:pt x="0" y="32643"/>
                    <a:pt x="0" y="72849"/>
                  </a:cubicBezTo>
                  <a:cubicBezTo>
                    <a:pt x="0" y="113054"/>
                    <a:pt x="32643" y="145786"/>
                    <a:pt x="72849" y="145786"/>
                  </a:cubicBezTo>
                  <a:cubicBezTo>
                    <a:pt x="113053" y="145786"/>
                    <a:pt x="145786" y="113053"/>
                    <a:pt x="145786" y="72849"/>
                  </a:cubicBezTo>
                  <a:cubicBezTo>
                    <a:pt x="145786" y="32645"/>
                    <a:pt x="113053" y="0"/>
                    <a:pt x="72849" y="0"/>
                  </a:cubicBezTo>
                  <a:close/>
                  <a:moveTo>
                    <a:pt x="72849" y="127996"/>
                  </a:moveTo>
                  <a:cubicBezTo>
                    <a:pt x="42517" y="127996"/>
                    <a:pt x="17790" y="103268"/>
                    <a:pt x="17790" y="72848"/>
                  </a:cubicBezTo>
                  <a:cubicBezTo>
                    <a:pt x="17790" y="42516"/>
                    <a:pt x="42518" y="17789"/>
                    <a:pt x="72849" y="17789"/>
                  </a:cubicBezTo>
                  <a:cubicBezTo>
                    <a:pt x="103269" y="17789"/>
                    <a:pt x="127996" y="42517"/>
                    <a:pt x="127996" y="72848"/>
                  </a:cubicBezTo>
                  <a:cubicBezTo>
                    <a:pt x="127996" y="103268"/>
                    <a:pt x="103268" y="127996"/>
                    <a:pt x="72849" y="127996"/>
                  </a:cubicBezTo>
                  <a:close/>
                </a:path>
              </a:pathLst>
            </a:custGeom>
            <a:grpFill/>
            <a:ln w="1172" cap="flat">
              <a:noFill/>
              <a:prstDash val="solid"/>
              <a:miter/>
            </a:ln>
          </p:spPr>
          <p:txBody>
            <a:bodyPr rtlCol="0" anchor="ctr"/>
            <a:lstStyle/>
            <a:p>
              <a:endParaRPr lang="en-US" sz="700"/>
            </a:p>
          </p:txBody>
        </p:sp>
        <p:sp>
          <p:nvSpPr>
            <p:cNvPr id="26" name="Freeform 359">
              <a:extLst>
                <a:ext uri="{FF2B5EF4-FFF2-40B4-BE49-F238E27FC236}">
                  <a16:creationId xmlns:a16="http://schemas.microsoft.com/office/drawing/2014/main" id="{48A2D496-402B-701D-C1AF-CEB2B9DE0DB7}"/>
                </a:ext>
              </a:extLst>
            </p:cNvPr>
            <p:cNvSpPr/>
            <p:nvPr/>
          </p:nvSpPr>
          <p:spPr>
            <a:xfrm>
              <a:off x="9208290" y="5803680"/>
              <a:ext cx="145786" cy="145786"/>
            </a:xfrm>
            <a:custGeom>
              <a:avLst/>
              <a:gdLst>
                <a:gd name="connsiteX0" fmla="*/ 145786 w 145786"/>
                <a:gd name="connsiteY0" fmla="*/ 72849 h 145786"/>
                <a:gd name="connsiteX1" fmla="*/ 72937 w 145786"/>
                <a:gd name="connsiteY1" fmla="*/ 145786 h 145786"/>
                <a:gd name="connsiteX2" fmla="*/ 0 w 145786"/>
                <a:gd name="connsiteY2" fmla="*/ 72849 h 145786"/>
                <a:gd name="connsiteX3" fmla="*/ 72937 w 145786"/>
                <a:gd name="connsiteY3" fmla="*/ 0 h 145786"/>
                <a:gd name="connsiteX4" fmla="*/ 145786 w 145786"/>
                <a:gd name="connsiteY4" fmla="*/ 72849 h 145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786" h="145786">
                  <a:moveTo>
                    <a:pt x="145786" y="72849"/>
                  </a:moveTo>
                  <a:cubicBezTo>
                    <a:pt x="145786" y="113054"/>
                    <a:pt x="113142" y="145786"/>
                    <a:pt x="72937" y="145786"/>
                  </a:cubicBezTo>
                  <a:cubicBezTo>
                    <a:pt x="32732" y="145786"/>
                    <a:pt x="0" y="113053"/>
                    <a:pt x="0" y="72849"/>
                  </a:cubicBezTo>
                  <a:cubicBezTo>
                    <a:pt x="0" y="32645"/>
                    <a:pt x="32733" y="0"/>
                    <a:pt x="72937" y="0"/>
                  </a:cubicBezTo>
                  <a:cubicBezTo>
                    <a:pt x="113142" y="0"/>
                    <a:pt x="145786" y="32643"/>
                    <a:pt x="145786" y="72849"/>
                  </a:cubicBezTo>
                  <a:close/>
                </a:path>
              </a:pathLst>
            </a:custGeom>
            <a:solidFill>
              <a:schemeClr val="bg1"/>
            </a:solidFill>
            <a:ln w="1172" cap="flat">
              <a:noFill/>
              <a:prstDash val="solid"/>
              <a:miter/>
            </a:ln>
          </p:spPr>
          <p:txBody>
            <a:bodyPr rtlCol="0" anchor="ctr"/>
            <a:lstStyle/>
            <a:p>
              <a:endParaRPr lang="en-US" sz="700"/>
            </a:p>
          </p:txBody>
        </p:sp>
        <p:sp>
          <p:nvSpPr>
            <p:cNvPr id="27" name="Freeform 360">
              <a:extLst>
                <a:ext uri="{FF2B5EF4-FFF2-40B4-BE49-F238E27FC236}">
                  <a16:creationId xmlns:a16="http://schemas.microsoft.com/office/drawing/2014/main" id="{5F075E2C-24C4-1AB1-DD20-8363646CE8BB}"/>
                </a:ext>
              </a:extLst>
            </p:cNvPr>
            <p:cNvSpPr/>
            <p:nvPr/>
          </p:nvSpPr>
          <p:spPr>
            <a:xfrm>
              <a:off x="9419987" y="5803680"/>
              <a:ext cx="145874" cy="145786"/>
            </a:xfrm>
            <a:custGeom>
              <a:avLst/>
              <a:gdLst>
                <a:gd name="connsiteX0" fmla="*/ 72937 w 145874"/>
                <a:gd name="connsiteY0" fmla="*/ 0 h 145786"/>
                <a:gd name="connsiteX1" fmla="*/ 0 w 145874"/>
                <a:gd name="connsiteY1" fmla="*/ 72849 h 145786"/>
                <a:gd name="connsiteX2" fmla="*/ 72937 w 145874"/>
                <a:gd name="connsiteY2" fmla="*/ 145786 h 145786"/>
                <a:gd name="connsiteX3" fmla="*/ 145875 w 145874"/>
                <a:gd name="connsiteY3" fmla="*/ 72849 h 145786"/>
                <a:gd name="connsiteX4" fmla="*/ 72937 w 145874"/>
                <a:gd name="connsiteY4" fmla="*/ 0 h 145786"/>
                <a:gd name="connsiteX5" fmla="*/ 72937 w 145874"/>
                <a:gd name="connsiteY5" fmla="*/ 127996 h 145786"/>
                <a:gd name="connsiteX6" fmla="*/ 17789 w 145874"/>
                <a:gd name="connsiteY6" fmla="*/ 72848 h 145786"/>
                <a:gd name="connsiteX7" fmla="*/ 72937 w 145874"/>
                <a:gd name="connsiteY7" fmla="*/ 17789 h 145786"/>
                <a:gd name="connsiteX8" fmla="*/ 128086 w 145874"/>
                <a:gd name="connsiteY8" fmla="*/ 72848 h 145786"/>
                <a:gd name="connsiteX9" fmla="*/ 72937 w 145874"/>
                <a:gd name="connsiteY9" fmla="*/ 127996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874" h="145786">
                  <a:moveTo>
                    <a:pt x="72937" y="0"/>
                  </a:moveTo>
                  <a:cubicBezTo>
                    <a:pt x="32732" y="0"/>
                    <a:pt x="0" y="32643"/>
                    <a:pt x="0" y="72849"/>
                  </a:cubicBezTo>
                  <a:cubicBezTo>
                    <a:pt x="0" y="113054"/>
                    <a:pt x="32733" y="145786"/>
                    <a:pt x="72937" y="145786"/>
                  </a:cubicBezTo>
                  <a:cubicBezTo>
                    <a:pt x="113142" y="145786"/>
                    <a:pt x="145875" y="113053"/>
                    <a:pt x="145875" y="72849"/>
                  </a:cubicBezTo>
                  <a:cubicBezTo>
                    <a:pt x="145875" y="32645"/>
                    <a:pt x="113143" y="0"/>
                    <a:pt x="72937" y="0"/>
                  </a:cubicBezTo>
                  <a:close/>
                  <a:moveTo>
                    <a:pt x="72937" y="127996"/>
                  </a:moveTo>
                  <a:cubicBezTo>
                    <a:pt x="42517" y="127996"/>
                    <a:pt x="17789" y="103268"/>
                    <a:pt x="17789" y="72848"/>
                  </a:cubicBezTo>
                  <a:cubicBezTo>
                    <a:pt x="17789" y="42516"/>
                    <a:pt x="42517" y="17789"/>
                    <a:pt x="72937" y="17789"/>
                  </a:cubicBezTo>
                  <a:cubicBezTo>
                    <a:pt x="103358" y="17789"/>
                    <a:pt x="128086" y="42517"/>
                    <a:pt x="128086" y="72848"/>
                  </a:cubicBezTo>
                  <a:cubicBezTo>
                    <a:pt x="128086" y="103268"/>
                    <a:pt x="103358" y="127996"/>
                    <a:pt x="72937" y="127996"/>
                  </a:cubicBezTo>
                  <a:close/>
                </a:path>
              </a:pathLst>
            </a:custGeom>
            <a:grpFill/>
            <a:ln w="1172" cap="flat">
              <a:noFill/>
              <a:prstDash val="solid"/>
              <a:miter/>
            </a:ln>
          </p:spPr>
          <p:txBody>
            <a:bodyPr rtlCol="0" anchor="ctr"/>
            <a:lstStyle/>
            <a:p>
              <a:endParaRPr lang="en-US" sz="700"/>
            </a:p>
          </p:txBody>
        </p:sp>
        <p:sp>
          <p:nvSpPr>
            <p:cNvPr id="28" name="Freeform 361">
              <a:extLst>
                <a:ext uri="{FF2B5EF4-FFF2-40B4-BE49-F238E27FC236}">
                  <a16:creationId xmlns:a16="http://schemas.microsoft.com/office/drawing/2014/main" id="{A93A53B1-8A70-B2EF-2833-62FF2F0A9A39}"/>
                </a:ext>
              </a:extLst>
            </p:cNvPr>
            <p:cNvSpPr/>
            <p:nvPr/>
          </p:nvSpPr>
          <p:spPr>
            <a:xfrm>
              <a:off x="8996593" y="6015377"/>
              <a:ext cx="145786" cy="145786"/>
            </a:xfrm>
            <a:custGeom>
              <a:avLst/>
              <a:gdLst>
                <a:gd name="connsiteX0" fmla="*/ 72849 w 145786"/>
                <a:gd name="connsiteY0" fmla="*/ 0 h 145786"/>
                <a:gd name="connsiteX1" fmla="*/ 0 w 145786"/>
                <a:gd name="connsiteY1" fmla="*/ 72937 h 145786"/>
                <a:gd name="connsiteX2" fmla="*/ 72849 w 145786"/>
                <a:gd name="connsiteY2" fmla="*/ 145786 h 145786"/>
                <a:gd name="connsiteX3" fmla="*/ 145786 w 145786"/>
                <a:gd name="connsiteY3" fmla="*/ 72937 h 145786"/>
                <a:gd name="connsiteX4" fmla="*/ 72849 w 145786"/>
                <a:gd name="connsiteY4" fmla="*/ 0 h 145786"/>
                <a:gd name="connsiteX5" fmla="*/ 72849 w 145786"/>
                <a:gd name="connsiteY5" fmla="*/ 127997 h 145786"/>
                <a:gd name="connsiteX6" fmla="*/ 17790 w 145786"/>
                <a:gd name="connsiteY6" fmla="*/ 72939 h 145786"/>
                <a:gd name="connsiteX7" fmla="*/ 72849 w 145786"/>
                <a:gd name="connsiteY7" fmla="*/ 17790 h 145786"/>
                <a:gd name="connsiteX8" fmla="*/ 127996 w 145786"/>
                <a:gd name="connsiteY8" fmla="*/ 72939 h 145786"/>
                <a:gd name="connsiteX9" fmla="*/ 72849 w 145786"/>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849" y="0"/>
                  </a:moveTo>
                  <a:cubicBezTo>
                    <a:pt x="32643" y="0"/>
                    <a:pt x="0" y="32733"/>
                    <a:pt x="0" y="72937"/>
                  </a:cubicBezTo>
                  <a:cubicBezTo>
                    <a:pt x="0" y="113142"/>
                    <a:pt x="32643" y="145786"/>
                    <a:pt x="72849" y="145786"/>
                  </a:cubicBezTo>
                  <a:cubicBezTo>
                    <a:pt x="113053" y="145786"/>
                    <a:pt x="145786" y="113143"/>
                    <a:pt x="145786" y="72937"/>
                  </a:cubicBezTo>
                  <a:cubicBezTo>
                    <a:pt x="145786" y="32732"/>
                    <a:pt x="113053" y="0"/>
                    <a:pt x="72849" y="0"/>
                  </a:cubicBezTo>
                  <a:close/>
                  <a:moveTo>
                    <a:pt x="72849" y="127997"/>
                  </a:moveTo>
                  <a:cubicBezTo>
                    <a:pt x="42517" y="127997"/>
                    <a:pt x="17790" y="103269"/>
                    <a:pt x="17790" y="72939"/>
                  </a:cubicBezTo>
                  <a:cubicBezTo>
                    <a:pt x="17790" y="42518"/>
                    <a:pt x="42518" y="17790"/>
                    <a:pt x="72849" y="17790"/>
                  </a:cubicBezTo>
                  <a:cubicBezTo>
                    <a:pt x="103269" y="17790"/>
                    <a:pt x="127996" y="42518"/>
                    <a:pt x="127996" y="72939"/>
                  </a:cubicBezTo>
                  <a:cubicBezTo>
                    <a:pt x="127996" y="103268"/>
                    <a:pt x="103268" y="127997"/>
                    <a:pt x="72849" y="127997"/>
                  </a:cubicBezTo>
                  <a:close/>
                </a:path>
              </a:pathLst>
            </a:custGeom>
            <a:grpFill/>
            <a:ln w="1172" cap="flat">
              <a:noFill/>
              <a:prstDash val="solid"/>
              <a:miter/>
            </a:ln>
          </p:spPr>
          <p:txBody>
            <a:bodyPr rtlCol="0" anchor="ctr"/>
            <a:lstStyle/>
            <a:p>
              <a:endParaRPr lang="en-US" sz="700"/>
            </a:p>
          </p:txBody>
        </p:sp>
        <p:sp>
          <p:nvSpPr>
            <p:cNvPr id="29" name="Freeform 362">
              <a:extLst>
                <a:ext uri="{FF2B5EF4-FFF2-40B4-BE49-F238E27FC236}">
                  <a16:creationId xmlns:a16="http://schemas.microsoft.com/office/drawing/2014/main" id="{F5A4F8C6-E0C9-3380-2CA5-EA19B558E470}"/>
                </a:ext>
              </a:extLst>
            </p:cNvPr>
            <p:cNvSpPr/>
            <p:nvPr/>
          </p:nvSpPr>
          <p:spPr>
            <a:xfrm>
              <a:off x="9208290" y="6015377"/>
              <a:ext cx="145786" cy="145786"/>
            </a:xfrm>
            <a:custGeom>
              <a:avLst/>
              <a:gdLst>
                <a:gd name="connsiteX0" fmla="*/ 72937 w 145786"/>
                <a:gd name="connsiteY0" fmla="*/ 0 h 145786"/>
                <a:gd name="connsiteX1" fmla="*/ 0 w 145786"/>
                <a:gd name="connsiteY1" fmla="*/ 72937 h 145786"/>
                <a:gd name="connsiteX2" fmla="*/ 72937 w 145786"/>
                <a:gd name="connsiteY2" fmla="*/ 145786 h 145786"/>
                <a:gd name="connsiteX3" fmla="*/ 145786 w 145786"/>
                <a:gd name="connsiteY3" fmla="*/ 72937 h 145786"/>
                <a:gd name="connsiteX4" fmla="*/ 72937 w 145786"/>
                <a:gd name="connsiteY4" fmla="*/ 0 h 145786"/>
                <a:gd name="connsiteX5" fmla="*/ 72937 w 145786"/>
                <a:gd name="connsiteY5" fmla="*/ 127997 h 145786"/>
                <a:gd name="connsiteX6" fmla="*/ 17789 w 145786"/>
                <a:gd name="connsiteY6" fmla="*/ 72939 h 145786"/>
                <a:gd name="connsiteX7" fmla="*/ 72937 w 145786"/>
                <a:gd name="connsiteY7" fmla="*/ 17790 h 145786"/>
                <a:gd name="connsiteX8" fmla="*/ 127996 w 145786"/>
                <a:gd name="connsiteY8" fmla="*/ 72939 h 145786"/>
                <a:gd name="connsiteX9" fmla="*/ 72937 w 145786"/>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937" y="0"/>
                  </a:moveTo>
                  <a:cubicBezTo>
                    <a:pt x="32732" y="0"/>
                    <a:pt x="0" y="32733"/>
                    <a:pt x="0" y="72937"/>
                  </a:cubicBezTo>
                  <a:cubicBezTo>
                    <a:pt x="0" y="113142"/>
                    <a:pt x="32733" y="145786"/>
                    <a:pt x="72937" y="145786"/>
                  </a:cubicBezTo>
                  <a:cubicBezTo>
                    <a:pt x="113142" y="145786"/>
                    <a:pt x="145786" y="113143"/>
                    <a:pt x="145786" y="72937"/>
                  </a:cubicBezTo>
                  <a:cubicBezTo>
                    <a:pt x="145786" y="32732"/>
                    <a:pt x="113142" y="0"/>
                    <a:pt x="72937" y="0"/>
                  </a:cubicBezTo>
                  <a:close/>
                  <a:moveTo>
                    <a:pt x="72937" y="127997"/>
                  </a:moveTo>
                  <a:cubicBezTo>
                    <a:pt x="42517" y="127997"/>
                    <a:pt x="17789" y="103269"/>
                    <a:pt x="17789" y="72939"/>
                  </a:cubicBezTo>
                  <a:cubicBezTo>
                    <a:pt x="17789" y="42518"/>
                    <a:pt x="42517" y="17790"/>
                    <a:pt x="72937" y="17790"/>
                  </a:cubicBezTo>
                  <a:cubicBezTo>
                    <a:pt x="103268" y="17790"/>
                    <a:pt x="127996" y="42518"/>
                    <a:pt x="127996" y="72939"/>
                  </a:cubicBezTo>
                  <a:cubicBezTo>
                    <a:pt x="127996" y="103268"/>
                    <a:pt x="103268" y="127997"/>
                    <a:pt x="72937" y="127997"/>
                  </a:cubicBezTo>
                  <a:close/>
                </a:path>
              </a:pathLst>
            </a:custGeom>
            <a:grpFill/>
            <a:ln w="1172" cap="flat">
              <a:noFill/>
              <a:prstDash val="solid"/>
              <a:miter/>
            </a:ln>
          </p:spPr>
          <p:txBody>
            <a:bodyPr rtlCol="0" anchor="ctr"/>
            <a:lstStyle/>
            <a:p>
              <a:endParaRPr lang="en-US" sz="700"/>
            </a:p>
          </p:txBody>
        </p:sp>
        <p:sp>
          <p:nvSpPr>
            <p:cNvPr id="30" name="Freeform 363">
              <a:extLst>
                <a:ext uri="{FF2B5EF4-FFF2-40B4-BE49-F238E27FC236}">
                  <a16:creationId xmlns:a16="http://schemas.microsoft.com/office/drawing/2014/main" id="{2F6F9C5E-8A11-F576-1C17-29C16F7001AE}"/>
                </a:ext>
              </a:extLst>
            </p:cNvPr>
            <p:cNvSpPr/>
            <p:nvPr/>
          </p:nvSpPr>
          <p:spPr>
            <a:xfrm>
              <a:off x="9419988" y="6015377"/>
              <a:ext cx="145874" cy="145786"/>
            </a:xfrm>
            <a:custGeom>
              <a:avLst/>
              <a:gdLst>
                <a:gd name="connsiteX0" fmla="*/ 145875 w 145874"/>
                <a:gd name="connsiteY0" fmla="*/ 72937 h 145786"/>
                <a:gd name="connsiteX1" fmla="*/ 72937 w 145874"/>
                <a:gd name="connsiteY1" fmla="*/ 145786 h 145786"/>
                <a:gd name="connsiteX2" fmla="*/ 0 w 145874"/>
                <a:gd name="connsiteY2" fmla="*/ 72937 h 145786"/>
                <a:gd name="connsiteX3" fmla="*/ 72937 w 145874"/>
                <a:gd name="connsiteY3" fmla="*/ 0 h 145786"/>
                <a:gd name="connsiteX4" fmla="*/ 145875 w 145874"/>
                <a:gd name="connsiteY4" fmla="*/ 72937 h 145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874" h="145786">
                  <a:moveTo>
                    <a:pt x="145875" y="72937"/>
                  </a:moveTo>
                  <a:cubicBezTo>
                    <a:pt x="145875" y="113143"/>
                    <a:pt x="113142" y="145786"/>
                    <a:pt x="72937" y="145786"/>
                  </a:cubicBezTo>
                  <a:cubicBezTo>
                    <a:pt x="32733" y="145786"/>
                    <a:pt x="0" y="113143"/>
                    <a:pt x="0" y="72937"/>
                  </a:cubicBezTo>
                  <a:cubicBezTo>
                    <a:pt x="0" y="32732"/>
                    <a:pt x="32733" y="0"/>
                    <a:pt x="72937" y="0"/>
                  </a:cubicBezTo>
                  <a:cubicBezTo>
                    <a:pt x="113142" y="0"/>
                    <a:pt x="145875" y="32733"/>
                    <a:pt x="145875" y="72937"/>
                  </a:cubicBezTo>
                  <a:close/>
                </a:path>
              </a:pathLst>
            </a:custGeom>
            <a:solidFill>
              <a:schemeClr val="accent1"/>
            </a:solidFill>
            <a:ln w="1172" cap="flat">
              <a:noFill/>
              <a:prstDash val="solid"/>
              <a:miter/>
            </a:ln>
          </p:spPr>
          <p:txBody>
            <a:bodyPr rtlCol="0" anchor="ctr"/>
            <a:lstStyle/>
            <a:p>
              <a:endParaRPr lang="en-US" sz="700"/>
            </a:p>
          </p:txBody>
        </p:sp>
      </p:grpSp>
      <p:grpSp>
        <p:nvGrpSpPr>
          <p:cNvPr id="897" name="Group 896">
            <a:extLst>
              <a:ext uri="{FF2B5EF4-FFF2-40B4-BE49-F238E27FC236}">
                <a16:creationId xmlns:a16="http://schemas.microsoft.com/office/drawing/2014/main" id="{DCAEBD00-1AF0-2D76-9186-914F9D3FA06F}"/>
              </a:ext>
            </a:extLst>
          </p:cNvPr>
          <p:cNvGrpSpPr/>
          <p:nvPr/>
        </p:nvGrpSpPr>
        <p:grpSpPr>
          <a:xfrm>
            <a:off x="1299440" y="1489161"/>
            <a:ext cx="3482874" cy="3379695"/>
            <a:chOff x="1299440" y="1994305"/>
            <a:chExt cx="3482874" cy="3379695"/>
          </a:xfrm>
        </p:grpSpPr>
        <p:grpSp>
          <p:nvGrpSpPr>
            <p:cNvPr id="301" name="Group 300">
              <a:extLst>
                <a:ext uri="{FF2B5EF4-FFF2-40B4-BE49-F238E27FC236}">
                  <a16:creationId xmlns:a16="http://schemas.microsoft.com/office/drawing/2014/main" id="{AACBBFF9-8852-9A62-174B-10F51414197A}"/>
                </a:ext>
              </a:extLst>
            </p:cNvPr>
            <p:cNvGrpSpPr/>
            <p:nvPr/>
          </p:nvGrpSpPr>
          <p:grpSpPr>
            <a:xfrm>
              <a:off x="1582294" y="2190627"/>
              <a:ext cx="3049053" cy="2657305"/>
              <a:chOff x="6177223" y="6812400"/>
              <a:chExt cx="1355135" cy="1181024"/>
            </a:xfrm>
          </p:grpSpPr>
          <p:grpSp>
            <p:nvGrpSpPr>
              <p:cNvPr id="302" name="Group 301">
                <a:extLst>
                  <a:ext uri="{FF2B5EF4-FFF2-40B4-BE49-F238E27FC236}">
                    <a16:creationId xmlns:a16="http://schemas.microsoft.com/office/drawing/2014/main" id="{F9919255-DCC8-F50A-4535-C5F7E7AD667C}"/>
                  </a:ext>
                </a:extLst>
              </p:cNvPr>
              <p:cNvGrpSpPr/>
              <p:nvPr/>
            </p:nvGrpSpPr>
            <p:grpSpPr>
              <a:xfrm>
                <a:off x="6273078" y="7919558"/>
                <a:ext cx="1259280" cy="73866"/>
                <a:chOff x="6273078" y="7919558"/>
                <a:chExt cx="1259280" cy="73866"/>
              </a:xfrm>
            </p:grpSpPr>
            <p:sp>
              <p:nvSpPr>
                <p:cNvPr id="311" name="Rectangle 562">
                  <a:extLst>
                    <a:ext uri="{FF2B5EF4-FFF2-40B4-BE49-F238E27FC236}">
                      <a16:creationId xmlns:a16="http://schemas.microsoft.com/office/drawing/2014/main" id="{C66EAA78-AE79-95C0-9170-639CFD53F696}"/>
                    </a:ext>
                  </a:extLst>
                </p:cNvPr>
                <p:cNvSpPr>
                  <a:spLocks noChangeArrowheads="1"/>
                </p:cNvSpPr>
                <p:nvPr/>
              </p:nvSpPr>
              <p:spPr bwMode="auto">
                <a:xfrm>
                  <a:off x="6273078" y="7919558"/>
                  <a:ext cx="209032"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595959"/>
                      </a:solidFill>
                      <a:latin typeface="Calibri" panose="020F0502020204030204"/>
                    </a:rPr>
                    <a:t>Baseline</a:t>
                  </a:r>
                </a:p>
              </p:txBody>
            </p:sp>
            <p:sp>
              <p:nvSpPr>
                <p:cNvPr id="312" name="Rectangle 563">
                  <a:extLst>
                    <a:ext uri="{FF2B5EF4-FFF2-40B4-BE49-F238E27FC236}">
                      <a16:creationId xmlns:a16="http://schemas.microsoft.com/office/drawing/2014/main" id="{E6DD6A89-6328-FD2C-8CDB-673A2DC4305E}"/>
                    </a:ext>
                  </a:extLst>
                </p:cNvPr>
                <p:cNvSpPr>
                  <a:spLocks noChangeArrowheads="1"/>
                </p:cNvSpPr>
                <p:nvPr/>
              </p:nvSpPr>
              <p:spPr bwMode="auto">
                <a:xfrm>
                  <a:off x="6546760" y="7919558"/>
                  <a:ext cx="31419"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4</a:t>
                  </a:r>
                </a:p>
              </p:txBody>
            </p:sp>
            <p:sp>
              <p:nvSpPr>
                <p:cNvPr id="313" name="Rectangle 564">
                  <a:extLst>
                    <a:ext uri="{FF2B5EF4-FFF2-40B4-BE49-F238E27FC236}">
                      <a16:creationId xmlns:a16="http://schemas.microsoft.com/office/drawing/2014/main" id="{0219B091-0AFF-4D40-6F19-1E6333715BB5}"/>
                    </a:ext>
                  </a:extLst>
                </p:cNvPr>
                <p:cNvSpPr>
                  <a:spLocks noChangeArrowheads="1"/>
                </p:cNvSpPr>
                <p:nvPr/>
              </p:nvSpPr>
              <p:spPr bwMode="auto">
                <a:xfrm>
                  <a:off x="6734454" y="7919558"/>
                  <a:ext cx="31419"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8</a:t>
                  </a:r>
                </a:p>
              </p:txBody>
            </p:sp>
            <p:sp>
              <p:nvSpPr>
                <p:cNvPr id="314" name="Rectangle 565">
                  <a:extLst>
                    <a:ext uri="{FF2B5EF4-FFF2-40B4-BE49-F238E27FC236}">
                      <a16:creationId xmlns:a16="http://schemas.microsoft.com/office/drawing/2014/main" id="{28BCD29A-2168-2FAA-9F95-613AB685B0DE}"/>
                    </a:ext>
                  </a:extLst>
                </p:cNvPr>
                <p:cNvSpPr>
                  <a:spLocks noChangeArrowheads="1"/>
                </p:cNvSpPr>
                <p:nvPr/>
              </p:nvSpPr>
              <p:spPr bwMode="auto">
                <a:xfrm>
                  <a:off x="6906438" y="7919558"/>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12</a:t>
                  </a:r>
                </a:p>
              </p:txBody>
            </p:sp>
            <p:sp>
              <p:nvSpPr>
                <p:cNvPr id="315" name="Rectangle 566">
                  <a:extLst>
                    <a:ext uri="{FF2B5EF4-FFF2-40B4-BE49-F238E27FC236}">
                      <a16:creationId xmlns:a16="http://schemas.microsoft.com/office/drawing/2014/main" id="{42BB835C-2354-0225-9D42-BDD3EF577928}"/>
                    </a:ext>
                  </a:extLst>
                </p:cNvPr>
                <p:cNvSpPr>
                  <a:spLocks noChangeArrowheads="1"/>
                </p:cNvSpPr>
                <p:nvPr/>
              </p:nvSpPr>
              <p:spPr bwMode="auto">
                <a:xfrm>
                  <a:off x="7094132" y="7919558"/>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16</a:t>
                  </a:r>
                </a:p>
              </p:txBody>
            </p:sp>
            <p:sp>
              <p:nvSpPr>
                <p:cNvPr id="316" name="Rectangle 567">
                  <a:extLst>
                    <a:ext uri="{FF2B5EF4-FFF2-40B4-BE49-F238E27FC236}">
                      <a16:creationId xmlns:a16="http://schemas.microsoft.com/office/drawing/2014/main" id="{DB6E3FFA-F5CE-7EFF-19F0-35752864A3C2}"/>
                    </a:ext>
                  </a:extLst>
                </p:cNvPr>
                <p:cNvSpPr>
                  <a:spLocks noChangeArrowheads="1"/>
                </p:cNvSpPr>
                <p:nvPr/>
              </p:nvSpPr>
              <p:spPr bwMode="auto">
                <a:xfrm>
                  <a:off x="7281826" y="7919558"/>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20</a:t>
                  </a:r>
                </a:p>
              </p:txBody>
            </p:sp>
            <p:sp>
              <p:nvSpPr>
                <p:cNvPr id="317" name="Rectangle 568">
                  <a:extLst>
                    <a:ext uri="{FF2B5EF4-FFF2-40B4-BE49-F238E27FC236}">
                      <a16:creationId xmlns:a16="http://schemas.microsoft.com/office/drawing/2014/main" id="{A6070A02-4EEC-E1FD-35A7-C367CE2990AC}"/>
                    </a:ext>
                  </a:extLst>
                </p:cNvPr>
                <p:cNvSpPr>
                  <a:spLocks noChangeArrowheads="1"/>
                </p:cNvSpPr>
                <p:nvPr/>
              </p:nvSpPr>
              <p:spPr bwMode="auto">
                <a:xfrm>
                  <a:off x="7469520" y="7919558"/>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24</a:t>
                  </a:r>
                </a:p>
              </p:txBody>
            </p:sp>
          </p:grpSp>
          <p:grpSp>
            <p:nvGrpSpPr>
              <p:cNvPr id="303" name="Group 302">
                <a:extLst>
                  <a:ext uri="{FF2B5EF4-FFF2-40B4-BE49-F238E27FC236}">
                    <a16:creationId xmlns:a16="http://schemas.microsoft.com/office/drawing/2014/main" id="{7CC2B1AE-A7C4-27C3-C9C7-768C408A835B}"/>
                  </a:ext>
                </a:extLst>
              </p:cNvPr>
              <p:cNvGrpSpPr/>
              <p:nvPr/>
            </p:nvGrpSpPr>
            <p:grpSpPr>
              <a:xfrm>
                <a:off x="6177223" y="6812400"/>
                <a:ext cx="64999" cy="1113987"/>
                <a:chOff x="6177223" y="6812400"/>
                <a:chExt cx="64999" cy="1113987"/>
              </a:xfrm>
            </p:grpSpPr>
            <p:sp>
              <p:nvSpPr>
                <p:cNvPr id="304" name="Rectangle 570">
                  <a:extLst>
                    <a:ext uri="{FF2B5EF4-FFF2-40B4-BE49-F238E27FC236}">
                      <a16:creationId xmlns:a16="http://schemas.microsoft.com/office/drawing/2014/main" id="{730B3581-DBA6-4DCC-BC74-532A4E4BFDC3}"/>
                    </a:ext>
                  </a:extLst>
                </p:cNvPr>
                <p:cNvSpPr>
                  <a:spLocks noChangeArrowheads="1"/>
                </p:cNvSpPr>
                <p:nvPr/>
              </p:nvSpPr>
              <p:spPr bwMode="auto">
                <a:xfrm>
                  <a:off x="6210803" y="7852521"/>
                  <a:ext cx="31419"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595959"/>
                      </a:solidFill>
                      <a:latin typeface="Calibri" panose="020F0502020204030204"/>
                    </a:rPr>
                    <a:t>0</a:t>
                  </a:r>
                </a:p>
              </p:txBody>
            </p:sp>
            <p:sp>
              <p:nvSpPr>
                <p:cNvPr id="305" name="Rectangle 571">
                  <a:extLst>
                    <a:ext uri="{FF2B5EF4-FFF2-40B4-BE49-F238E27FC236}">
                      <a16:creationId xmlns:a16="http://schemas.microsoft.com/office/drawing/2014/main" id="{2BCF4FA6-0E42-1EB1-1C5F-BDD396975AEC}"/>
                    </a:ext>
                  </a:extLst>
                </p:cNvPr>
                <p:cNvSpPr>
                  <a:spLocks noChangeArrowheads="1"/>
                </p:cNvSpPr>
                <p:nvPr/>
              </p:nvSpPr>
              <p:spPr bwMode="auto">
                <a:xfrm>
                  <a:off x="6206077" y="7675678"/>
                  <a:ext cx="31419"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595959"/>
                      </a:solidFill>
                      <a:latin typeface="Calibri" panose="020F0502020204030204"/>
                    </a:rPr>
                    <a:t>3</a:t>
                  </a:r>
                </a:p>
              </p:txBody>
            </p:sp>
            <p:sp>
              <p:nvSpPr>
                <p:cNvPr id="306" name="Rectangle 572">
                  <a:extLst>
                    <a:ext uri="{FF2B5EF4-FFF2-40B4-BE49-F238E27FC236}">
                      <a16:creationId xmlns:a16="http://schemas.microsoft.com/office/drawing/2014/main" id="{4B6A9938-8DBA-6EC9-918B-D48A4B7DE03B}"/>
                    </a:ext>
                  </a:extLst>
                </p:cNvPr>
                <p:cNvSpPr>
                  <a:spLocks noChangeArrowheads="1"/>
                </p:cNvSpPr>
                <p:nvPr/>
              </p:nvSpPr>
              <p:spPr bwMode="auto">
                <a:xfrm>
                  <a:off x="6206077" y="7502215"/>
                  <a:ext cx="31419"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595959"/>
                      </a:solidFill>
                      <a:latin typeface="Calibri" panose="020F0502020204030204"/>
                    </a:rPr>
                    <a:t>6</a:t>
                  </a:r>
                </a:p>
              </p:txBody>
            </p:sp>
            <p:sp>
              <p:nvSpPr>
                <p:cNvPr id="307" name="Rectangle 573">
                  <a:extLst>
                    <a:ext uri="{FF2B5EF4-FFF2-40B4-BE49-F238E27FC236}">
                      <a16:creationId xmlns:a16="http://schemas.microsoft.com/office/drawing/2014/main" id="{78153ECC-1575-1186-3322-8858E1A98B37}"/>
                    </a:ext>
                  </a:extLst>
                </p:cNvPr>
                <p:cNvSpPr>
                  <a:spLocks noChangeArrowheads="1"/>
                </p:cNvSpPr>
                <p:nvPr/>
              </p:nvSpPr>
              <p:spPr bwMode="auto">
                <a:xfrm>
                  <a:off x="6206077" y="7330098"/>
                  <a:ext cx="31419"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595959"/>
                      </a:solidFill>
                      <a:latin typeface="Calibri" panose="020F0502020204030204"/>
                    </a:rPr>
                    <a:t>9</a:t>
                  </a:r>
                </a:p>
              </p:txBody>
            </p:sp>
            <p:sp>
              <p:nvSpPr>
                <p:cNvPr id="308" name="Rectangle 574">
                  <a:extLst>
                    <a:ext uri="{FF2B5EF4-FFF2-40B4-BE49-F238E27FC236}">
                      <a16:creationId xmlns:a16="http://schemas.microsoft.com/office/drawing/2014/main" id="{CCF7C951-1695-4228-8A00-23194D522BD1}"/>
                    </a:ext>
                  </a:extLst>
                </p:cNvPr>
                <p:cNvSpPr>
                  <a:spLocks noChangeArrowheads="1"/>
                </p:cNvSpPr>
                <p:nvPr/>
              </p:nvSpPr>
              <p:spPr bwMode="auto">
                <a:xfrm>
                  <a:off x="6177223" y="7157980"/>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595959"/>
                      </a:solidFill>
                      <a:latin typeface="Calibri" panose="020F0502020204030204"/>
                    </a:rPr>
                    <a:t>12</a:t>
                  </a:r>
                </a:p>
              </p:txBody>
            </p:sp>
            <p:sp>
              <p:nvSpPr>
                <p:cNvPr id="309" name="Rectangle 575">
                  <a:extLst>
                    <a:ext uri="{FF2B5EF4-FFF2-40B4-BE49-F238E27FC236}">
                      <a16:creationId xmlns:a16="http://schemas.microsoft.com/office/drawing/2014/main" id="{432B5B7F-45B1-546E-53DF-D0AAC6E0F9AF}"/>
                    </a:ext>
                  </a:extLst>
                </p:cNvPr>
                <p:cNvSpPr>
                  <a:spLocks noChangeArrowheads="1"/>
                </p:cNvSpPr>
                <p:nvPr/>
              </p:nvSpPr>
              <p:spPr bwMode="auto">
                <a:xfrm>
                  <a:off x="6177223" y="6984518"/>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595959"/>
                      </a:solidFill>
                      <a:latin typeface="Calibri" panose="020F0502020204030204"/>
                    </a:rPr>
                    <a:t>15</a:t>
                  </a:r>
                </a:p>
              </p:txBody>
            </p:sp>
            <p:sp>
              <p:nvSpPr>
                <p:cNvPr id="310" name="Rectangle 576">
                  <a:extLst>
                    <a:ext uri="{FF2B5EF4-FFF2-40B4-BE49-F238E27FC236}">
                      <a16:creationId xmlns:a16="http://schemas.microsoft.com/office/drawing/2014/main" id="{7226151F-1961-704B-FD87-3961BD58900E}"/>
                    </a:ext>
                  </a:extLst>
                </p:cNvPr>
                <p:cNvSpPr>
                  <a:spLocks noChangeArrowheads="1"/>
                </p:cNvSpPr>
                <p:nvPr/>
              </p:nvSpPr>
              <p:spPr bwMode="auto">
                <a:xfrm>
                  <a:off x="6177223" y="6812400"/>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595959"/>
                      </a:solidFill>
                      <a:latin typeface="Calibri" panose="020F0502020204030204"/>
                    </a:rPr>
                    <a:t>18</a:t>
                  </a:r>
                </a:p>
              </p:txBody>
            </p:sp>
          </p:grpSp>
        </p:grpSp>
        <p:sp>
          <p:nvSpPr>
            <p:cNvPr id="318" name="Line 578">
              <a:extLst>
                <a:ext uri="{FF2B5EF4-FFF2-40B4-BE49-F238E27FC236}">
                  <a16:creationId xmlns:a16="http://schemas.microsoft.com/office/drawing/2014/main" id="{19A05C4B-FA17-AD8B-38A2-39916241E2FC}"/>
                </a:ext>
              </a:extLst>
            </p:cNvPr>
            <p:cNvSpPr>
              <a:spLocks noChangeShapeType="1"/>
            </p:cNvSpPr>
            <p:nvPr/>
          </p:nvSpPr>
          <p:spPr bwMode="auto">
            <a:xfrm flipH="1">
              <a:off x="1747730" y="4609118"/>
              <a:ext cx="60509" cy="0"/>
            </a:xfrm>
            <a:prstGeom prst="line">
              <a:avLst/>
            </a:prstGeom>
            <a:noFill/>
            <a:ln w="635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nvGrpSpPr>
            <p:cNvPr id="319" name="Group 318">
              <a:extLst>
                <a:ext uri="{FF2B5EF4-FFF2-40B4-BE49-F238E27FC236}">
                  <a16:creationId xmlns:a16="http://schemas.microsoft.com/office/drawing/2014/main" id="{5E89375B-C017-50A2-F09F-15ECBF4D1674}"/>
                </a:ext>
              </a:extLst>
            </p:cNvPr>
            <p:cNvGrpSpPr/>
            <p:nvPr/>
          </p:nvGrpSpPr>
          <p:grpSpPr>
            <a:xfrm>
              <a:off x="2020025" y="2969294"/>
              <a:ext cx="2568654" cy="1639825"/>
              <a:chOff x="6371769" y="7158475"/>
              <a:chExt cx="1141624" cy="728811"/>
            </a:xfrm>
          </p:grpSpPr>
          <p:sp>
            <p:nvSpPr>
              <p:cNvPr id="320" name="Freeform 579">
                <a:extLst>
                  <a:ext uri="{FF2B5EF4-FFF2-40B4-BE49-F238E27FC236}">
                    <a16:creationId xmlns:a16="http://schemas.microsoft.com/office/drawing/2014/main" id="{969026DA-2D2C-F856-0970-F3AD327FA48D}"/>
                  </a:ext>
                </a:extLst>
              </p:cNvPr>
              <p:cNvSpPr>
                <a:spLocks/>
              </p:cNvSpPr>
              <p:nvPr/>
            </p:nvSpPr>
            <p:spPr bwMode="auto">
              <a:xfrm>
                <a:off x="6371769" y="7255291"/>
                <a:ext cx="1130866" cy="631995"/>
              </a:xfrm>
              <a:custGeom>
                <a:avLst/>
                <a:gdLst>
                  <a:gd name="T0" fmla="*/ 0 w 841"/>
                  <a:gd name="T1" fmla="*/ 470 h 470"/>
                  <a:gd name="T2" fmla="*/ 0 w 841"/>
                  <a:gd name="T3" fmla="*/ 470 h 470"/>
                  <a:gd name="T4" fmla="*/ 0 w 841"/>
                  <a:gd name="T5" fmla="*/ 470 h 470"/>
                  <a:gd name="T6" fmla="*/ 140 w 841"/>
                  <a:gd name="T7" fmla="*/ 368 h 470"/>
                  <a:gd name="T8" fmla="*/ 140 w 841"/>
                  <a:gd name="T9" fmla="*/ 368 h 470"/>
                  <a:gd name="T10" fmla="*/ 280 w 841"/>
                  <a:gd name="T11" fmla="*/ 389 h 470"/>
                  <a:gd name="T12" fmla="*/ 280 w 841"/>
                  <a:gd name="T13" fmla="*/ 389 h 470"/>
                  <a:gd name="T14" fmla="*/ 420 w 841"/>
                  <a:gd name="T15" fmla="*/ 282 h 470"/>
                  <a:gd name="T16" fmla="*/ 420 w 841"/>
                  <a:gd name="T17" fmla="*/ 282 h 470"/>
                  <a:gd name="T18" fmla="*/ 560 w 841"/>
                  <a:gd name="T19" fmla="*/ 64 h 470"/>
                  <a:gd name="T20" fmla="*/ 560 w 841"/>
                  <a:gd name="T21" fmla="*/ 64 h 470"/>
                  <a:gd name="T22" fmla="*/ 701 w 841"/>
                  <a:gd name="T23" fmla="*/ 0 h 470"/>
                  <a:gd name="T24" fmla="*/ 701 w 841"/>
                  <a:gd name="T25" fmla="*/ 0 h 470"/>
                  <a:gd name="T26" fmla="*/ 841 w 841"/>
                  <a:gd name="T27" fmla="*/ 8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1" h="470">
                    <a:moveTo>
                      <a:pt x="0" y="470"/>
                    </a:moveTo>
                    <a:lnTo>
                      <a:pt x="0" y="470"/>
                    </a:lnTo>
                    <a:lnTo>
                      <a:pt x="0" y="470"/>
                    </a:lnTo>
                    <a:lnTo>
                      <a:pt x="140" y="368"/>
                    </a:lnTo>
                    <a:lnTo>
                      <a:pt x="140" y="368"/>
                    </a:lnTo>
                    <a:lnTo>
                      <a:pt x="280" y="389"/>
                    </a:lnTo>
                    <a:lnTo>
                      <a:pt x="280" y="389"/>
                    </a:lnTo>
                    <a:lnTo>
                      <a:pt x="420" y="282"/>
                    </a:lnTo>
                    <a:lnTo>
                      <a:pt x="420" y="282"/>
                    </a:lnTo>
                    <a:lnTo>
                      <a:pt x="560" y="64"/>
                    </a:lnTo>
                    <a:lnTo>
                      <a:pt x="560" y="64"/>
                    </a:lnTo>
                    <a:lnTo>
                      <a:pt x="701" y="0"/>
                    </a:lnTo>
                    <a:lnTo>
                      <a:pt x="701" y="0"/>
                    </a:lnTo>
                    <a:lnTo>
                      <a:pt x="841" y="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21" name="Line 580">
                <a:extLst>
                  <a:ext uri="{FF2B5EF4-FFF2-40B4-BE49-F238E27FC236}">
                    <a16:creationId xmlns:a16="http://schemas.microsoft.com/office/drawing/2014/main" id="{5E182BFA-69A5-A144-BB77-E22D10323D2A}"/>
                  </a:ext>
                </a:extLst>
              </p:cNvPr>
              <p:cNvSpPr>
                <a:spLocks noChangeShapeType="1"/>
              </p:cNvSpPr>
              <p:nvPr/>
            </p:nvSpPr>
            <p:spPr bwMode="auto">
              <a:xfrm>
                <a:off x="6560023" y="7681551"/>
                <a:ext cx="0" cy="68578"/>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22" name="Line 581">
                <a:extLst>
                  <a:ext uri="{FF2B5EF4-FFF2-40B4-BE49-F238E27FC236}">
                    <a16:creationId xmlns:a16="http://schemas.microsoft.com/office/drawing/2014/main" id="{CC1A9B6B-B0AD-FF89-1C53-F4B460D52651}"/>
                  </a:ext>
                </a:extLst>
              </p:cNvPr>
              <p:cNvSpPr>
                <a:spLocks noChangeShapeType="1"/>
              </p:cNvSpPr>
              <p:nvPr/>
            </p:nvSpPr>
            <p:spPr bwMode="auto">
              <a:xfrm>
                <a:off x="6560023" y="7750129"/>
                <a:ext cx="0" cy="68578"/>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23" name="Line 582">
                <a:extLst>
                  <a:ext uri="{FF2B5EF4-FFF2-40B4-BE49-F238E27FC236}">
                    <a16:creationId xmlns:a16="http://schemas.microsoft.com/office/drawing/2014/main" id="{6114D7C6-981C-3694-B3C8-94720D8A927D}"/>
                  </a:ext>
                </a:extLst>
              </p:cNvPr>
              <p:cNvSpPr>
                <a:spLocks noChangeShapeType="1"/>
              </p:cNvSpPr>
              <p:nvPr/>
            </p:nvSpPr>
            <p:spPr bwMode="auto">
              <a:xfrm>
                <a:off x="6549266" y="7681551"/>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24" name="Line 583">
                <a:extLst>
                  <a:ext uri="{FF2B5EF4-FFF2-40B4-BE49-F238E27FC236}">
                    <a16:creationId xmlns:a16="http://schemas.microsoft.com/office/drawing/2014/main" id="{E09C3ADF-6D78-098A-E4D5-55BBF4452F12}"/>
                  </a:ext>
                </a:extLst>
              </p:cNvPr>
              <p:cNvSpPr>
                <a:spLocks noChangeShapeType="1"/>
              </p:cNvSpPr>
              <p:nvPr/>
            </p:nvSpPr>
            <p:spPr bwMode="auto">
              <a:xfrm>
                <a:off x="6549266" y="7818708"/>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25" name="Line 584">
                <a:extLst>
                  <a:ext uri="{FF2B5EF4-FFF2-40B4-BE49-F238E27FC236}">
                    <a16:creationId xmlns:a16="http://schemas.microsoft.com/office/drawing/2014/main" id="{F138158C-82C5-553B-6D22-7ECD0437D669}"/>
                  </a:ext>
                </a:extLst>
              </p:cNvPr>
              <p:cNvSpPr>
                <a:spLocks noChangeShapeType="1"/>
              </p:cNvSpPr>
              <p:nvPr/>
            </p:nvSpPr>
            <p:spPr bwMode="auto">
              <a:xfrm>
                <a:off x="6748277" y="7674828"/>
                <a:ext cx="0" cy="10354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26" name="Line 585">
                <a:extLst>
                  <a:ext uri="{FF2B5EF4-FFF2-40B4-BE49-F238E27FC236}">
                    <a16:creationId xmlns:a16="http://schemas.microsoft.com/office/drawing/2014/main" id="{FC4F7679-068D-E828-B954-680262C6A591}"/>
                  </a:ext>
                </a:extLst>
              </p:cNvPr>
              <p:cNvSpPr>
                <a:spLocks noChangeShapeType="1"/>
              </p:cNvSpPr>
              <p:nvPr/>
            </p:nvSpPr>
            <p:spPr bwMode="auto">
              <a:xfrm>
                <a:off x="6748277" y="7778367"/>
                <a:ext cx="0" cy="10354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27" name="Line 586">
                <a:extLst>
                  <a:ext uri="{FF2B5EF4-FFF2-40B4-BE49-F238E27FC236}">
                    <a16:creationId xmlns:a16="http://schemas.microsoft.com/office/drawing/2014/main" id="{F2528183-A4B3-1144-948A-E091DED3A922}"/>
                  </a:ext>
                </a:extLst>
              </p:cNvPr>
              <p:cNvSpPr>
                <a:spLocks noChangeShapeType="1"/>
              </p:cNvSpPr>
              <p:nvPr/>
            </p:nvSpPr>
            <p:spPr bwMode="auto">
              <a:xfrm>
                <a:off x="6737519" y="7674828"/>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28" name="Line 587">
                <a:extLst>
                  <a:ext uri="{FF2B5EF4-FFF2-40B4-BE49-F238E27FC236}">
                    <a16:creationId xmlns:a16="http://schemas.microsoft.com/office/drawing/2014/main" id="{F53F5E02-4AE0-9D77-34A0-A8ECD5EC469B}"/>
                  </a:ext>
                </a:extLst>
              </p:cNvPr>
              <p:cNvSpPr>
                <a:spLocks noChangeShapeType="1"/>
              </p:cNvSpPr>
              <p:nvPr/>
            </p:nvSpPr>
            <p:spPr bwMode="auto">
              <a:xfrm>
                <a:off x="6737519" y="7881907"/>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29" name="Line 588">
                <a:extLst>
                  <a:ext uri="{FF2B5EF4-FFF2-40B4-BE49-F238E27FC236}">
                    <a16:creationId xmlns:a16="http://schemas.microsoft.com/office/drawing/2014/main" id="{7DD89EC5-D910-4DE0-CC19-E4EFD15CC9FA}"/>
                  </a:ext>
                </a:extLst>
              </p:cNvPr>
              <p:cNvSpPr>
                <a:spLocks noChangeShapeType="1"/>
              </p:cNvSpPr>
              <p:nvPr/>
            </p:nvSpPr>
            <p:spPr bwMode="auto">
              <a:xfrm>
                <a:off x="6936530" y="7553808"/>
                <a:ext cx="0" cy="8068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30" name="Line 589">
                <a:extLst>
                  <a:ext uri="{FF2B5EF4-FFF2-40B4-BE49-F238E27FC236}">
                    <a16:creationId xmlns:a16="http://schemas.microsoft.com/office/drawing/2014/main" id="{C0265F80-E0A1-7479-A15E-2BB01DCED81D}"/>
                  </a:ext>
                </a:extLst>
              </p:cNvPr>
              <p:cNvSpPr>
                <a:spLocks noChangeShapeType="1"/>
              </p:cNvSpPr>
              <p:nvPr/>
            </p:nvSpPr>
            <p:spPr bwMode="auto">
              <a:xfrm>
                <a:off x="6936530" y="7634488"/>
                <a:ext cx="0" cy="8068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31" name="Line 590">
                <a:extLst>
                  <a:ext uri="{FF2B5EF4-FFF2-40B4-BE49-F238E27FC236}">
                    <a16:creationId xmlns:a16="http://schemas.microsoft.com/office/drawing/2014/main" id="{EF28F8E8-61C2-D059-1D0D-E91D21A01BA3}"/>
                  </a:ext>
                </a:extLst>
              </p:cNvPr>
              <p:cNvSpPr>
                <a:spLocks noChangeShapeType="1"/>
              </p:cNvSpPr>
              <p:nvPr/>
            </p:nvSpPr>
            <p:spPr bwMode="auto">
              <a:xfrm>
                <a:off x="6925773" y="7553808"/>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32" name="Line 591">
                <a:extLst>
                  <a:ext uri="{FF2B5EF4-FFF2-40B4-BE49-F238E27FC236}">
                    <a16:creationId xmlns:a16="http://schemas.microsoft.com/office/drawing/2014/main" id="{3ADE63CD-1788-386A-7CA3-47A485744178}"/>
                  </a:ext>
                </a:extLst>
              </p:cNvPr>
              <p:cNvSpPr>
                <a:spLocks noChangeShapeType="1"/>
              </p:cNvSpPr>
              <p:nvPr/>
            </p:nvSpPr>
            <p:spPr bwMode="auto">
              <a:xfrm>
                <a:off x="6925773" y="7715168"/>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33" name="Line 592">
                <a:extLst>
                  <a:ext uri="{FF2B5EF4-FFF2-40B4-BE49-F238E27FC236}">
                    <a16:creationId xmlns:a16="http://schemas.microsoft.com/office/drawing/2014/main" id="{2AE9BB8B-9AE5-A655-8D33-6ECAE1EBEF40}"/>
                  </a:ext>
                </a:extLst>
              </p:cNvPr>
              <p:cNvSpPr>
                <a:spLocks noChangeShapeType="1"/>
              </p:cNvSpPr>
              <p:nvPr/>
            </p:nvSpPr>
            <p:spPr bwMode="auto">
              <a:xfrm>
                <a:off x="7124784" y="7270083"/>
                <a:ext cx="0" cy="71267"/>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34" name="Line 593">
                <a:extLst>
                  <a:ext uri="{FF2B5EF4-FFF2-40B4-BE49-F238E27FC236}">
                    <a16:creationId xmlns:a16="http://schemas.microsoft.com/office/drawing/2014/main" id="{49F5FB02-D229-8C99-6985-4026BD4B82BA}"/>
                  </a:ext>
                </a:extLst>
              </p:cNvPr>
              <p:cNvSpPr>
                <a:spLocks noChangeShapeType="1"/>
              </p:cNvSpPr>
              <p:nvPr/>
            </p:nvSpPr>
            <p:spPr bwMode="auto">
              <a:xfrm>
                <a:off x="7124784" y="7341350"/>
                <a:ext cx="0" cy="69923"/>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35" name="Line 594">
                <a:extLst>
                  <a:ext uri="{FF2B5EF4-FFF2-40B4-BE49-F238E27FC236}">
                    <a16:creationId xmlns:a16="http://schemas.microsoft.com/office/drawing/2014/main" id="{E054CD7C-CCD5-A804-AA5F-B6471702E344}"/>
                  </a:ext>
                </a:extLst>
              </p:cNvPr>
              <p:cNvSpPr>
                <a:spLocks noChangeShapeType="1"/>
              </p:cNvSpPr>
              <p:nvPr/>
            </p:nvSpPr>
            <p:spPr bwMode="auto">
              <a:xfrm>
                <a:off x="7114026" y="7270083"/>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36" name="Line 595">
                <a:extLst>
                  <a:ext uri="{FF2B5EF4-FFF2-40B4-BE49-F238E27FC236}">
                    <a16:creationId xmlns:a16="http://schemas.microsoft.com/office/drawing/2014/main" id="{FC46943D-B5C7-DC6B-F5C9-8075B7C57F98}"/>
                  </a:ext>
                </a:extLst>
              </p:cNvPr>
              <p:cNvSpPr>
                <a:spLocks noChangeShapeType="1"/>
              </p:cNvSpPr>
              <p:nvPr/>
            </p:nvSpPr>
            <p:spPr bwMode="auto">
              <a:xfrm>
                <a:off x="7114026" y="7411273"/>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37" name="Line 596">
                <a:extLst>
                  <a:ext uri="{FF2B5EF4-FFF2-40B4-BE49-F238E27FC236}">
                    <a16:creationId xmlns:a16="http://schemas.microsoft.com/office/drawing/2014/main" id="{1A157A59-459B-677D-B9F3-30EBFAD2084D}"/>
                  </a:ext>
                </a:extLst>
              </p:cNvPr>
              <p:cNvSpPr>
                <a:spLocks noChangeShapeType="1"/>
              </p:cNvSpPr>
              <p:nvPr/>
            </p:nvSpPr>
            <p:spPr bwMode="auto">
              <a:xfrm>
                <a:off x="7314382" y="7158475"/>
                <a:ext cx="0" cy="96816"/>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38" name="Line 597">
                <a:extLst>
                  <a:ext uri="{FF2B5EF4-FFF2-40B4-BE49-F238E27FC236}">
                    <a16:creationId xmlns:a16="http://schemas.microsoft.com/office/drawing/2014/main" id="{17B4141F-1C3E-4225-CA7C-68E3E307569A}"/>
                  </a:ext>
                </a:extLst>
              </p:cNvPr>
              <p:cNvSpPr>
                <a:spLocks noChangeShapeType="1"/>
              </p:cNvSpPr>
              <p:nvPr/>
            </p:nvSpPr>
            <p:spPr bwMode="auto">
              <a:xfrm>
                <a:off x="7314382" y="7255291"/>
                <a:ext cx="0" cy="95472"/>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39" name="Line 598">
                <a:extLst>
                  <a:ext uri="{FF2B5EF4-FFF2-40B4-BE49-F238E27FC236}">
                    <a16:creationId xmlns:a16="http://schemas.microsoft.com/office/drawing/2014/main" id="{11D2B94B-F6B3-9631-DDB9-7C17F931B6E6}"/>
                  </a:ext>
                </a:extLst>
              </p:cNvPr>
              <p:cNvSpPr>
                <a:spLocks noChangeShapeType="1"/>
              </p:cNvSpPr>
              <p:nvPr/>
            </p:nvSpPr>
            <p:spPr bwMode="auto">
              <a:xfrm>
                <a:off x="7303625" y="7158475"/>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40" name="Line 599">
                <a:extLst>
                  <a:ext uri="{FF2B5EF4-FFF2-40B4-BE49-F238E27FC236}">
                    <a16:creationId xmlns:a16="http://schemas.microsoft.com/office/drawing/2014/main" id="{D232DF48-A6DF-3A05-7A9F-06D1E085D219}"/>
                  </a:ext>
                </a:extLst>
              </p:cNvPr>
              <p:cNvSpPr>
                <a:spLocks noChangeShapeType="1"/>
              </p:cNvSpPr>
              <p:nvPr/>
            </p:nvSpPr>
            <p:spPr bwMode="auto">
              <a:xfrm>
                <a:off x="7303625" y="7350763"/>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41" name="Line 600">
                <a:extLst>
                  <a:ext uri="{FF2B5EF4-FFF2-40B4-BE49-F238E27FC236}">
                    <a16:creationId xmlns:a16="http://schemas.microsoft.com/office/drawing/2014/main" id="{ACF5C795-C806-CDC1-628B-DB3464516499}"/>
                  </a:ext>
                </a:extLst>
              </p:cNvPr>
              <p:cNvSpPr>
                <a:spLocks noChangeShapeType="1"/>
              </p:cNvSpPr>
              <p:nvPr/>
            </p:nvSpPr>
            <p:spPr bwMode="auto">
              <a:xfrm>
                <a:off x="7502636" y="7158475"/>
                <a:ext cx="0" cy="107574"/>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42" name="Line 601">
                <a:extLst>
                  <a:ext uri="{FF2B5EF4-FFF2-40B4-BE49-F238E27FC236}">
                    <a16:creationId xmlns:a16="http://schemas.microsoft.com/office/drawing/2014/main" id="{4152B04E-E2E6-59E3-FA2F-F8078F7A784C}"/>
                  </a:ext>
                </a:extLst>
              </p:cNvPr>
              <p:cNvSpPr>
                <a:spLocks noChangeShapeType="1"/>
              </p:cNvSpPr>
              <p:nvPr/>
            </p:nvSpPr>
            <p:spPr bwMode="auto">
              <a:xfrm>
                <a:off x="7502636" y="7266049"/>
                <a:ext cx="0" cy="108918"/>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43" name="Line 602">
                <a:extLst>
                  <a:ext uri="{FF2B5EF4-FFF2-40B4-BE49-F238E27FC236}">
                    <a16:creationId xmlns:a16="http://schemas.microsoft.com/office/drawing/2014/main" id="{4AB9A15D-2048-640F-32A3-CCDEB008EDAB}"/>
                  </a:ext>
                </a:extLst>
              </p:cNvPr>
              <p:cNvSpPr>
                <a:spLocks noChangeShapeType="1"/>
              </p:cNvSpPr>
              <p:nvPr/>
            </p:nvSpPr>
            <p:spPr bwMode="auto">
              <a:xfrm>
                <a:off x="7491878" y="7158475"/>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44" name="Line 603">
                <a:extLst>
                  <a:ext uri="{FF2B5EF4-FFF2-40B4-BE49-F238E27FC236}">
                    <a16:creationId xmlns:a16="http://schemas.microsoft.com/office/drawing/2014/main" id="{4217C74A-9EEC-564B-EF4B-DB0B1E67D37E}"/>
                  </a:ext>
                </a:extLst>
              </p:cNvPr>
              <p:cNvSpPr>
                <a:spLocks noChangeShapeType="1"/>
              </p:cNvSpPr>
              <p:nvPr/>
            </p:nvSpPr>
            <p:spPr bwMode="auto">
              <a:xfrm>
                <a:off x="7491878" y="7374967"/>
                <a:ext cx="21515" cy="0"/>
              </a:xfrm>
              <a:prstGeom prst="line">
                <a:avLst/>
              </a:prstGeom>
              <a:noFill/>
              <a:ln w="7938"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45" name="Rectangle 605">
                <a:extLst>
                  <a:ext uri="{FF2B5EF4-FFF2-40B4-BE49-F238E27FC236}">
                    <a16:creationId xmlns:a16="http://schemas.microsoft.com/office/drawing/2014/main" id="{223289FB-72BD-6279-2A12-CADBA1136BBF}"/>
                  </a:ext>
                </a:extLst>
              </p:cNvPr>
              <p:cNvSpPr>
                <a:spLocks noChangeArrowheads="1"/>
              </p:cNvSpPr>
              <p:nvPr/>
            </p:nvSpPr>
            <p:spPr bwMode="auto">
              <a:xfrm>
                <a:off x="6550610" y="7740717"/>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46" name="Rectangle 606">
                <a:extLst>
                  <a:ext uri="{FF2B5EF4-FFF2-40B4-BE49-F238E27FC236}">
                    <a16:creationId xmlns:a16="http://schemas.microsoft.com/office/drawing/2014/main" id="{0CA1BECA-DBD7-BB40-09CA-566E7E94CEFC}"/>
                  </a:ext>
                </a:extLst>
              </p:cNvPr>
              <p:cNvSpPr>
                <a:spLocks noChangeArrowheads="1"/>
              </p:cNvSpPr>
              <p:nvPr/>
            </p:nvSpPr>
            <p:spPr bwMode="auto">
              <a:xfrm>
                <a:off x="6738864" y="7768955"/>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47" name="Rectangle 607">
                <a:extLst>
                  <a:ext uri="{FF2B5EF4-FFF2-40B4-BE49-F238E27FC236}">
                    <a16:creationId xmlns:a16="http://schemas.microsoft.com/office/drawing/2014/main" id="{56269D6F-F3D4-C20D-5640-27CAB544DC1D}"/>
                  </a:ext>
                </a:extLst>
              </p:cNvPr>
              <p:cNvSpPr>
                <a:spLocks noChangeArrowheads="1"/>
              </p:cNvSpPr>
              <p:nvPr/>
            </p:nvSpPr>
            <p:spPr bwMode="auto">
              <a:xfrm>
                <a:off x="6927118" y="7625075"/>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48" name="Rectangle 608">
                <a:extLst>
                  <a:ext uri="{FF2B5EF4-FFF2-40B4-BE49-F238E27FC236}">
                    <a16:creationId xmlns:a16="http://schemas.microsoft.com/office/drawing/2014/main" id="{01A54756-19BB-9151-82AF-E78D0DEFAE78}"/>
                  </a:ext>
                </a:extLst>
              </p:cNvPr>
              <p:cNvSpPr>
                <a:spLocks noChangeArrowheads="1"/>
              </p:cNvSpPr>
              <p:nvPr/>
            </p:nvSpPr>
            <p:spPr bwMode="auto">
              <a:xfrm>
                <a:off x="7115371" y="7331937"/>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49" name="Rectangle 609">
                <a:extLst>
                  <a:ext uri="{FF2B5EF4-FFF2-40B4-BE49-F238E27FC236}">
                    <a16:creationId xmlns:a16="http://schemas.microsoft.com/office/drawing/2014/main" id="{623C877E-BE76-A245-5828-4FC863A9B0E9}"/>
                  </a:ext>
                </a:extLst>
              </p:cNvPr>
              <p:cNvSpPr>
                <a:spLocks noChangeArrowheads="1"/>
              </p:cNvSpPr>
              <p:nvPr/>
            </p:nvSpPr>
            <p:spPr bwMode="auto">
              <a:xfrm>
                <a:off x="7304969" y="7245878"/>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50" name="Rectangle 610">
                <a:extLst>
                  <a:ext uri="{FF2B5EF4-FFF2-40B4-BE49-F238E27FC236}">
                    <a16:creationId xmlns:a16="http://schemas.microsoft.com/office/drawing/2014/main" id="{A9C521D4-3748-456C-781F-570816808D6F}"/>
                  </a:ext>
                </a:extLst>
              </p:cNvPr>
              <p:cNvSpPr>
                <a:spLocks noChangeArrowheads="1"/>
              </p:cNvSpPr>
              <p:nvPr/>
            </p:nvSpPr>
            <p:spPr bwMode="auto">
              <a:xfrm>
                <a:off x="7493223" y="7256636"/>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grpSp>
          <p:nvGrpSpPr>
            <p:cNvPr id="358" name="Group 357">
              <a:extLst>
                <a:ext uri="{FF2B5EF4-FFF2-40B4-BE49-F238E27FC236}">
                  <a16:creationId xmlns:a16="http://schemas.microsoft.com/office/drawing/2014/main" id="{A9D14442-408E-F8AC-2036-BB8862B9274E}"/>
                </a:ext>
              </a:extLst>
            </p:cNvPr>
            <p:cNvGrpSpPr/>
            <p:nvPr/>
          </p:nvGrpSpPr>
          <p:grpSpPr>
            <a:xfrm>
              <a:off x="1968592" y="5015489"/>
              <a:ext cx="2685834" cy="166199"/>
              <a:chOff x="6348910" y="8058369"/>
              <a:chExt cx="1193704" cy="73866"/>
            </a:xfrm>
          </p:grpSpPr>
          <p:sp>
            <p:nvSpPr>
              <p:cNvPr id="360" name="Rectangle 679">
                <a:extLst>
                  <a:ext uri="{FF2B5EF4-FFF2-40B4-BE49-F238E27FC236}">
                    <a16:creationId xmlns:a16="http://schemas.microsoft.com/office/drawing/2014/main" id="{436EA3E7-E3E4-743A-0256-735DD8894FF7}"/>
                  </a:ext>
                </a:extLst>
              </p:cNvPr>
              <p:cNvSpPr>
                <a:spLocks noChangeArrowheads="1"/>
              </p:cNvSpPr>
              <p:nvPr/>
            </p:nvSpPr>
            <p:spPr bwMode="auto">
              <a:xfrm>
                <a:off x="6348910" y="8058369"/>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7</a:t>
                </a:r>
              </a:p>
            </p:txBody>
          </p:sp>
          <p:sp>
            <p:nvSpPr>
              <p:cNvPr id="361" name="Rectangle 681">
                <a:extLst>
                  <a:ext uri="{FF2B5EF4-FFF2-40B4-BE49-F238E27FC236}">
                    <a16:creationId xmlns:a16="http://schemas.microsoft.com/office/drawing/2014/main" id="{F30609F5-71DF-8889-5B12-CBD0C522BBC0}"/>
                  </a:ext>
                </a:extLst>
              </p:cNvPr>
              <p:cNvSpPr>
                <a:spLocks noChangeArrowheads="1"/>
              </p:cNvSpPr>
              <p:nvPr/>
            </p:nvSpPr>
            <p:spPr bwMode="auto">
              <a:xfrm>
                <a:off x="6537164" y="8058369"/>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4</a:t>
                </a:r>
              </a:p>
            </p:txBody>
          </p:sp>
          <p:sp>
            <p:nvSpPr>
              <p:cNvPr id="362" name="Rectangle 683">
                <a:extLst>
                  <a:ext uri="{FF2B5EF4-FFF2-40B4-BE49-F238E27FC236}">
                    <a16:creationId xmlns:a16="http://schemas.microsoft.com/office/drawing/2014/main" id="{CF7AE3D3-3CE1-1405-F0F7-C616E5532CAF}"/>
                  </a:ext>
                </a:extLst>
              </p:cNvPr>
              <p:cNvSpPr>
                <a:spLocks noChangeArrowheads="1"/>
              </p:cNvSpPr>
              <p:nvPr/>
            </p:nvSpPr>
            <p:spPr bwMode="auto">
              <a:xfrm>
                <a:off x="6724073" y="8058369"/>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5</a:t>
                </a:r>
              </a:p>
            </p:txBody>
          </p:sp>
          <p:sp>
            <p:nvSpPr>
              <p:cNvPr id="363" name="Rectangle 685">
                <a:extLst>
                  <a:ext uri="{FF2B5EF4-FFF2-40B4-BE49-F238E27FC236}">
                    <a16:creationId xmlns:a16="http://schemas.microsoft.com/office/drawing/2014/main" id="{EEDF2C85-7C1A-D52A-78BB-5C5252855908}"/>
                  </a:ext>
                </a:extLst>
              </p:cNvPr>
              <p:cNvSpPr>
                <a:spLocks noChangeArrowheads="1"/>
              </p:cNvSpPr>
              <p:nvPr/>
            </p:nvSpPr>
            <p:spPr bwMode="auto">
              <a:xfrm>
                <a:off x="6915015" y="8058369"/>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4</a:t>
                </a:r>
              </a:p>
            </p:txBody>
          </p:sp>
          <p:sp>
            <p:nvSpPr>
              <p:cNvPr id="364" name="Rectangle 687">
                <a:extLst>
                  <a:ext uri="{FF2B5EF4-FFF2-40B4-BE49-F238E27FC236}">
                    <a16:creationId xmlns:a16="http://schemas.microsoft.com/office/drawing/2014/main" id="{C732AC59-4894-8216-0642-D06D758C732F}"/>
                  </a:ext>
                </a:extLst>
              </p:cNvPr>
              <p:cNvSpPr>
                <a:spLocks noChangeArrowheads="1"/>
              </p:cNvSpPr>
              <p:nvPr/>
            </p:nvSpPr>
            <p:spPr bwMode="auto">
              <a:xfrm>
                <a:off x="7103269" y="8058369"/>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5</a:t>
                </a:r>
              </a:p>
            </p:txBody>
          </p:sp>
          <p:sp>
            <p:nvSpPr>
              <p:cNvPr id="365" name="Rectangle 689">
                <a:extLst>
                  <a:ext uri="{FF2B5EF4-FFF2-40B4-BE49-F238E27FC236}">
                    <a16:creationId xmlns:a16="http://schemas.microsoft.com/office/drawing/2014/main" id="{9B413A15-44E5-1BB6-FA59-CBCD7256C22E}"/>
                  </a:ext>
                </a:extLst>
              </p:cNvPr>
              <p:cNvSpPr>
                <a:spLocks noChangeArrowheads="1"/>
              </p:cNvSpPr>
              <p:nvPr/>
            </p:nvSpPr>
            <p:spPr bwMode="auto">
              <a:xfrm>
                <a:off x="7291523" y="8058369"/>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2</a:t>
                </a:r>
              </a:p>
            </p:txBody>
          </p:sp>
          <p:sp>
            <p:nvSpPr>
              <p:cNvPr id="366" name="Rectangle 691">
                <a:extLst>
                  <a:ext uri="{FF2B5EF4-FFF2-40B4-BE49-F238E27FC236}">
                    <a16:creationId xmlns:a16="http://schemas.microsoft.com/office/drawing/2014/main" id="{C6953047-7855-03F9-F376-FF3DE56DC973}"/>
                  </a:ext>
                </a:extLst>
              </p:cNvPr>
              <p:cNvSpPr>
                <a:spLocks noChangeArrowheads="1"/>
              </p:cNvSpPr>
              <p:nvPr/>
            </p:nvSpPr>
            <p:spPr bwMode="auto">
              <a:xfrm>
                <a:off x="7479776" y="8058369"/>
                <a:ext cx="62838"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1</a:t>
                </a:r>
              </a:p>
            </p:txBody>
          </p:sp>
        </p:grpSp>
        <p:grpSp>
          <p:nvGrpSpPr>
            <p:cNvPr id="367" name="Group 366">
              <a:extLst>
                <a:ext uri="{FF2B5EF4-FFF2-40B4-BE49-F238E27FC236}">
                  <a16:creationId xmlns:a16="http://schemas.microsoft.com/office/drawing/2014/main" id="{50A48C9A-CF30-04DE-AAE2-83B8B59B6564}"/>
                </a:ext>
              </a:extLst>
            </p:cNvPr>
            <p:cNvGrpSpPr/>
            <p:nvPr/>
          </p:nvGrpSpPr>
          <p:grpSpPr>
            <a:xfrm>
              <a:off x="1968595" y="5189333"/>
              <a:ext cx="2701544" cy="184667"/>
              <a:chOff x="6348910" y="8126110"/>
              <a:chExt cx="1200686" cy="82074"/>
            </a:xfrm>
          </p:grpSpPr>
          <p:sp>
            <p:nvSpPr>
              <p:cNvPr id="369" name="Rectangle 680">
                <a:extLst>
                  <a:ext uri="{FF2B5EF4-FFF2-40B4-BE49-F238E27FC236}">
                    <a16:creationId xmlns:a16="http://schemas.microsoft.com/office/drawing/2014/main" id="{69097413-6258-FD3C-40FC-797E10E589BA}"/>
                  </a:ext>
                </a:extLst>
              </p:cNvPr>
              <p:cNvSpPr>
                <a:spLocks noChangeArrowheads="1"/>
              </p:cNvSpPr>
              <p:nvPr/>
            </p:nvSpPr>
            <p:spPr bwMode="auto">
              <a:xfrm>
                <a:off x="6348910"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42</a:t>
                </a:r>
              </a:p>
            </p:txBody>
          </p:sp>
          <p:sp>
            <p:nvSpPr>
              <p:cNvPr id="370" name="Rectangle 682">
                <a:extLst>
                  <a:ext uri="{FF2B5EF4-FFF2-40B4-BE49-F238E27FC236}">
                    <a16:creationId xmlns:a16="http://schemas.microsoft.com/office/drawing/2014/main" id="{D72521D9-D2A0-FEED-6DBA-A3B4B49E79DC}"/>
                  </a:ext>
                </a:extLst>
              </p:cNvPr>
              <p:cNvSpPr>
                <a:spLocks noChangeArrowheads="1"/>
              </p:cNvSpPr>
              <p:nvPr/>
            </p:nvSpPr>
            <p:spPr bwMode="auto">
              <a:xfrm>
                <a:off x="6537164"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42</a:t>
                </a:r>
              </a:p>
            </p:txBody>
          </p:sp>
          <p:sp>
            <p:nvSpPr>
              <p:cNvPr id="371" name="Rectangle 684">
                <a:extLst>
                  <a:ext uri="{FF2B5EF4-FFF2-40B4-BE49-F238E27FC236}">
                    <a16:creationId xmlns:a16="http://schemas.microsoft.com/office/drawing/2014/main" id="{8C980FA6-5E35-FFF9-897A-109C46DBAB2A}"/>
                  </a:ext>
                </a:extLst>
              </p:cNvPr>
              <p:cNvSpPr>
                <a:spLocks noChangeArrowheads="1"/>
              </p:cNvSpPr>
              <p:nvPr/>
            </p:nvSpPr>
            <p:spPr bwMode="auto">
              <a:xfrm>
                <a:off x="6724073"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40</a:t>
                </a:r>
              </a:p>
            </p:txBody>
          </p:sp>
          <p:sp>
            <p:nvSpPr>
              <p:cNvPr id="372" name="Rectangle 686">
                <a:extLst>
                  <a:ext uri="{FF2B5EF4-FFF2-40B4-BE49-F238E27FC236}">
                    <a16:creationId xmlns:a16="http://schemas.microsoft.com/office/drawing/2014/main" id="{5865F4F2-6D1A-4D42-9405-A6E6EAFA40B6}"/>
                  </a:ext>
                </a:extLst>
              </p:cNvPr>
              <p:cNvSpPr>
                <a:spLocks noChangeArrowheads="1"/>
              </p:cNvSpPr>
              <p:nvPr/>
            </p:nvSpPr>
            <p:spPr bwMode="auto">
              <a:xfrm>
                <a:off x="6915015"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37</a:t>
                </a:r>
              </a:p>
            </p:txBody>
          </p:sp>
          <p:sp>
            <p:nvSpPr>
              <p:cNvPr id="373" name="Rectangle 688">
                <a:extLst>
                  <a:ext uri="{FF2B5EF4-FFF2-40B4-BE49-F238E27FC236}">
                    <a16:creationId xmlns:a16="http://schemas.microsoft.com/office/drawing/2014/main" id="{7987C65A-FE74-C45F-6113-FE210C1AD033}"/>
                  </a:ext>
                </a:extLst>
              </p:cNvPr>
              <p:cNvSpPr>
                <a:spLocks noChangeArrowheads="1"/>
              </p:cNvSpPr>
              <p:nvPr/>
            </p:nvSpPr>
            <p:spPr bwMode="auto">
              <a:xfrm>
                <a:off x="7103269"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36</a:t>
                </a:r>
              </a:p>
            </p:txBody>
          </p:sp>
          <p:sp>
            <p:nvSpPr>
              <p:cNvPr id="374" name="Rectangle 690">
                <a:extLst>
                  <a:ext uri="{FF2B5EF4-FFF2-40B4-BE49-F238E27FC236}">
                    <a16:creationId xmlns:a16="http://schemas.microsoft.com/office/drawing/2014/main" id="{DDCF90F9-C724-9DD2-CCDB-B4FA5A35FD32}"/>
                  </a:ext>
                </a:extLst>
              </p:cNvPr>
              <p:cNvSpPr>
                <a:spLocks noChangeArrowheads="1"/>
              </p:cNvSpPr>
              <p:nvPr/>
            </p:nvSpPr>
            <p:spPr bwMode="auto">
              <a:xfrm>
                <a:off x="7291523"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36</a:t>
                </a:r>
              </a:p>
            </p:txBody>
          </p:sp>
          <p:sp>
            <p:nvSpPr>
              <p:cNvPr id="375" name="Rectangle 692">
                <a:extLst>
                  <a:ext uri="{FF2B5EF4-FFF2-40B4-BE49-F238E27FC236}">
                    <a16:creationId xmlns:a16="http://schemas.microsoft.com/office/drawing/2014/main" id="{6E8ADDA1-E746-7140-7173-BFF82585DC2D}"/>
                  </a:ext>
                </a:extLst>
              </p:cNvPr>
              <p:cNvSpPr>
                <a:spLocks noChangeArrowheads="1"/>
              </p:cNvSpPr>
              <p:nvPr/>
            </p:nvSpPr>
            <p:spPr bwMode="auto">
              <a:xfrm>
                <a:off x="7479776"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36</a:t>
                </a:r>
              </a:p>
            </p:txBody>
          </p:sp>
        </p:grpSp>
        <p:sp>
          <p:nvSpPr>
            <p:cNvPr id="376" name="Rectangle 530">
              <a:extLst>
                <a:ext uri="{FF2B5EF4-FFF2-40B4-BE49-F238E27FC236}">
                  <a16:creationId xmlns:a16="http://schemas.microsoft.com/office/drawing/2014/main" id="{B60295C3-6499-27A3-58A8-CB1F39746861}"/>
                </a:ext>
              </a:extLst>
            </p:cNvPr>
            <p:cNvSpPr>
              <a:spLocks noChangeArrowheads="1"/>
            </p:cNvSpPr>
            <p:nvPr/>
          </p:nvSpPr>
          <p:spPr bwMode="auto">
            <a:xfrm>
              <a:off x="2504551" y="1994305"/>
              <a:ext cx="1639199"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1200" b="1">
                  <a:solidFill>
                    <a:srgbClr val="0B436E"/>
                  </a:solidFill>
                  <a:latin typeface="Calibri" panose="020F0502020204030204"/>
                </a:rPr>
                <a:t>Change in MMT8 Total Score</a:t>
              </a:r>
            </a:p>
          </p:txBody>
        </p:sp>
        <p:grpSp>
          <p:nvGrpSpPr>
            <p:cNvPr id="377" name="Group 376">
              <a:extLst>
                <a:ext uri="{FF2B5EF4-FFF2-40B4-BE49-F238E27FC236}">
                  <a16:creationId xmlns:a16="http://schemas.microsoft.com/office/drawing/2014/main" id="{552776F0-4AD7-DAF3-8544-75759FC0CC32}"/>
                </a:ext>
              </a:extLst>
            </p:cNvPr>
            <p:cNvGrpSpPr/>
            <p:nvPr/>
          </p:nvGrpSpPr>
          <p:grpSpPr>
            <a:xfrm>
              <a:off x="1747730" y="2273427"/>
              <a:ext cx="3034584" cy="2396201"/>
              <a:chOff x="6250749" y="6849201"/>
              <a:chExt cx="1348704" cy="1064978"/>
            </a:xfrm>
          </p:grpSpPr>
          <p:sp>
            <p:nvSpPr>
              <p:cNvPr id="378" name="Freeform 577">
                <a:extLst>
                  <a:ext uri="{FF2B5EF4-FFF2-40B4-BE49-F238E27FC236}">
                    <a16:creationId xmlns:a16="http://schemas.microsoft.com/office/drawing/2014/main" id="{43AB2B1C-12DE-8E1C-300D-F03A9C7F6283}"/>
                  </a:ext>
                </a:extLst>
              </p:cNvPr>
              <p:cNvSpPr>
                <a:spLocks noEditPoints="1"/>
              </p:cNvSpPr>
              <p:nvPr/>
            </p:nvSpPr>
            <p:spPr bwMode="auto">
              <a:xfrm>
                <a:off x="6250749" y="6849201"/>
                <a:ext cx="26893" cy="1042119"/>
              </a:xfrm>
              <a:custGeom>
                <a:avLst/>
                <a:gdLst>
                  <a:gd name="T0" fmla="*/ 20 w 20"/>
                  <a:gd name="T1" fmla="*/ 775 h 775"/>
                  <a:gd name="T2" fmla="*/ 20 w 20"/>
                  <a:gd name="T3" fmla="*/ 0 h 775"/>
                  <a:gd name="T4" fmla="*/ 20 w 20"/>
                  <a:gd name="T5" fmla="*/ 644 h 775"/>
                  <a:gd name="T6" fmla="*/ 0 w 20"/>
                  <a:gd name="T7" fmla="*/ 644 h 775"/>
                  <a:gd name="T8" fmla="*/ 20 w 20"/>
                  <a:gd name="T9" fmla="*/ 515 h 775"/>
                  <a:gd name="T10" fmla="*/ 0 w 20"/>
                  <a:gd name="T11" fmla="*/ 515 h 775"/>
                  <a:gd name="T12" fmla="*/ 20 w 20"/>
                  <a:gd name="T13" fmla="*/ 387 h 775"/>
                  <a:gd name="T14" fmla="*/ 0 w 20"/>
                  <a:gd name="T15" fmla="*/ 387 h 775"/>
                  <a:gd name="T16" fmla="*/ 20 w 20"/>
                  <a:gd name="T17" fmla="*/ 259 h 775"/>
                  <a:gd name="T18" fmla="*/ 0 w 20"/>
                  <a:gd name="T19" fmla="*/ 259 h 775"/>
                  <a:gd name="T20" fmla="*/ 20 w 20"/>
                  <a:gd name="T21" fmla="*/ 130 h 775"/>
                  <a:gd name="T22" fmla="*/ 0 w 20"/>
                  <a:gd name="T23" fmla="*/ 130 h 775"/>
                  <a:gd name="T24" fmla="*/ 20 w 20"/>
                  <a:gd name="T25" fmla="*/ 2 h 775"/>
                  <a:gd name="T26" fmla="*/ 0 w 20"/>
                  <a:gd name="T27" fmla="*/ 2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775">
                    <a:moveTo>
                      <a:pt x="20" y="775"/>
                    </a:moveTo>
                    <a:lnTo>
                      <a:pt x="20" y="0"/>
                    </a:lnTo>
                    <a:moveTo>
                      <a:pt x="20" y="644"/>
                    </a:moveTo>
                    <a:lnTo>
                      <a:pt x="0" y="644"/>
                    </a:lnTo>
                    <a:moveTo>
                      <a:pt x="20" y="515"/>
                    </a:moveTo>
                    <a:lnTo>
                      <a:pt x="0" y="515"/>
                    </a:lnTo>
                    <a:moveTo>
                      <a:pt x="20" y="387"/>
                    </a:moveTo>
                    <a:lnTo>
                      <a:pt x="0" y="387"/>
                    </a:lnTo>
                    <a:moveTo>
                      <a:pt x="20" y="259"/>
                    </a:moveTo>
                    <a:lnTo>
                      <a:pt x="0" y="259"/>
                    </a:lnTo>
                    <a:moveTo>
                      <a:pt x="20" y="130"/>
                    </a:moveTo>
                    <a:lnTo>
                      <a:pt x="0" y="130"/>
                    </a:lnTo>
                    <a:moveTo>
                      <a:pt x="20" y="2"/>
                    </a:moveTo>
                    <a:lnTo>
                      <a:pt x="0" y="2"/>
                    </a:lnTo>
                  </a:path>
                </a:pathLst>
              </a:custGeom>
              <a:noFill/>
              <a:ln w="635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79" name="Freeform 569">
                <a:extLst>
                  <a:ext uri="{FF2B5EF4-FFF2-40B4-BE49-F238E27FC236}">
                    <a16:creationId xmlns:a16="http://schemas.microsoft.com/office/drawing/2014/main" id="{B65604D9-1922-2146-3436-5A9B47061751}"/>
                  </a:ext>
                </a:extLst>
              </p:cNvPr>
              <p:cNvSpPr>
                <a:spLocks noEditPoints="1"/>
              </p:cNvSpPr>
              <p:nvPr/>
            </p:nvSpPr>
            <p:spPr bwMode="auto">
              <a:xfrm>
                <a:off x="6274954" y="7887286"/>
                <a:ext cx="1324499" cy="26893"/>
              </a:xfrm>
              <a:custGeom>
                <a:avLst/>
                <a:gdLst>
                  <a:gd name="T0" fmla="*/ 0 w 985"/>
                  <a:gd name="T1" fmla="*/ 0 h 20"/>
                  <a:gd name="T2" fmla="*/ 985 w 985"/>
                  <a:gd name="T3" fmla="*/ 0 h 20"/>
                  <a:gd name="T4" fmla="*/ 72 w 985"/>
                  <a:gd name="T5" fmla="*/ 20 h 20"/>
                  <a:gd name="T6" fmla="*/ 72 w 985"/>
                  <a:gd name="T7" fmla="*/ 0 h 20"/>
                  <a:gd name="T8" fmla="*/ 212 w 985"/>
                  <a:gd name="T9" fmla="*/ 20 h 20"/>
                  <a:gd name="T10" fmla="*/ 212 w 985"/>
                  <a:gd name="T11" fmla="*/ 0 h 20"/>
                  <a:gd name="T12" fmla="*/ 352 w 985"/>
                  <a:gd name="T13" fmla="*/ 20 h 20"/>
                  <a:gd name="T14" fmla="*/ 352 w 985"/>
                  <a:gd name="T15" fmla="*/ 0 h 20"/>
                  <a:gd name="T16" fmla="*/ 492 w 985"/>
                  <a:gd name="T17" fmla="*/ 20 h 20"/>
                  <a:gd name="T18" fmla="*/ 492 w 985"/>
                  <a:gd name="T19" fmla="*/ 0 h 20"/>
                  <a:gd name="T20" fmla="*/ 632 w 985"/>
                  <a:gd name="T21" fmla="*/ 20 h 20"/>
                  <a:gd name="T22" fmla="*/ 632 w 985"/>
                  <a:gd name="T23" fmla="*/ 0 h 20"/>
                  <a:gd name="T24" fmla="*/ 773 w 985"/>
                  <a:gd name="T25" fmla="*/ 20 h 20"/>
                  <a:gd name="T26" fmla="*/ 773 w 985"/>
                  <a:gd name="T27" fmla="*/ 0 h 20"/>
                  <a:gd name="T28" fmla="*/ 913 w 985"/>
                  <a:gd name="T29" fmla="*/ 20 h 20"/>
                  <a:gd name="T30" fmla="*/ 913 w 985"/>
                  <a:gd name="T3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5" h="20">
                    <a:moveTo>
                      <a:pt x="0" y="0"/>
                    </a:moveTo>
                    <a:lnTo>
                      <a:pt x="985" y="0"/>
                    </a:lnTo>
                    <a:moveTo>
                      <a:pt x="72" y="20"/>
                    </a:moveTo>
                    <a:lnTo>
                      <a:pt x="72" y="0"/>
                    </a:lnTo>
                    <a:moveTo>
                      <a:pt x="212" y="20"/>
                    </a:moveTo>
                    <a:lnTo>
                      <a:pt x="212" y="0"/>
                    </a:lnTo>
                    <a:moveTo>
                      <a:pt x="352" y="20"/>
                    </a:moveTo>
                    <a:lnTo>
                      <a:pt x="352" y="0"/>
                    </a:lnTo>
                    <a:moveTo>
                      <a:pt x="492" y="20"/>
                    </a:moveTo>
                    <a:lnTo>
                      <a:pt x="492" y="0"/>
                    </a:lnTo>
                    <a:moveTo>
                      <a:pt x="632" y="20"/>
                    </a:moveTo>
                    <a:lnTo>
                      <a:pt x="632" y="0"/>
                    </a:lnTo>
                    <a:moveTo>
                      <a:pt x="773" y="20"/>
                    </a:moveTo>
                    <a:lnTo>
                      <a:pt x="773" y="0"/>
                    </a:lnTo>
                    <a:moveTo>
                      <a:pt x="913" y="20"/>
                    </a:moveTo>
                    <a:lnTo>
                      <a:pt x="913" y="0"/>
                    </a:lnTo>
                  </a:path>
                </a:pathLst>
              </a:custGeom>
              <a:noFill/>
              <a:ln w="635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grpSp>
          <p:nvGrpSpPr>
            <p:cNvPr id="380" name="Group 379">
              <a:extLst>
                <a:ext uri="{FF2B5EF4-FFF2-40B4-BE49-F238E27FC236}">
                  <a16:creationId xmlns:a16="http://schemas.microsoft.com/office/drawing/2014/main" id="{A4D17936-872F-940C-D821-0CB80B76A94E}"/>
                </a:ext>
              </a:extLst>
            </p:cNvPr>
            <p:cNvGrpSpPr/>
            <p:nvPr/>
          </p:nvGrpSpPr>
          <p:grpSpPr>
            <a:xfrm>
              <a:off x="1299440" y="2602550"/>
              <a:ext cx="2169596" cy="2389217"/>
              <a:chOff x="6051509" y="6995478"/>
              <a:chExt cx="964265" cy="1061874"/>
            </a:xfrm>
          </p:grpSpPr>
          <p:sp>
            <p:nvSpPr>
              <p:cNvPr id="381" name="Rectangle 643">
                <a:extLst>
                  <a:ext uri="{FF2B5EF4-FFF2-40B4-BE49-F238E27FC236}">
                    <a16:creationId xmlns:a16="http://schemas.microsoft.com/office/drawing/2014/main" id="{8AB700D7-9204-408A-F58B-A13E6B925392}"/>
                  </a:ext>
                </a:extLst>
              </p:cNvPr>
              <p:cNvSpPr>
                <a:spLocks noChangeArrowheads="1"/>
              </p:cNvSpPr>
              <p:nvPr/>
            </p:nvSpPr>
            <p:spPr bwMode="auto">
              <a:xfrm>
                <a:off x="6871144" y="7983486"/>
                <a:ext cx="144630"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a:solidFill>
                      <a:srgbClr val="595959"/>
                    </a:solidFill>
                    <a:latin typeface="Calibri" panose="020F0502020204030204"/>
                  </a:rPr>
                  <a:t>Week</a:t>
                </a:r>
                <a:endParaRPr lang="en-US" altLang="en-US" sz="1200">
                  <a:solidFill>
                    <a:srgbClr val="595959"/>
                  </a:solidFill>
                  <a:latin typeface="Calibri" panose="020F0502020204030204"/>
                </a:endParaRPr>
              </a:p>
            </p:txBody>
          </p:sp>
          <p:sp>
            <p:nvSpPr>
              <p:cNvPr id="382" name="Rectangle 511">
                <a:extLst>
                  <a:ext uri="{FF2B5EF4-FFF2-40B4-BE49-F238E27FC236}">
                    <a16:creationId xmlns:a16="http://schemas.microsoft.com/office/drawing/2014/main" id="{A579455D-0204-3C61-464E-6831B43FDBE3}"/>
                  </a:ext>
                </a:extLst>
              </p:cNvPr>
              <p:cNvSpPr>
                <a:spLocks noChangeArrowheads="1"/>
              </p:cNvSpPr>
              <p:nvPr/>
            </p:nvSpPr>
            <p:spPr bwMode="auto">
              <a:xfrm rot="16200000">
                <a:off x="5704927" y="7342060"/>
                <a:ext cx="767030" cy="7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a:solidFill>
                      <a:srgbClr val="595959"/>
                    </a:solidFill>
                    <a:latin typeface="Calibri" panose="020F0502020204030204"/>
                  </a:rPr>
                  <a:t>Mean (±SE) MMT8 Total Score</a:t>
                </a:r>
              </a:p>
            </p:txBody>
          </p:sp>
        </p:grpSp>
        <p:grpSp>
          <p:nvGrpSpPr>
            <p:cNvPr id="383" name="Group 382">
              <a:extLst>
                <a:ext uri="{FF2B5EF4-FFF2-40B4-BE49-F238E27FC236}">
                  <a16:creationId xmlns:a16="http://schemas.microsoft.com/office/drawing/2014/main" id="{CB68BDD5-6FB8-2C00-8D90-B27B7C0B9793}"/>
                </a:ext>
              </a:extLst>
            </p:cNvPr>
            <p:cNvGrpSpPr/>
            <p:nvPr/>
          </p:nvGrpSpPr>
          <p:grpSpPr>
            <a:xfrm>
              <a:off x="1998848" y="2388396"/>
              <a:ext cx="2589831" cy="2241909"/>
              <a:chOff x="6362357" y="6900298"/>
              <a:chExt cx="1151036" cy="996404"/>
            </a:xfrm>
          </p:grpSpPr>
          <p:sp>
            <p:nvSpPr>
              <p:cNvPr id="384" name="Rectangle 604">
                <a:extLst>
                  <a:ext uri="{FF2B5EF4-FFF2-40B4-BE49-F238E27FC236}">
                    <a16:creationId xmlns:a16="http://schemas.microsoft.com/office/drawing/2014/main" id="{BBC64E51-3E7E-EEED-C670-0262FAAF6D59}"/>
                  </a:ext>
                </a:extLst>
              </p:cNvPr>
              <p:cNvSpPr>
                <a:spLocks noChangeArrowheads="1"/>
              </p:cNvSpPr>
              <p:nvPr/>
            </p:nvSpPr>
            <p:spPr bwMode="auto">
              <a:xfrm>
                <a:off x="6362357" y="7877873"/>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85" name="Freeform 611">
                <a:extLst>
                  <a:ext uri="{FF2B5EF4-FFF2-40B4-BE49-F238E27FC236}">
                    <a16:creationId xmlns:a16="http://schemas.microsoft.com/office/drawing/2014/main" id="{0D75A7A3-0C18-E954-ECDA-91CE57F971FB}"/>
                  </a:ext>
                </a:extLst>
              </p:cNvPr>
              <p:cNvSpPr>
                <a:spLocks/>
              </p:cNvSpPr>
              <p:nvPr/>
            </p:nvSpPr>
            <p:spPr bwMode="auto">
              <a:xfrm>
                <a:off x="6371769" y="6983668"/>
                <a:ext cx="1130866" cy="903618"/>
              </a:xfrm>
              <a:custGeom>
                <a:avLst/>
                <a:gdLst>
                  <a:gd name="T0" fmla="*/ 0 w 841"/>
                  <a:gd name="T1" fmla="*/ 672 h 672"/>
                  <a:gd name="T2" fmla="*/ 0 w 841"/>
                  <a:gd name="T3" fmla="*/ 672 h 672"/>
                  <a:gd name="T4" fmla="*/ 0 w 841"/>
                  <a:gd name="T5" fmla="*/ 672 h 672"/>
                  <a:gd name="T6" fmla="*/ 140 w 841"/>
                  <a:gd name="T7" fmla="*/ 428 h 672"/>
                  <a:gd name="T8" fmla="*/ 140 w 841"/>
                  <a:gd name="T9" fmla="*/ 428 h 672"/>
                  <a:gd name="T10" fmla="*/ 280 w 841"/>
                  <a:gd name="T11" fmla="*/ 300 h 672"/>
                  <a:gd name="T12" fmla="*/ 280 w 841"/>
                  <a:gd name="T13" fmla="*/ 300 h 672"/>
                  <a:gd name="T14" fmla="*/ 420 w 841"/>
                  <a:gd name="T15" fmla="*/ 223 h 672"/>
                  <a:gd name="T16" fmla="*/ 420 w 841"/>
                  <a:gd name="T17" fmla="*/ 223 h 672"/>
                  <a:gd name="T18" fmla="*/ 560 w 841"/>
                  <a:gd name="T19" fmla="*/ 65 h 672"/>
                  <a:gd name="T20" fmla="*/ 560 w 841"/>
                  <a:gd name="T21" fmla="*/ 65 h 672"/>
                  <a:gd name="T22" fmla="*/ 701 w 841"/>
                  <a:gd name="T23" fmla="*/ 0 h 672"/>
                  <a:gd name="T24" fmla="*/ 701 w 841"/>
                  <a:gd name="T25" fmla="*/ 0 h 672"/>
                  <a:gd name="T26" fmla="*/ 841 w 841"/>
                  <a:gd name="T27" fmla="*/ 22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1" h="672">
                    <a:moveTo>
                      <a:pt x="0" y="672"/>
                    </a:moveTo>
                    <a:lnTo>
                      <a:pt x="0" y="672"/>
                    </a:lnTo>
                    <a:lnTo>
                      <a:pt x="0" y="672"/>
                    </a:lnTo>
                    <a:lnTo>
                      <a:pt x="140" y="428"/>
                    </a:lnTo>
                    <a:lnTo>
                      <a:pt x="140" y="428"/>
                    </a:lnTo>
                    <a:lnTo>
                      <a:pt x="280" y="300"/>
                    </a:lnTo>
                    <a:lnTo>
                      <a:pt x="280" y="300"/>
                    </a:lnTo>
                    <a:lnTo>
                      <a:pt x="420" y="223"/>
                    </a:lnTo>
                    <a:lnTo>
                      <a:pt x="420" y="223"/>
                    </a:lnTo>
                    <a:lnTo>
                      <a:pt x="560" y="65"/>
                    </a:lnTo>
                    <a:lnTo>
                      <a:pt x="560" y="65"/>
                    </a:lnTo>
                    <a:lnTo>
                      <a:pt x="701" y="0"/>
                    </a:lnTo>
                    <a:lnTo>
                      <a:pt x="701" y="0"/>
                    </a:lnTo>
                    <a:lnTo>
                      <a:pt x="841" y="22"/>
                    </a:lnTo>
                  </a:path>
                </a:pathLst>
              </a:custGeom>
              <a:noFill/>
              <a:ln w="1905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86" name="Line 612">
                <a:extLst>
                  <a:ext uri="{FF2B5EF4-FFF2-40B4-BE49-F238E27FC236}">
                    <a16:creationId xmlns:a16="http://schemas.microsoft.com/office/drawing/2014/main" id="{9A36C614-BF5E-5A70-B5BC-F031DB5BDBC8}"/>
                  </a:ext>
                </a:extLst>
              </p:cNvPr>
              <p:cNvSpPr>
                <a:spLocks noChangeShapeType="1"/>
              </p:cNvSpPr>
              <p:nvPr/>
            </p:nvSpPr>
            <p:spPr bwMode="auto">
              <a:xfrm>
                <a:off x="6560023" y="7493298"/>
                <a:ext cx="0" cy="65889"/>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87" name="Line 613">
                <a:extLst>
                  <a:ext uri="{FF2B5EF4-FFF2-40B4-BE49-F238E27FC236}">
                    <a16:creationId xmlns:a16="http://schemas.microsoft.com/office/drawing/2014/main" id="{F81F3359-B7B6-D70C-8767-FDC14746E5B6}"/>
                  </a:ext>
                </a:extLst>
              </p:cNvPr>
              <p:cNvSpPr>
                <a:spLocks noChangeShapeType="1"/>
              </p:cNvSpPr>
              <p:nvPr/>
            </p:nvSpPr>
            <p:spPr bwMode="auto">
              <a:xfrm>
                <a:off x="6560023" y="7559186"/>
                <a:ext cx="0" cy="67233"/>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88" name="Line 614">
                <a:extLst>
                  <a:ext uri="{FF2B5EF4-FFF2-40B4-BE49-F238E27FC236}">
                    <a16:creationId xmlns:a16="http://schemas.microsoft.com/office/drawing/2014/main" id="{6EEEB5B3-DA2F-CFED-3AFC-02CF4810DCCC}"/>
                  </a:ext>
                </a:extLst>
              </p:cNvPr>
              <p:cNvSpPr>
                <a:spLocks noChangeShapeType="1"/>
              </p:cNvSpPr>
              <p:nvPr/>
            </p:nvSpPr>
            <p:spPr bwMode="auto">
              <a:xfrm>
                <a:off x="6549266" y="7493298"/>
                <a:ext cx="21515" cy="0"/>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89" name="Line 615">
                <a:extLst>
                  <a:ext uri="{FF2B5EF4-FFF2-40B4-BE49-F238E27FC236}">
                    <a16:creationId xmlns:a16="http://schemas.microsoft.com/office/drawing/2014/main" id="{65966D9C-D817-057D-4CB7-54CAF7FCFA6B}"/>
                  </a:ext>
                </a:extLst>
              </p:cNvPr>
              <p:cNvSpPr>
                <a:spLocks noChangeShapeType="1"/>
              </p:cNvSpPr>
              <p:nvPr/>
            </p:nvSpPr>
            <p:spPr bwMode="auto">
              <a:xfrm>
                <a:off x="6549266" y="7626420"/>
                <a:ext cx="21515" cy="0"/>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90" name="Line 616">
                <a:extLst>
                  <a:ext uri="{FF2B5EF4-FFF2-40B4-BE49-F238E27FC236}">
                    <a16:creationId xmlns:a16="http://schemas.microsoft.com/office/drawing/2014/main" id="{B3985FF6-1BE5-A8FC-EF58-AEA8825460BB}"/>
                  </a:ext>
                </a:extLst>
              </p:cNvPr>
              <p:cNvSpPr>
                <a:spLocks noChangeShapeType="1"/>
              </p:cNvSpPr>
              <p:nvPr/>
            </p:nvSpPr>
            <p:spPr bwMode="auto">
              <a:xfrm>
                <a:off x="6748277" y="7311767"/>
                <a:ext cx="0" cy="75301"/>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91" name="Line 617">
                <a:extLst>
                  <a:ext uri="{FF2B5EF4-FFF2-40B4-BE49-F238E27FC236}">
                    <a16:creationId xmlns:a16="http://schemas.microsoft.com/office/drawing/2014/main" id="{E8CBFF9E-B5B8-80E8-B305-49F767758597}"/>
                  </a:ext>
                </a:extLst>
              </p:cNvPr>
              <p:cNvSpPr>
                <a:spLocks noChangeShapeType="1"/>
              </p:cNvSpPr>
              <p:nvPr/>
            </p:nvSpPr>
            <p:spPr bwMode="auto">
              <a:xfrm>
                <a:off x="6748277" y="7387069"/>
                <a:ext cx="0" cy="75301"/>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92" name="Line 618">
                <a:extLst>
                  <a:ext uri="{FF2B5EF4-FFF2-40B4-BE49-F238E27FC236}">
                    <a16:creationId xmlns:a16="http://schemas.microsoft.com/office/drawing/2014/main" id="{BE77EEF6-68B9-B724-329D-2FBD7C83F489}"/>
                  </a:ext>
                </a:extLst>
              </p:cNvPr>
              <p:cNvSpPr>
                <a:spLocks noChangeShapeType="1"/>
              </p:cNvSpPr>
              <p:nvPr/>
            </p:nvSpPr>
            <p:spPr bwMode="auto">
              <a:xfrm>
                <a:off x="6737519" y="7311767"/>
                <a:ext cx="21515" cy="0"/>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93" name="Line 620">
                <a:extLst>
                  <a:ext uri="{FF2B5EF4-FFF2-40B4-BE49-F238E27FC236}">
                    <a16:creationId xmlns:a16="http://schemas.microsoft.com/office/drawing/2014/main" id="{0B379B70-279C-89B2-B3EA-CFF174D943F7}"/>
                  </a:ext>
                </a:extLst>
              </p:cNvPr>
              <p:cNvSpPr>
                <a:spLocks noChangeShapeType="1"/>
              </p:cNvSpPr>
              <p:nvPr/>
            </p:nvSpPr>
            <p:spPr bwMode="auto">
              <a:xfrm>
                <a:off x="6936530" y="7201504"/>
                <a:ext cx="0" cy="82025"/>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94" name="Line 621">
                <a:extLst>
                  <a:ext uri="{FF2B5EF4-FFF2-40B4-BE49-F238E27FC236}">
                    <a16:creationId xmlns:a16="http://schemas.microsoft.com/office/drawing/2014/main" id="{4C4B4AB7-C701-FF34-AF9B-35D57502D42B}"/>
                  </a:ext>
                </a:extLst>
              </p:cNvPr>
              <p:cNvSpPr>
                <a:spLocks noChangeShapeType="1"/>
              </p:cNvSpPr>
              <p:nvPr/>
            </p:nvSpPr>
            <p:spPr bwMode="auto">
              <a:xfrm>
                <a:off x="6936530" y="7283529"/>
                <a:ext cx="0" cy="82025"/>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95" name="Line 622">
                <a:extLst>
                  <a:ext uri="{FF2B5EF4-FFF2-40B4-BE49-F238E27FC236}">
                    <a16:creationId xmlns:a16="http://schemas.microsoft.com/office/drawing/2014/main" id="{FE753685-F241-BDD1-DCAC-31CAD5728773}"/>
                  </a:ext>
                </a:extLst>
              </p:cNvPr>
              <p:cNvSpPr>
                <a:spLocks noChangeShapeType="1"/>
              </p:cNvSpPr>
              <p:nvPr/>
            </p:nvSpPr>
            <p:spPr bwMode="auto">
              <a:xfrm>
                <a:off x="6925773" y="7201504"/>
                <a:ext cx="21515" cy="0"/>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96" name="Line 623">
                <a:extLst>
                  <a:ext uri="{FF2B5EF4-FFF2-40B4-BE49-F238E27FC236}">
                    <a16:creationId xmlns:a16="http://schemas.microsoft.com/office/drawing/2014/main" id="{9231AFBE-D2D1-A67D-D814-F69DB65F68D6}"/>
                  </a:ext>
                </a:extLst>
              </p:cNvPr>
              <p:cNvSpPr>
                <a:spLocks noChangeShapeType="1"/>
              </p:cNvSpPr>
              <p:nvPr/>
            </p:nvSpPr>
            <p:spPr bwMode="auto">
              <a:xfrm>
                <a:off x="6925773" y="7365554"/>
                <a:ext cx="21515" cy="0"/>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97" name="Line 624">
                <a:extLst>
                  <a:ext uri="{FF2B5EF4-FFF2-40B4-BE49-F238E27FC236}">
                    <a16:creationId xmlns:a16="http://schemas.microsoft.com/office/drawing/2014/main" id="{7F30E363-8A12-AAB6-1D67-8025BF337C13}"/>
                  </a:ext>
                </a:extLst>
              </p:cNvPr>
              <p:cNvSpPr>
                <a:spLocks noChangeShapeType="1"/>
              </p:cNvSpPr>
              <p:nvPr/>
            </p:nvSpPr>
            <p:spPr bwMode="auto">
              <a:xfrm>
                <a:off x="7124784" y="6995770"/>
                <a:ext cx="0" cy="75301"/>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98" name="Line 625">
                <a:extLst>
                  <a:ext uri="{FF2B5EF4-FFF2-40B4-BE49-F238E27FC236}">
                    <a16:creationId xmlns:a16="http://schemas.microsoft.com/office/drawing/2014/main" id="{83FB0659-8122-A4C8-47F5-3EEC26455B66}"/>
                  </a:ext>
                </a:extLst>
              </p:cNvPr>
              <p:cNvSpPr>
                <a:spLocks noChangeShapeType="1"/>
              </p:cNvSpPr>
              <p:nvPr/>
            </p:nvSpPr>
            <p:spPr bwMode="auto">
              <a:xfrm>
                <a:off x="7124784" y="7071071"/>
                <a:ext cx="0" cy="75301"/>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399" name="Line 626">
                <a:extLst>
                  <a:ext uri="{FF2B5EF4-FFF2-40B4-BE49-F238E27FC236}">
                    <a16:creationId xmlns:a16="http://schemas.microsoft.com/office/drawing/2014/main" id="{A9402AEF-599B-2351-CF32-5BF2A6B3EC63}"/>
                  </a:ext>
                </a:extLst>
              </p:cNvPr>
              <p:cNvSpPr>
                <a:spLocks noChangeShapeType="1"/>
              </p:cNvSpPr>
              <p:nvPr/>
            </p:nvSpPr>
            <p:spPr bwMode="auto">
              <a:xfrm>
                <a:off x="7114026" y="6995770"/>
                <a:ext cx="21515" cy="0"/>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00" name="Line 628">
                <a:extLst>
                  <a:ext uri="{FF2B5EF4-FFF2-40B4-BE49-F238E27FC236}">
                    <a16:creationId xmlns:a16="http://schemas.microsoft.com/office/drawing/2014/main" id="{F6E05F6A-FAA6-9F56-D1D6-E2B70899BB20}"/>
                  </a:ext>
                </a:extLst>
              </p:cNvPr>
              <p:cNvSpPr>
                <a:spLocks noChangeShapeType="1"/>
              </p:cNvSpPr>
              <p:nvPr/>
            </p:nvSpPr>
            <p:spPr bwMode="auto">
              <a:xfrm>
                <a:off x="7314382" y="6900298"/>
                <a:ext cx="0" cy="83369"/>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01" name="Line 629">
                <a:extLst>
                  <a:ext uri="{FF2B5EF4-FFF2-40B4-BE49-F238E27FC236}">
                    <a16:creationId xmlns:a16="http://schemas.microsoft.com/office/drawing/2014/main" id="{E18BD3F8-578D-BA9D-20E9-D7D3E19E6124}"/>
                  </a:ext>
                </a:extLst>
              </p:cNvPr>
              <p:cNvSpPr>
                <a:spLocks noChangeShapeType="1"/>
              </p:cNvSpPr>
              <p:nvPr/>
            </p:nvSpPr>
            <p:spPr bwMode="auto">
              <a:xfrm>
                <a:off x="7314382" y="6983668"/>
                <a:ext cx="0" cy="83369"/>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02" name="Line 630">
                <a:extLst>
                  <a:ext uri="{FF2B5EF4-FFF2-40B4-BE49-F238E27FC236}">
                    <a16:creationId xmlns:a16="http://schemas.microsoft.com/office/drawing/2014/main" id="{E342C74F-BA8A-2B6C-999F-CEF108ECA054}"/>
                  </a:ext>
                </a:extLst>
              </p:cNvPr>
              <p:cNvSpPr>
                <a:spLocks noChangeShapeType="1"/>
              </p:cNvSpPr>
              <p:nvPr/>
            </p:nvSpPr>
            <p:spPr bwMode="auto">
              <a:xfrm>
                <a:off x="7303625" y="6900298"/>
                <a:ext cx="21515" cy="0"/>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03" name="Line 631">
                <a:extLst>
                  <a:ext uri="{FF2B5EF4-FFF2-40B4-BE49-F238E27FC236}">
                    <a16:creationId xmlns:a16="http://schemas.microsoft.com/office/drawing/2014/main" id="{B80412B6-2ED0-5425-432D-85C8B3E7A08B}"/>
                  </a:ext>
                </a:extLst>
              </p:cNvPr>
              <p:cNvSpPr>
                <a:spLocks noChangeShapeType="1"/>
              </p:cNvSpPr>
              <p:nvPr/>
            </p:nvSpPr>
            <p:spPr bwMode="auto">
              <a:xfrm>
                <a:off x="7303625" y="7067037"/>
                <a:ext cx="21515" cy="0"/>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04" name="Line 632">
                <a:extLst>
                  <a:ext uri="{FF2B5EF4-FFF2-40B4-BE49-F238E27FC236}">
                    <a16:creationId xmlns:a16="http://schemas.microsoft.com/office/drawing/2014/main" id="{935DE007-C55F-727F-7F18-C6E7A30CFD66}"/>
                  </a:ext>
                </a:extLst>
              </p:cNvPr>
              <p:cNvSpPr>
                <a:spLocks noChangeShapeType="1"/>
              </p:cNvSpPr>
              <p:nvPr/>
            </p:nvSpPr>
            <p:spPr bwMode="auto">
              <a:xfrm>
                <a:off x="7502636" y="6913745"/>
                <a:ext cx="0" cy="99506"/>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05" name="Line 633">
                <a:extLst>
                  <a:ext uri="{FF2B5EF4-FFF2-40B4-BE49-F238E27FC236}">
                    <a16:creationId xmlns:a16="http://schemas.microsoft.com/office/drawing/2014/main" id="{D344C6D1-EB6F-C48E-92B0-766C1B8FF47F}"/>
                  </a:ext>
                </a:extLst>
              </p:cNvPr>
              <p:cNvSpPr>
                <a:spLocks noChangeShapeType="1"/>
              </p:cNvSpPr>
              <p:nvPr/>
            </p:nvSpPr>
            <p:spPr bwMode="auto">
              <a:xfrm>
                <a:off x="7502636" y="7013251"/>
                <a:ext cx="0" cy="99506"/>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06" name="Line 634">
                <a:extLst>
                  <a:ext uri="{FF2B5EF4-FFF2-40B4-BE49-F238E27FC236}">
                    <a16:creationId xmlns:a16="http://schemas.microsoft.com/office/drawing/2014/main" id="{7CC7D67B-E8A6-B25B-A623-4E2C48BE7467}"/>
                  </a:ext>
                </a:extLst>
              </p:cNvPr>
              <p:cNvSpPr>
                <a:spLocks noChangeShapeType="1"/>
              </p:cNvSpPr>
              <p:nvPr/>
            </p:nvSpPr>
            <p:spPr bwMode="auto">
              <a:xfrm>
                <a:off x="7491878" y="6913745"/>
                <a:ext cx="21515" cy="0"/>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07" name="Line 635">
                <a:extLst>
                  <a:ext uri="{FF2B5EF4-FFF2-40B4-BE49-F238E27FC236}">
                    <a16:creationId xmlns:a16="http://schemas.microsoft.com/office/drawing/2014/main" id="{056A94DF-0F43-E95F-F8A7-36225E2B98DA}"/>
                  </a:ext>
                </a:extLst>
              </p:cNvPr>
              <p:cNvSpPr>
                <a:spLocks noChangeShapeType="1"/>
              </p:cNvSpPr>
              <p:nvPr/>
            </p:nvSpPr>
            <p:spPr bwMode="auto">
              <a:xfrm>
                <a:off x="7491878" y="7112756"/>
                <a:ext cx="21515" cy="0"/>
              </a:xfrm>
              <a:prstGeom prst="line">
                <a:avLst/>
              </a:prstGeom>
              <a:noFill/>
              <a:ln w="7938"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08" name="Oval 636">
                <a:extLst>
                  <a:ext uri="{FF2B5EF4-FFF2-40B4-BE49-F238E27FC236}">
                    <a16:creationId xmlns:a16="http://schemas.microsoft.com/office/drawing/2014/main" id="{2CCD3DFA-819C-9130-5A6A-B1F450CDE4A1}"/>
                  </a:ext>
                </a:extLst>
              </p:cNvPr>
              <p:cNvSpPr>
                <a:spLocks noChangeArrowheads="1"/>
              </p:cNvSpPr>
              <p:nvPr/>
            </p:nvSpPr>
            <p:spPr bwMode="auto">
              <a:xfrm>
                <a:off x="6362357" y="7877877"/>
                <a:ext cx="18825"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09" name="Oval 637">
                <a:extLst>
                  <a:ext uri="{FF2B5EF4-FFF2-40B4-BE49-F238E27FC236}">
                    <a16:creationId xmlns:a16="http://schemas.microsoft.com/office/drawing/2014/main" id="{BDFC1FCE-0384-40E8-1E4F-AFF22D277C39}"/>
                  </a:ext>
                </a:extLst>
              </p:cNvPr>
              <p:cNvSpPr>
                <a:spLocks noChangeArrowheads="1"/>
              </p:cNvSpPr>
              <p:nvPr/>
            </p:nvSpPr>
            <p:spPr bwMode="auto">
              <a:xfrm>
                <a:off x="6550610" y="7549774"/>
                <a:ext cx="18825" cy="20170"/>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10" name="Oval 638">
                <a:extLst>
                  <a:ext uri="{FF2B5EF4-FFF2-40B4-BE49-F238E27FC236}">
                    <a16:creationId xmlns:a16="http://schemas.microsoft.com/office/drawing/2014/main" id="{81B7DBF7-7068-D56E-3EDA-C576E5E3D9BD}"/>
                  </a:ext>
                </a:extLst>
              </p:cNvPr>
              <p:cNvSpPr>
                <a:spLocks noChangeArrowheads="1"/>
              </p:cNvSpPr>
              <p:nvPr/>
            </p:nvSpPr>
            <p:spPr bwMode="auto">
              <a:xfrm>
                <a:off x="6738864" y="7377656"/>
                <a:ext cx="18825"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11" name="Oval 639">
                <a:extLst>
                  <a:ext uri="{FF2B5EF4-FFF2-40B4-BE49-F238E27FC236}">
                    <a16:creationId xmlns:a16="http://schemas.microsoft.com/office/drawing/2014/main" id="{E4C2B82C-2E50-2374-F983-BC3AEFEA3F83}"/>
                  </a:ext>
                </a:extLst>
              </p:cNvPr>
              <p:cNvSpPr>
                <a:spLocks noChangeArrowheads="1"/>
              </p:cNvSpPr>
              <p:nvPr/>
            </p:nvSpPr>
            <p:spPr bwMode="auto">
              <a:xfrm>
                <a:off x="6927118" y="7274117"/>
                <a:ext cx="18825"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12" name="Oval 640">
                <a:extLst>
                  <a:ext uri="{FF2B5EF4-FFF2-40B4-BE49-F238E27FC236}">
                    <a16:creationId xmlns:a16="http://schemas.microsoft.com/office/drawing/2014/main" id="{D6D85B38-03B7-F10A-C554-9BD6D6C7A532}"/>
                  </a:ext>
                </a:extLst>
              </p:cNvPr>
              <p:cNvSpPr>
                <a:spLocks noChangeArrowheads="1"/>
              </p:cNvSpPr>
              <p:nvPr/>
            </p:nvSpPr>
            <p:spPr bwMode="auto">
              <a:xfrm>
                <a:off x="7115371" y="7061659"/>
                <a:ext cx="18825"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13" name="Oval 641">
                <a:extLst>
                  <a:ext uri="{FF2B5EF4-FFF2-40B4-BE49-F238E27FC236}">
                    <a16:creationId xmlns:a16="http://schemas.microsoft.com/office/drawing/2014/main" id="{F6E7BA93-BC24-C13D-A641-FA95B59716E9}"/>
                  </a:ext>
                </a:extLst>
              </p:cNvPr>
              <p:cNvSpPr>
                <a:spLocks noChangeArrowheads="1"/>
              </p:cNvSpPr>
              <p:nvPr/>
            </p:nvSpPr>
            <p:spPr bwMode="auto">
              <a:xfrm>
                <a:off x="7304969" y="6974255"/>
                <a:ext cx="18825"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14" name="Oval 642">
                <a:extLst>
                  <a:ext uri="{FF2B5EF4-FFF2-40B4-BE49-F238E27FC236}">
                    <a16:creationId xmlns:a16="http://schemas.microsoft.com/office/drawing/2014/main" id="{C6620F4A-DB2F-34AC-BB1E-FFD44C3131D9}"/>
                  </a:ext>
                </a:extLst>
              </p:cNvPr>
              <p:cNvSpPr>
                <a:spLocks noChangeArrowheads="1"/>
              </p:cNvSpPr>
              <p:nvPr/>
            </p:nvSpPr>
            <p:spPr bwMode="auto">
              <a:xfrm>
                <a:off x="7493223" y="7003838"/>
                <a:ext cx="18825"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15" name="Line 619">
                <a:extLst>
                  <a:ext uri="{FF2B5EF4-FFF2-40B4-BE49-F238E27FC236}">
                    <a16:creationId xmlns:a16="http://schemas.microsoft.com/office/drawing/2014/main" id="{BA186E56-99B4-503C-EF47-8F7C265D9788}"/>
                  </a:ext>
                </a:extLst>
              </p:cNvPr>
              <p:cNvSpPr>
                <a:spLocks noChangeShapeType="1"/>
              </p:cNvSpPr>
              <p:nvPr/>
            </p:nvSpPr>
            <p:spPr bwMode="auto">
              <a:xfrm>
                <a:off x="6737519" y="7462370"/>
                <a:ext cx="21515" cy="0"/>
              </a:xfrm>
              <a:prstGeom prst="line">
                <a:avLst/>
              </a:prstGeom>
              <a:noFill/>
              <a:ln w="7938"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416" name="Line 627">
                <a:extLst>
                  <a:ext uri="{FF2B5EF4-FFF2-40B4-BE49-F238E27FC236}">
                    <a16:creationId xmlns:a16="http://schemas.microsoft.com/office/drawing/2014/main" id="{037BE0E2-CF77-9BE4-F594-261B33EB3440}"/>
                  </a:ext>
                </a:extLst>
              </p:cNvPr>
              <p:cNvSpPr>
                <a:spLocks noChangeShapeType="1"/>
              </p:cNvSpPr>
              <p:nvPr/>
            </p:nvSpPr>
            <p:spPr bwMode="auto">
              <a:xfrm>
                <a:off x="7114026" y="7146373"/>
                <a:ext cx="21515" cy="0"/>
              </a:xfrm>
              <a:prstGeom prst="line">
                <a:avLst/>
              </a:prstGeom>
              <a:noFill/>
              <a:ln w="7938"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grpSp>
      <p:grpSp>
        <p:nvGrpSpPr>
          <p:cNvPr id="757" name="Group 756">
            <a:extLst>
              <a:ext uri="{FF2B5EF4-FFF2-40B4-BE49-F238E27FC236}">
                <a16:creationId xmlns:a16="http://schemas.microsoft.com/office/drawing/2014/main" id="{E8E73C51-FDA5-9322-B943-4E58E4A4058E}"/>
              </a:ext>
            </a:extLst>
          </p:cNvPr>
          <p:cNvGrpSpPr>
            <a:grpSpLocks noChangeAspect="1"/>
          </p:cNvGrpSpPr>
          <p:nvPr/>
        </p:nvGrpSpPr>
        <p:grpSpPr>
          <a:xfrm>
            <a:off x="4775778" y="1489161"/>
            <a:ext cx="3492108" cy="3384754"/>
            <a:chOff x="6530738" y="3757616"/>
            <a:chExt cx="1552048" cy="1504335"/>
          </a:xfrm>
        </p:grpSpPr>
        <p:sp>
          <p:nvSpPr>
            <p:cNvPr id="636" name="Freeform 709">
              <a:extLst>
                <a:ext uri="{FF2B5EF4-FFF2-40B4-BE49-F238E27FC236}">
                  <a16:creationId xmlns:a16="http://schemas.microsoft.com/office/drawing/2014/main" id="{55EE3080-2782-0848-DDC7-164C3DB74656}"/>
                </a:ext>
              </a:extLst>
            </p:cNvPr>
            <p:cNvSpPr>
              <a:spLocks noEditPoints="1"/>
            </p:cNvSpPr>
            <p:nvPr/>
          </p:nvSpPr>
          <p:spPr bwMode="auto">
            <a:xfrm>
              <a:off x="6734082" y="3883075"/>
              <a:ext cx="26893" cy="1042117"/>
            </a:xfrm>
            <a:custGeom>
              <a:avLst/>
              <a:gdLst>
                <a:gd name="T0" fmla="*/ 20 w 20"/>
                <a:gd name="T1" fmla="*/ 775 h 775"/>
                <a:gd name="T2" fmla="*/ 20 w 20"/>
                <a:gd name="T3" fmla="*/ 0 h 775"/>
                <a:gd name="T4" fmla="*/ 20 w 20"/>
                <a:gd name="T5" fmla="*/ 773 h 775"/>
                <a:gd name="T6" fmla="*/ 0 w 20"/>
                <a:gd name="T7" fmla="*/ 773 h 775"/>
                <a:gd name="T8" fmla="*/ 20 w 20"/>
                <a:gd name="T9" fmla="*/ 619 h 775"/>
                <a:gd name="T10" fmla="*/ 0 w 20"/>
                <a:gd name="T11" fmla="*/ 619 h 775"/>
                <a:gd name="T12" fmla="*/ 20 w 20"/>
                <a:gd name="T13" fmla="*/ 465 h 775"/>
                <a:gd name="T14" fmla="*/ 0 w 20"/>
                <a:gd name="T15" fmla="*/ 465 h 775"/>
                <a:gd name="T16" fmla="*/ 20 w 20"/>
                <a:gd name="T17" fmla="*/ 311 h 775"/>
                <a:gd name="T18" fmla="*/ 0 w 20"/>
                <a:gd name="T19" fmla="*/ 311 h 775"/>
                <a:gd name="T20" fmla="*/ 20 w 20"/>
                <a:gd name="T21" fmla="*/ 2 h 775"/>
                <a:gd name="T22" fmla="*/ 0 w 20"/>
                <a:gd name="T23" fmla="*/ 2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775">
                  <a:moveTo>
                    <a:pt x="20" y="775"/>
                  </a:moveTo>
                  <a:lnTo>
                    <a:pt x="20" y="0"/>
                  </a:lnTo>
                  <a:moveTo>
                    <a:pt x="20" y="773"/>
                  </a:moveTo>
                  <a:lnTo>
                    <a:pt x="0" y="773"/>
                  </a:lnTo>
                  <a:moveTo>
                    <a:pt x="20" y="619"/>
                  </a:moveTo>
                  <a:lnTo>
                    <a:pt x="0" y="619"/>
                  </a:lnTo>
                  <a:moveTo>
                    <a:pt x="20" y="465"/>
                  </a:moveTo>
                  <a:lnTo>
                    <a:pt x="0" y="465"/>
                  </a:lnTo>
                  <a:moveTo>
                    <a:pt x="20" y="311"/>
                  </a:moveTo>
                  <a:lnTo>
                    <a:pt x="0" y="311"/>
                  </a:lnTo>
                  <a:moveTo>
                    <a:pt x="20" y="2"/>
                  </a:moveTo>
                  <a:lnTo>
                    <a:pt x="0" y="2"/>
                  </a:lnTo>
                </a:path>
              </a:pathLst>
            </a:custGeom>
            <a:noFill/>
            <a:ln w="635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nvGrpSpPr>
            <p:cNvPr id="637" name="Group 636">
              <a:extLst>
                <a:ext uri="{FF2B5EF4-FFF2-40B4-BE49-F238E27FC236}">
                  <a16:creationId xmlns:a16="http://schemas.microsoft.com/office/drawing/2014/main" id="{7C0A22A3-065A-CCBF-609C-D4E452875E18}"/>
                </a:ext>
              </a:extLst>
            </p:cNvPr>
            <p:cNvGrpSpPr/>
            <p:nvPr/>
          </p:nvGrpSpPr>
          <p:grpSpPr>
            <a:xfrm>
              <a:off x="6658804" y="3851841"/>
              <a:ext cx="1371188" cy="1171682"/>
              <a:chOff x="6175471" y="6817126"/>
              <a:chExt cx="1371188" cy="1171682"/>
            </a:xfrm>
          </p:grpSpPr>
          <p:grpSp>
            <p:nvGrpSpPr>
              <p:cNvPr id="638" name="Group 637">
                <a:extLst>
                  <a:ext uri="{FF2B5EF4-FFF2-40B4-BE49-F238E27FC236}">
                    <a16:creationId xmlns:a16="http://schemas.microsoft.com/office/drawing/2014/main" id="{9433B42C-8D13-D542-D7D8-05D456191B89}"/>
                  </a:ext>
                </a:extLst>
              </p:cNvPr>
              <p:cNvGrpSpPr/>
              <p:nvPr/>
            </p:nvGrpSpPr>
            <p:grpSpPr>
              <a:xfrm>
                <a:off x="6273078" y="7919558"/>
                <a:ext cx="1273581" cy="69250"/>
                <a:chOff x="6273078" y="7919558"/>
                <a:chExt cx="1273581" cy="69250"/>
              </a:xfrm>
            </p:grpSpPr>
            <p:sp>
              <p:nvSpPr>
                <p:cNvPr id="651" name="Rectangle 562">
                  <a:extLst>
                    <a:ext uri="{FF2B5EF4-FFF2-40B4-BE49-F238E27FC236}">
                      <a16:creationId xmlns:a16="http://schemas.microsoft.com/office/drawing/2014/main" id="{750CB867-6DAA-B827-520D-D5A1016E2736}"/>
                    </a:ext>
                  </a:extLst>
                </p:cNvPr>
                <p:cNvSpPr>
                  <a:spLocks noChangeArrowheads="1"/>
                </p:cNvSpPr>
                <p:nvPr/>
              </p:nvSpPr>
              <p:spPr bwMode="auto">
                <a:xfrm>
                  <a:off x="6273078" y="7919558"/>
                  <a:ext cx="195566"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595959"/>
                      </a:solidFill>
                      <a:latin typeface="Calibri" panose="020F0502020204030204"/>
                    </a:rPr>
                    <a:t>Baseline</a:t>
                  </a:r>
                </a:p>
              </p:txBody>
            </p:sp>
            <p:sp>
              <p:nvSpPr>
                <p:cNvPr id="652" name="Rectangle 563">
                  <a:extLst>
                    <a:ext uri="{FF2B5EF4-FFF2-40B4-BE49-F238E27FC236}">
                      <a16:creationId xmlns:a16="http://schemas.microsoft.com/office/drawing/2014/main" id="{B79A8510-450F-C0F0-7930-D794AE0FFA08}"/>
                    </a:ext>
                  </a:extLst>
                </p:cNvPr>
                <p:cNvSpPr>
                  <a:spLocks noChangeArrowheads="1"/>
                </p:cNvSpPr>
                <p:nvPr/>
              </p:nvSpPr>
              <p:spPr bwMode="auto">
                <a:xfrm>
                  <a:off x="6516749" y="791955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4</a:t>
                  </a:r>
                </a:p>
              </p:txBody>
            </p:sp>
            <p:sp>
              <p:nvSpPr>
                <p:cNvPr id="653" name="Rectangle 564">
                  <a:extLst>
                    <a:ext uri="{FF2B5EF4-FFF2-40B4-BE49-F238E27FC236}">
                      <a16:creationId xmlns:a16="http://schemas.microsoft.com/office/drawing/2014/main" id="{1C8D4EA8-B1BE-5F70-A2B5-F1CD99866F33}"/>
                    </a:ext>
                  </a:extLst>
                </p:cNvPr>
                <p:cNvSpPr>
                  <a:spLocks noChangeArrowheads="1"/>
                </p:cNvSpPr>
                <p:nvPr/>
              </p:nvSpPr>
              <p:spPr bwMode="auto">
                <a:xfrm>
                  <a:off x="6704443" y="791955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8</a:t>
                  </a:r>
                </a:p>
              </p:txBody>
            </p:sp>
            <p:sp>
              <p:nvSpPr>
                <p:cNvPr id="654" name="Rectangle 565">
                  <a:extLst>
                    <a:ext uri="{FF2B5EF4-FFF2-40B4-BE49-F238E27FC236}">
                      <a16:creationId xmlns:a16="http://schemas.microsoft.com/office/drawing/2014/main" id="{CC035EA3-5F77-94DD-09A1-FE07518B51A2}"/>
                    </a:ext>
                  </a:extLst>
                </p:cNvPr>
                <p:cNvSpPr>
                  <a:spLocks noChangeArrowheads="1"/>
                </p:cNvSpPr>
                <p:nvPr/>
              </p:nvSpPr>
              <p:spPr bwMode="auto">
                <a:xfrm>
                  <a:off x="6892137" y="791955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12</a:t>
                  </a:r>
                </a:p>
              </p:txBody>
            </p:sp>
            <p:sp>
              <p:nvSpPr>
                <p:cNvPr id="655" name="Rectangle 566">
                  <a:extLst>
                    <a:ext uri="{FF2B5EF4-FFF2-40B4-BE49-F238E27FC236}">
                      <a16:creationId xmlns:a16="http://schemas.microsoft.com/office/drawing/2014/main" id="{AB8C4389-AFB3-C3DA-5D4A-346816FCEFFE}"/>
                    </a:ext>
                  </a:extLst>
                </p:cNvPr>
                <p:cNvSpPr>
                  <a:spLocks noChangeArrowheads="1"/>
                </p:cNvSpPr>
                <p:nvPr/>
              </p:nvSpPr>
              <p:spPr bwMode="auto">
                <a:xfrm>
                  <a:off x="7079831" y="791955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16</a:t>
                  </a:r>
                </a:p>
              </p:txBody>
            </p:sp>
            <p:sp>
              <p:nvSpPr>
                <p:cNvPr id="656" name="Rectangle 567">
                  <a:extLst>
                    <a:ext uri="{FF2B5EF4-FFF2-40B4-BE49-F238E27FC236}">
                      <a16:creationId xmlns:a16="http://schemas.microsoft.com/office/drawing/2014/main" id="{57E4EBD7-CE83-1811-8B6C-B4D838CFC541}"/>
                    </a:ext>
                  </a:extLst>
                </p:cNvPr>
                <p:cNvSpPr>
                  <a:spLocks noChangeArrowheads="1"/>
                </p:cNvSpPr>
                <p:nvPr/>
              </p:nvSpPr>
              <p:spPr bwMode="auto">
                <a:xfrm>
                  <a:off x="7267525" y="791955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20</a:t>
                  </a:r>
                </a:p>
              </p:txBody>
            </p:sp>
            <p:sp>
              <p:nvSpPr>
                <p:cNvPr id="657" name="Rectangle 568">
                  <a:extLst>
                    <a:ext uri="{FF2B5EF4-FFF2-40B4-BE49-F238E27FC236}">
                      <a16:creationId xmlns:a16="http://schemas.microsoft.com/office/drawing/2014/main" id="{8FAECA8F-C1B1-9332-2CBD-BE58B50D6E35}"/>
                    </a:ext>
                  </a:extLst>
                </p:cNvPr>
                <p:cNvSpPr>
                  <a:spLocks noChangeArrowheads="1"/>
                </p:cNvSpPr>
                <p:nvPr/>
              </p:nvSpPr>
              <p:spPr bwMode="auto">
                <a:xfrm>
                  <a:off x="7455219" y="791955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24</a:t>
                  </a:r>
                </a:p>
              </p:txBody>
            </p:sp>
          </p:grpSp>
          <p:grpSp>
            <p:nvGrpSpPr>
              <p:cNvPr id="639" name="Group 638">
                <a:extLst>
                  <a:ext uri="{FF2B5EF4-FFF2-40B4-BE49-F238E27FC236}">
                    <a16:creationId xmlns:a16="http://schemas.microsoft.com/office/drawing/2014/main" id="{7784F6FB-2C54-5CEE-80A4-A2C70CBCB666}"/>
                  </a:ext>
                </a:extLst>
              </p:cNvPr>
              <p:cNvGrpSpPr/>
              <p:nvPr/>
            </p:nvGrpSpPr>
            <p:grpSpPr>
              <a:xfrm>
                <a:off x="6175471" y="6817126"/>
                <a:ext cx="56777" cy="1104645"/>
                <a:chOff x="6175471" y="6817126"/>
                <a:chExt cx="56777" cy="1104645"/>
              </a:xfrm>
            </p:grpSpPr>
            <p:sp>
              <p:nvSpPr>
                <p:cNvPr id="640" name="Rectangle 570">
                  <a:extLst>
                    <a:ext uri="{FF2B5EF4-FFF2-40B4-BE49-F238E27FC236}">
                      <a16:creationId xmlns:a16="http://schemas.microsoft.com/office/drawing/2014/main" id="{4FB78785-4452-62A0-2C4C-77A5293BC5B5}"/>
                    </a:ext>
                  </a:extLst>
                </p:cNvPr>
                <p:cNvSpPr>
                  <a:spLocks noChangeArrowheads="1"/>
                </p:cNvSpPr>
                <p:nvPr/>
              </p:nvSpPr>
              <p:spPr bwMode="auto">
                <a:xfrm>
                  <a:off x="6175471" y="7852521"/>
                  <a:ext cx="56777"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a:solidFill>
                        <a:srgbClr val="595959"/>
                      </a:solidFill>
                      <a:latin typeface="Calibri" panose="020F0502020204030204"/>
                    </a:rPr>
                    <a:t>–4</a:t>
                  </a:r>
                </a:p>
              </p:txBody>
            </p:sp>
            <p:sp>
              <p:nvSpPr>
                <p:cNvPr id="641" name="Rectangle 572">
                  <a:extLst>
                    <a:ext uri="{FF2B5EF4-FFF2-40B4-BE49-F238E27FC236}">
                      <a16:creationId xmlns:a16="http://schemas.microsoft.com/office/drawing/2014/main" id="{77A17407-CF63-68EC-3AEB-8224CDABEEC3}"/>
                    </a:ext>
                  </a:extLst>
                </p:cNvPr>
                <p:cNvSpPr>
                  <a:spLocks noChangeArrowheads="1"/>
                </p:cNvSpPr>
                <p:nvPr/>
              </p:nvSpPr>
              <p:spPr bwMode="auto">
                <a:xfrm>
                  <a:off x="6175471" y="7645442"/>
                  <a:ext cx="56777"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a:solidFill>
                        <a:srgbClr val="595959"/>
                      </a:solidFill>
                      <a:latin typeface="Calibri" panose="020F0502020204030204"/>
                    </a:rPr>
                    <a:t>–3</a:t>
                  </a:r>
                </a:p>
              </p:txBody>
            </p:sp>
            <p:sp>
              <p:nvSpPr>
                <p:cNvPr id="642" name="Rectangle 573">
                  <a:extLst>
                    <a:ext uri="{FF2B5EF4-FFF2-40B4-BE49-F238E27FC236}">
                      <a16:creationId xmlns:a16="http://schemas.microsoft.com/office/drawing/2014/main" id="{F98CEF57-C7A7-908B-456D-9A90FB6BCB2C}"/>
                    </a:ext>
                  </a:extLst>
                </p:cNvPr>
                <p:cNvSpPr>
                  <a:spLocks noChangeArrowheads="1"/>
                </p:cNvSpPr>
                <p:nvPr/>
              </p:nvSpPr>
              <p:spPr bwMode="auto">
                <a:xfrm>
                  <a:off x="6175471" y="7438363"/>
                  <a:ext cx="56777"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a:solidFill>
                        <a:srgbClr val="595959"/>
                      </a:solidFill>
                      <a:latin typeface="Calibri" panose="020F0502020204030204"/>
                    </a:rPr>
                    <a:t>–2</a:t>
                  </a:r>
                </a:p>
              </p:txBody>
            </p:sp>
            <p:sp>
              <p:nvSpPr>
                <p:cNvPr id="643" name="Rectangle 574">
                  <a:extLst>
                    <a:ext uri="{FF2B5EF4-FFF2-40B4-BE49-F238E27FC236}">
                      <a16:creationId xmlns:a16="http://schemas.microsoft.com/office/drawing/2014/main" id="{49066B24-4DFD-0712-408E-77B867FC53CD}"/>
                    </a:ext>
                  </a:extLst>
                </p:cNvPr>
                <p:cNvSpPr>
                  <a:spLocks noChangeArrowheads="1"/>
                </p:cNvSpPr>
                <p:nvPr/>
              </p:nvSpPr>
              <p:spPr bwMode="auto">
                <a:xfrm>
                  <a:off x="6175471" y="7231284"/>
                  <a:ext cx="56777"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a:solidFill>
                        <a:srgbClr val="595959"/>
                      </a:solidFill>
                      <a:latin typeface="Calibri" panose="020F0502020204030204"/>
                    </a:rPr>
                    <a:t>–1</a:t>
                  </a:r>
                </a:p>
              </p:txBody>
            </p:sp>
            <p:sp>
              <p:nvSpPr>
                <p:cNvPr id="644" name="Rectangle 575">
                  <a:extLst>
                    <a:ext uri="{FF2B5EF4-FFF2-40B4-BE49-F238E27FC236}">
                      <a16:creationId xmlns:a16="http://schemas.microsoft.com/office/drawing/2014/main" id="{9A7E4C40-677C-18D8-FE32-5DC126165ABC}"/>
                    </a:ext>
                  </a:extLst>
                </p:cNvPr>
                <p:cNvSpPr>
                  <a:spLocks noChangeArrowheads="1"/>
                </p:cNvSpPr>
                <p:nvPr/>
              </p:nvSpPr>
              <p:spPr bwMode="auto">
                <a:xfrm>
                  <a:off x="6175471" y="7024205"/>
                  <a:ext cx="56777"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a:solidFill>
                        <a:srgbClr val="595959"/>
                      </a:solidFill>
                      <a:latin typeface="Calibri" panose="020F0502020204030204"/>
                    </a:rPr>
                    <a:t>0</a:t>
                  </a:r>
                </a:p>
              </p:txBody>
            </p:sp>
            <p:sp>
              <p:nvSpPr>
                <p:cNvPr id="645" name="Rectangle 576">
                  <a:extLst>
                    <a:ext uri="{FF2B5EF4-FFF2-40B4-BE49-F238E27FC236}">
                      <a16:creationId xmlns:a16="http://schemas.microsoft.com/office/drawing/2014/main" id="{EC54CFE7-0825-302D-F2A6-FF5801BCB13C}"/>
                    </a:ext>
                  </a:extLst>
                </p:cNvPr>
                <p:cNvSpPr>
                  <a:spLocks noChangeArrowheads="1"/>
                </p:cNvSpPr>
                <p:nvPr/>
              </p:nvSpPr>
              <p:spPr bwMode="auto">
                <a:xfrm>
                  <a:off x="6175471" y="6817126"/>
                  <a:ext cx="56777"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a:solidFill>
                        <a:srgbClr val="595959"/>
                      </a:solidFill>
                      <a:latin typeface="Calibri" panose="020F0502020204030204"/>
                    </a:rPr>
                    <a:t>1</a:t>
                  </a:r>
                </a:p>
              </p:txBody>
            </p:sp>
          </p:grpSp>
        </p:grpSp>
        <p:sp>
          <p:nvSpPr>
            <p:cNvPr id="658" name="Line 578">
              <a:extLst>
                <a:ext uri="{FF2B5EF4-FFF2-40B4-BE49-F238E27FC236}">
                  <a16:creationId xmlns:a16="http://schemas.microsoft.com/office/drawing/2014/main" id="{90D9D54A-C180-A568-3235-9AC86BCEBF68}"/>
                </a:ext>
              </a:extLst>
            </p:cNvPr>
            <p:cNvSpPr>
              <a:spLocks noChangeShapeType="1"/>
            </p:cNvSpPr>
            <p:nvPr/>
          </p:nvSpPr>
          <p:spPr bwMode="auto">
            <a:xfrm flipH="1">
              <a:off x="6734082" y="4922001"/>
              <a:ext cx="26893" cy="0"/>
            </a:xfrm>
            <a:prstGeom prst="line">
              <a:avLst/>
            </a:prstGeom>
            <a:noFill/>
            <a:ln w="635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nvGrpSpPr>
            <p:cNvPr id="666" name="Group 665">
              <a:extLst>
                <a:ext uri="{FF2B5EF4-FFF2-40B4-BE49-F238E27FC236}">
                  <a16:creationId xmlns:a16="http://schemas.microsoft.com/office/drawing/2014/main" id="{3553161F-647D-18B5-7F7F-70CFE2DB537F}"/>
                </a:ext>
              </a:extLst>
            </p:cNvPr>
            <p:cNvGrpSpPr/>
            <p:nvPr/>
          </p:nvGrpSpPr>
          <p:grpSpPr>
            <a:xfrm>
              <a:off x="6832243" y="5102610"/>
              <a:ext cx="1200686" cy="82074"/>
              <a:chOff x="6348910" y="8058369"/>
              <a:chExt cx="1200686" cy="82074"/>
            </a:xfrm>
          </p:grpSpPr>
          <p:sp>
            <p:nvSpPr>
              <p:cNvPr id="668" name="Rectangle 679">
                <a:extLst>
                  <a:ext uri="{FF2B5EF4-FFF2-40B4-BE49-F238E27FC236}">
                    <a16:creationId xmlns:a16="http://schemas.microsoft.com/office/drawing/2014/main" id="{DF19E833-00AB-1E95-A6F3-2E5BB1D749B2}"/>
                  </a:ext>
                </a:extLst>
              </p:cNvPr>
              <p:cNvSpPr>
                <a:spLocks noChangeArrowheads="1"/>
              </p:cNvSpPr>
              <p:nvPr/>
            </p:nvSpPr>
            <p:spPr bwMode="auto">
              <a:xfrm>
                <a:off x="6348910"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7</a:t>
                </a:r>
              </a:p>
            </p:txBody>
          </p:sp>
          <p:sp>
            <p:nvSpPr>
              <p:cNvPr id="669" name="Rectangle 681">
                <a:extLst>
                  <a:ext uri="{FF2B5EF4-FFF2-40B4-BE49-F238E27FC236}">
                    <a16:creationId xmlns:a16="http://schemas.microsoft.com/office/drawing/2014/main" id="{16216DC7-D0D6-BCC0-9569-204EE14CD3A3}"/>
                  </a:ext>
                </a:extLst>
              </p:cNvPr>
              <p:cNvSpPr>
                <a:spLocks noChangeArrowheads="1"/>
              </p:cNvSpPr>
              <p:nvPr/>
            </p:nvSpPr>
            <p:spPr bwMode="auto">
              <a:xfrm>
                <a:off x="6537164"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3</a:t>
                </a:r>
              </a:p>
            </p:txBody>
          </p:sp>
          <p:sp>
            <p:nvSpPr>
              <p:cNvPr id="670" name="Rectangle 683">
                <a:extLst>
                  <a:ext uri="{FF2B5EF4-FFF2-40B4-BE49-F238E27FC236}">
                    <a16:creationId xmlns:a16="http://schemas.microsoft.com/office/drawing/2014/main" id="{CD4025A3-AE84-F991-1874-B5597F4DB210}"/>
                  </a:ext>
                </a:extLst>
              </p:cNvPr>
              <p:cNvSpPr>
                <a:spLocks noChangeArrowheads="1"/>
              </p:cNvSpPr>
              <p:nvPr/>
            </p:nvSpPr>
            <p:spPr bwMode="auto">
              <a:xfrm>
                <a:off x="6724073"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5</a:t>
                </a:r>
              </a:p>
            </p:txBody>
          </p:sp>
          <p:sp>
            <p:nvSpPr>
              <p:cNvPr id="671" name="Rectangle 685">
                <a:extLst>
                  <a:ext uri="{FF2B5EF4-FFF2-40B4-BE49-F238E27FC236}">
                    <a16:creationId xmlns:a16="http://schemas.microsoft.com/office/drawing/2014/main" id="{FECED056-8967-12A1-5B4F-E74DB8F28FFE}"/>
                  </a:ext>
                </a:extLst>
              </p:cNvPr>
              <p:cNvSpPr>
                <a:spLocks noChangeArrowheads="1"/>
              </p:cNvSpPr>
              <p:nvPr/>
            </p:nvSpPr>
            <p:spPr bwMode="auto">
              <a:xfrm>
                <a:off x="6915015"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5</a:t>
                </a:r>
              </a:p>
            </p:txBody>
          </p:sp>
          <p:sp>
            <p:nvSpPr>
              <p:cNvPr id="672" name="Rectangle 687">
                <a:extLst>
                  <a:ext uri="{FF2B5EF4-FFF2-40B4-BE49-F238E27FC236}">
                    <a16:creationId xmlns:a16="http://schemas.microsoft.com/office/drawing/2014/main" id="{9F4AE7CF-2979-D83C-7C8E-F5A68AE73DCA}"/>
                  </a:ext>
                </a:extLst>
              </p:cNvPr>
              <p:cNvSpPr>
                <a:spLocks noChangeArrowheads="1"/>
              </p:cNvSpPr>
              <p:nvPr/>
            </p:nvSpPr>
            <p:spPr bwMode="auto">
              <a:xfrm>
                <a:off x="7103269"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5</a:t>
                </a:r>
              </a:p>
            </p:txBody>
          </p:sp>
          <p:sp>
            <p:nvSpPr>
              <p:cNvPr id="673" name="Rectangle 689">
                <a:extLst>
                  <a:ext uri="{FF2B5EF4-FFF2-40B4-BE49-F238E27FC236}">
                    <a16:creationId xmlns:a16="http://schemas.microsoft.com/office/drawing/2014/main" id="{4ED7FFDA-ABAC-D209-65DC-6629666DCC0F}"/>
                  </a:ext>
                </a:extLst>
              </p:cNvPr>
              <p:cNvSpPr>
                <a:spLocks noChangeArrowheads="1"/>
              </p:cNvSpPr>
              <p:nvPr/>
            </p:nvSpPr>
            <p:spPr bwMode="auto">
              <a:xfrm>
                <a:off x="7291523"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1</a:t>
                </a:r>
              </a:p>
            </p:txBody>
          </p:sp>
          <p:sp>
            <p:nvSpPr>
              <p:cNvPr id="674" name="Rectangle 691">
                <a:extLst>
                  <a:ext uri="{FF2B5EF4-FFF2-40B4-BE49-F238E27FC236}">
                    <a16:creationId xmlns:a16="http://schemas.microsoft.com/office/drawing/2014/main" id="{4EAD12D6-AD55-4B0E-E337-F32FC4033DBA}"/>
                  </a:ext>
                </a:extLst>
              </p:cNvPr>
              <p:cNvSpPr>
                <a:spLocks noChangeArrowheads="1"/>
              </p:cNvSpPr>
              <p:nvPr/>
            </p:nvSpPr>
            <p:spPr bwMode="auto">
              <a:xfrm>
                <a:off x="7479776"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1</a:t>
                </a:r>
              </a:p>
            </p:txBody>
          </p:sp>
        </p:grpSp>
        <p:grpSp>
          <p:nvGrpSpPr>
            <p:cNvPr id="675" name="Group 674">
              <a:extLst>
                <a:ext uri="{FF2B5EF4-FFF2-40B4-BE49-F238E27FC236}">
                  <a16:creationId xmlns:a16="http://schemas.microsoft.com/office/drawing/2014/main" id="{01EE3D8A-ABA3-58C4-0567-28C883FFC54B}"/>
                </a:ext>
              </a:extLst>
            </p:cNvPr>
            <p:cNvGrpSpPr/>
            <p:nvPr/>
          </p:nvGrpSpPr>
          <p:grpSpPr>
            <a:xfrm>
              <a:off x="6832243" y="5179877"/>
              <a:ext cx="1200686" cy="82074"/>
              <a:chOff x="6348910" y="8126110"/>
              <a:chExt cx="1200686" cy="82074"/>
            </a:xfrm>
          </p:grpSpPr>
          <p:sp>
            <p:nvSpPr>
              <p:cNvPr id="677" name="Rectangle 680">
                <a:extLst>
                  <a:ext uri="{FF2B5EF4-FFF2-40B4-BE49-F238E27FC236}">
                    <a16:creationId xmlns:a16="http://schemas.microsoft.com/office/drawing/2014/main" id="{C188765D-D5EB-6302-5C94-589485561A09}"/>
                  </a:ext>
                </a:extLst>
              </p:cNvPr>
              <p:cNvSpPr>
                <a:spLocks noChangeArrowheads="1"/>
              </p:cNvSpPr>
              <p:nvPr/>
            </p:nvSpPr>
            <p:spPr bwMode="auto">
              <a:xfrm>
                <a:off x="6348910"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42</a:t>
                </a:r>
              </a:p>
            </p:txBody>
          </p:sp>
          <p:sp>
            <p:nvSpPr>
              <p:cNvPr id="678" name="Rectangle 682">
                <a:extLst>
                  <a:ext uri="{FF2B5EF4-FFF2-40B4-BE49-F238E27FC236}">
                    <a16:creationId xmlns:a16="http://schemas.microsoft.com/office/drawing/2014/main" id="{47985177-AA56-F7E2-FEE9-82A23DDD67D2}"/>
                  </a:ext>
                </a:extLst>
              </p:cNvPr>
              <p:cNvSpPr>
                <a:spLocks noChangeArrowheads="1"/>
              </p:cNvSpPr>
              <p:nvPr/>
            </p:nvSpPr>
            <p:spPr bwMode="auto">
              <a:xfrm>
                <a:off x="6537164"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42</a:t>
                </a:r>
              </a:p>
            </p:txBody>
          </p:sp>
          <p:sp>
            <p:nvSpPr>
              <p:cNvPr id="679" name="Rectangle 684">
                <a:extLst>
                  <a:ext uri="{FF2B5EF4-FFF2-40B4-BE49-F238E27FC236}">
                    <a16:creationId xmlns:a16="http://schemas.microsoft.com/office/drawing/2014/main" id="{D86B8049-0121-589D-22E3-2617455259C5}"/>
                  </a:ext>
                </a:extLst>
              </p:cNvPr>
              <p:cNvSpPr>
                <a:spLocks noChangeArrowheads="1"/>
              </p:cNvSpPr>
              <p:nvPr/>
            </p:nvSpPr>
            <p:spPr bwMode="auto">
              <a:xfrm>
                <a:off x="6724073"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40</a:t>
                </a:r>
              </a:p>
            </p:txBody>
          </p:sp>
          <p:sp>
            <p:nvSpPr>
              <p:cNvPr id="680" name="Rectangle 686">
                <a:extLst>
                  <a:ext uri="{FF2B5EF4-FFF2-40B4-BE49-F238E27FC236}">
                    <a16:creationId xmlns:a16="http://schemas.microsoft.com/office/drawing/2014/main" id="{FF8EC492-990E-3DFA-690D-62E5DD4E1972}"/>
                  </a:ext>
                </a:extLst>
              </p:cNvPr>
              <p:cNvSpPr>
                <a:spLocks noChangeArrowheads="1"/>
              </p:cNvSpPr>
              <p:nvPr/>
            </p:nvSpPr>
            <p:spPr bwMode="auto">
              <a:xfrm>
                <a:off x="6915015"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38</a:t>
                </a:r>
              </a:p>
            </p:txBody>
          </p:sp>
          <p:sp>
            <p:nvSpPr>
              <p:cNvPr id="681" name="Rectangle 688">
                <a:extLst>
                  <a:ext uri="{FF2B5EF4-FFF2-40B4-BE49-F238E27FC236}">
                    <a16:creationId xmlns:a16="http://schemas.microsoft.com/office/drawing/2014/main" id="{1BCC0286-8FDC-0DD1-5CA2-6267FA827B1A}"/>
                  </a:ext>
                </a:extLst>
              </p:cNvPr>
              <p:cNvSpPr>
                <a:spLocks noChangeArrowheads="1"/>
              </p:cNvSpPr>
              <p:nvPr/>
            </p:nvSpPr>
            <p:spPr bwMode="auto">
              <a:xfrm>
                <a:off x="7103269"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36</a:t>
                </a:r>
              </a:p>
            </p:txBody>
          </p:sp>
          <p:sp>
            <p:nvSpPr>
              <p:cNvPr id="682" name="Rectangle 690">
                <a:extLst>
                  <a:ext uri="{FF2B5EF4-FFF2-40B4-BE49-F238E27FC236}">
                    <a16:creationId xmlns:a16="http://schemas.microsoft.com/office/drawing/2014/main" id="{CB7128D8-7087-8E94-00AF-541DD429D5E8}"/>
                  </a:ext>
                </a:extLst>
              </p:cNvPr>
              <p:cNvSpPr>
                <a:spLocks noChangeArrowheads="1"/>
              </p:cNvSpPr>
              <p:nvPr/>
            </p:nvSpPr>
            <p:spPr bwMode="auto">
              <a:xfrm>
                <a:off x="7291523"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36</a:t>
                </a:r>
              </a:p>
            </p:txBody>
          </p:sp>
          <p:sp>
            <p:nvSpPr>
              <p:cNvPr id="683" name="Rectangle 692">
                <a:extLst>
                  <a:ext uri="{FF2B5EF4-FFF2-40B4-BE49-F238E27FC236}">
                    <a16:creationId xmlns:a16="http://schemas.microsoft.com/office/drawing/2014/main" id="{1CF4289F-B8B3-00E6-0AA9-6E14259C2AE8}"/>
                  </a:ext>
                </a:extLst>
              </p:cNvPr>
              <p:cNvSpPr>
                <a:spLocks noChangeArrowheads="1"/>
              </p:cNvSpPr>
              <p:nvPr/>
            </p:nvSpPr>
            <p:spPr bwMode="auto">
              <a:xfrm>
                <a:off x="7479776"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7CA744"/>
                    </a:solidFill>
                    <a:latin typeface="Calibri" panose="020F0502020204030204"/>
                  </a:rPr>
                  <a:t>36</a:t>
                </a:r>
              </a:p>
            </p:txBody>
          </p:sp>
        </p:grpSp>
        <p:sp>
          <p:nvSpPr>
            <p:cNvPr id="684" name="Rectangle 530">
              <a:extLst>
                <a:ext uri="{FF2B5EF4-FFF2-40B4-BE49-F238E27FC236}">
                  <a16:creationId xmlns:a16="http://schemas.microsoft.com/office/drawing/2014/main" id="{AF0ABDF5-2E15-843A-07D1-3B22464C491A}"/>
                </a:ext>
              </a:extLst>
            </p:cNvPr>
            <p:cNvSpPr>
              <a:spLocks noChangeArrowheads="1"/>
            </p:cNvSpPr>
            <p:nvPr/>
          </p:nvSpPr>
          <p:spPr bwMode="auto">
            <a:xfrm>
              <a:off x="7212160" y="3757616"/>
              <a:ext cx="416752"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1200" b="1">
                  <a:solidFill>
                    <a:srgbClr val="0B436E"/>
                  </a:solidFill>
                  <a:latin typeface="Calibri" panose="020F0502020204030204"/>
                </a:rPr>
                <a:t>Change in PGA</a:t>
              </a:r>
            </a:p>
          </p:txBody>
        </p:sp>
        <p:sp>
          <p:nvSpPr>
            <p:cNvPr id="685" name="Freeform 569">
              <a:extLst>
                <a:ext uri="{FF2B5EF4-FFF2-40B4-BE49-F238E27FC236}">
                  <a16:creationId xmlns:a16="http://schemas.microsoft.com/office/drawing/2014/main" id="{C09650BE-2098-3353-F728-ACE794B0F3B5}"/>
                </a:ext>
              </a:extLst>
            </p:cNvPr>
            <p:cNvSpPr>
              <a:spLocks noEditPoints="1"/>
            </p:cNvSpPr>
            <p:nvPr/>
          </p:nvSpPr>
          <p:spPr bwMode="auto">
            <a:xfrm>
              <a:off x="6758287" y="4922001"/>
              <a:ext cx="1324499" cy="26893"/>
            </a:xfrm>
            <a:custGeom>
              <a:avLst/>
              <a:gdLst>
                <a:gd name="T0" fmla="*/ 0 w 985"/>
                <a:gd name="T1" fmla="*/ 0 h 20"/>
                <a:gd name="T2" fmla="*/ 985 w 985"/>
                <a:gd name="T3" fmla="*/ 0 h 20"/>
                <a:gd name="T4" fmla="*/ 72 w 985"/>
                <a:gd name="T5" fmla="*/ 20 h 20"/>
                <a:gd name="T6" fmla="*/ 72 w 985"/>
                <a:gd name="T7" fmla="*/ 0 h 20"/>
                <a:gd name="T8" fmla="*/ 212 w 985"/>
                <a:gd name="T9" fmla="*/ 20 h 20"/>
                <a:gd name="T10" fmla="*/ 212 w 985"/>
                <a:gd name="T11" fmla="*/ 0 h 20"/>
                <a:gd name="T12" fmla="*/ 352 w 985"/>
                <a:gd name="T13" fmla="*/ 20 h 20"/>
                <a:gd name="T14" fmla="*/ 352 w 985"/>
                <a:gd name="T15" fmla="*/ 0 h 20"/>
                <a:gd name="T16" fmla="*/ 492 w 985"/>
                <a:gd name="T17" fmla="*/ 20 h 20"/>
                <a:gd name="T18" fmla="*/ 492 w 985"/>
                <a:gd name="T19" fmla="*/ 0 h 20"/>
                <a:gd name="T20" fmla="*/ 632 w 985"/>
                <a:gd name="T21" fmla="*/ 20 h 20"/>
                <a:gd name="T22" fmla="*/ 632 w 985"/>
                <a:gd name="T23" fmla="*/ 0 h 20"/>
                <a:gd name="T24" fmla="*/ 773 w 985"/>
                <a:gd name="T25" fmla="*/ 20 h 20"/>
                <a:gd name="T26" fmla="*/ 773 w 985"/>
                <a:gd name="T27" fmla="*/ 0 h 20"/>
                <a:gd name="T28" fmla="*/ 913 w 985"/>
                <a:gd name="T29" fmla="*/ 20 h 20"/>
                <a:gd name="T30" fmla="*/ 913 w 985"/>
                <a:gd name="T3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5" h="20">
                  <a:moveTo>
                    <a:pt x="0" y="0"/>
                  </a:moveTo>
                  <a:lnTo>
                    <a:pt x="985" y="0"/>
                  </a:lnTo>
                  <a:moveTo>
                    <a:pt x="72" y="20"/>
                  </a:moveTo>
                  <a:lnTo>
                    <a:pt x="72" y="0"/>
                  </a:lnTo>
                  <a:moveTo>
                    <a:pt x="212" y="20"/>
                  </a:moveTo>
                  <a:lnTo>
                    <a:pt x="212" y="0"/>
                  </a:lnTo>
                  <a:moveTo>
                    <a:pt x="352" y="20"/>
                  </a:moveTo>
                  <a:lnTo>
                    <a:pt x="352" y="0"/>
                  </a:lnTo>
                  <a:moveTo>
                    <a:pt x="492" y="20"/>
                  </a:moveTo>
                  <a:lnTo>
                    <a:pt x="492" y="0"/>
                  </a:lnTo>
                  <a:moveTo>
                    <a:pt x="632" y="20"/>
                  </a:moveTo>
                  <a:lnTo>
                    <a:pt x="632" y="0"/>
                  </a:lnTo>
                  <a:moveTo>
                    <a:pt x="773" y="20"/>
                  </a:moveTo>
                  <a:lnTo>
                    <a:pt x="773" y="0"/>
                  </a:lnTo>
                  <a:moveTo>
                    <a:pt x="913" y="20"/>
                  </a:moveTo>
                  <a:lnTo>
                    <a:pt x="913" y="0"/>
                  </a:lnTo>
                </a:path>
              </a:pathLst>
            </a:custGeom>
            <a:noFill/>
            <a:ln w="635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nvGrpSpPr>
            <p:cNvPr id="686" name="Group 685">
              <a:extLst>
                <a:ext uri="{FF2B5EF4-FFF2-40B4-BE49-F238E27FC236}">
                  <a16:creationId xmlns:a16="http://schemas.microsoft.com/office/drawing/2014/main" id="{2D990CED-BCD2-7CA8-32C8-EDE7769F8BFC}"/>
                </a:ext>
              </a:extLst>
            </p:cNvPr>
            <p:cNvGrpSpPr/>
            <p:nvPr/>
          </p:nvGrpSpPr>
          <p:grpSpPr>
            <a:xfrm>
              <a:off x="6530738" y="4183944"/>
              <a:ext cx="984439" cy="916331"/>
              <a:chOff x="6047405" y="7149229"/>
              <a:chExt cx="984439" cy="916331"/>
            </a:xfrm>
          </p:grpSpPr>
          <p:sp>
            <p:nvSpPr>
              <p:cNvPr id="687" name="Rectangle 643">
                <a:extLst>
                  <a:ext uri="{FF2B5EF4-FFF2-40B4-BE49-F238E27FC236}">
                    <a16:creationId xmlns:a16="http://schemas.microsoft.com/office/drawing/2014/main" id="{14A928F5-8250-07C0-EA36-D2E068B1D47C}"/>
                  </a:ext>
                </a:extLst>
              </p:cNvPr>
              <p:cNvSpPr>
                <a:spLocks noChangeArrowheads="1"/>
              </p:cNvSpPr>
              <p:nvPr/>
            </p:nvSpPr>
            <p:spPr bwMode="auto">
              <a:xfrm>
                <a:off x="6871144" y="7983486"/>
                <a:ext cx="16070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a:solidFill>
                      <a:srgbClr val="595959"/>
                    </a:solidFill>
                    <a:latin typeface="Calibri" panose="020F0502020204030204"/>
                  </a:rPr>
                  <a:t>Week</a:t>
                </a:r>
                <a:endParaRPr lang="en-US" altLang="en-US" sz="1200">
                  <a:solidFill>
                    <a:srgbClr val="595959"/>
                  </a:solidFill>
                  <a:latin typeface="Calibri" panose="020F0502020204030204"/>
                </a:endParaRPr>
              </a:p>
            </p:txBody>
          </p:sp>
          <p:sp>
            <p:nvSpPr>
              <p:cNvPr id="688" name="Rectangle 511">
                <a:extLst>
                  <a:ext uri="{FF2B5EF4-FFF2-40B4-BE49-F238E27FC236}">
                    <a16:creationId xmlns:a16="http://schemas.microsoft.com/office/drawing/2014/main" id="{A6FF68C1-1BB2-2EDB-FB90-6FA391A5612C}"/>
                  </a:ext>
                </a:extLst>
              </p:cNvPr>
              <p:cNvSpPr>
                <a:spLocks noChangeArrowheads="1"/>
              </p:cNvSpPr>
              <p:nvPr/>
            </p:nvSpPr>
            <p:spPr bwMode="auto">
              <a:xfrm rot="16200000">
                <a:off x="5858678" y="7337956"/>
                <a:ext cx="459528"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a:solidFill>
                      <a:srgbClr val="595959"/>
                    </a:solidFill>
                    <a:latin typeface="Calibri" panose="020F0502020204030204"/>
                  </a:rPr>
                  <a:t>Mean (±SE) PGA</a:t>
                </a:r>
              </a:p>
            </p:txBody>
          </p:sp>
        </p:grpSp>
        <p:cxnSp>
          <p:nvCxnSpPr>
            <p:cNvPr id="689" name="Straight Connector 688">
              <a:extLst>
                <a:ext uri="{FF2B5EF4-FFF2-40B4-BE49-F238E27FC236}">
                  <a16:creationId xmlns:a16="http://schemas.microsoft.com/office/drawing/2014/main" id="{9453F2E2-51D0-6A70-B6CD-6EB1AAED0A3C}"/>
                </a:ext>
              </a:extLst>
            </p:cNvPr>
            <p:cNvCxnSpPr>
              <a:cxnSpLocks/>
            </p:cNvCxnSpPr>
            <p:nvPr/>
          </p:nvCxnSpPr>
          <p:spPr>
            <a:xfrm flipH="1" flipV="1">
              <a:off x="6758287" y="4090945"/>
              <a:ext cx="1324302" cy="810"/>
            </a:xfrm>
            <a:prstGeom prst="line">
              <a:avLst/>
            </a:prstGeom>
            <a:noFill/>
            <a:ln w="6350" cap="rnd">
              <a:solidFill>
                <a:srgbClr val="595959"/>
              </a:solidFill>
              <a:prstDash val="sysDot"/>
              <a:miter lim="800000"/>
              <a:headEnd/>
              <a:tailEnd/>
            </a:ln>
            <a:extLst>
              <a:ext uri="{909E8E84-426E-40DD-AFC4-6F175D3DCCD1}">
                <a14:hiddenFill xmlns:a14="http://schemas.microsoft.com/office/drawing/2010/main">
                  <a:solidFill>
                    <a:srgbClr val="FFFFFF"/>
                  </a:solidFill>
                </a14:hiddenFill>
              </a:ext>
            </a:extLst>
          </p:spPr>
        </p:cxnSp>
        <p:cxnSp>
          <p:nvCxnSpPr>
            <p:cNvPr id="690" name="Straight Connector 689">
              <a:extLst>
                <a:ext uri="{FF2B5EF4-FFF2-40B4-BE49-F238E27FC236}">
                  <a16:creationId xmlns:a16="http://schemas.microsoft.com/office/drawing/2014/main" id="{7C6CB59F-A668-0FE6-DC8A-9C7A908871FA}"/>
                </a:ext>
              </a:extLst>
            </p:cNvPr>
            <p:cNvCxnSpPr>
              <a:cxnSpLocks/>
            </p:cNvCxnSpPr>
            <p:nvPr/>
          </p:nvCxnSpPr>
          <p:spPr>
            <a:xfrm flipH="1" flipV="1">
              <a:off x="6734082" y="4090945"/>
              <a:ext cx="27432" cy="810"/>
            </a:xfrm>
            <a:prstGeom prst="line">
              <a:avLst/>
            </a:prstGeom>
            <a:noFill/>
            <a:ln w="6350" cap="rnd">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91" name="Group 690">
              <a:extLst>
                <a:ext uri="{FF2B5EF4-FFF2-40B4-BE49-F238E27FC236}">
                  <a16:creationId xmlns:a16="http://schemas.microsoft.com/office/drawing/2014/main" id="{AD48BC3D-E52E-9207-E2A1-0F6087653EFF}"/>
                </a:ext>
              </a:extLst>
            </p:cNvPr>
            <p:cNvGrpSpPr/>
            <p:nvPr/>
          </p:nvGrpSpPr>
          <p:grpSpPr>
            <a:xfrm>
              <a:off x="6845340" y="4034971"/>
              <a:ext cx="1151037" cy="377852"/>
              <a:chOff x="8504501" y="8512893"/>
              <a:chExt cx="1151037" cy="377852"/>
            </a:xfrm>
          </p:grpSpPr>
          <p:sp>
            <p:nvSpPr>
              <p:cNvPr id="692" name="Freeform 711">
                <a:extLst>
                  <a:ext uri="{FF2B5EF4-FFF2-40B4-BE49-F238E27FC236}">
                    <a16:creationId xmlns:a16="http://schemas.microsoft.com/office/drawing/2014/main" id="{BB06BE2D-E81F-A05D-81F6-E20E098C21B7}"/>
                  </a:ext>
                </a:extLst>
              </p:cNvPr>
              <p:cNvSpPr>
                <a:spLocks/>
              </p:cNvSpPr>
              <p:nvPr/>
            </p:nvSpPr>
            <p:spPr bwMode="auto">
              <a:xfrm>
                <a:off x="8513913" y="8570714"/>
                <a:ext cx="1130866" cy="248763"/>
              </a:xfrm>
              <a:custGeom>
                <a:avLst/>
                <a:gdLst>
                  <a:gd name="T0" fmla="*/ 0 w 841"/>
                  <a:gd name="T1" fmla="*/ 0 h 185"/>
                  <a:gd name="T2" fmla="*/ 0 w 841"/>
                  <a:gd name="T3" fmla="*/ 0 h 185"/>
                  <a:gd name="T4" fmla="*/ 0 w 841"/>
                  <a:gd name="T5" fmla="*/ 0 h 185"/>
                  <a:gd name="T6" fmla="*/ 140 w 841"/>
                  <a:gd name="T7" fmla="*/ 1 h 185"/>
                  <a:gd name="T8" fmla="*/ 140 w 841"/>
                  <a:gd name="T9" fmla="*/ 1 h 185"/>
                  <a:gd name="T10" fmla="*/ 280 w 841"/>
                  <a:gd name="T11" fmla="*/ 3 h 185"/>
                  <a:gd name="T12" fmla="*/ 280 w 841"/>
                  <a:gd name="T13" fmla="*/ 3 h 185"/>
                  <a:gd name="T14" fmla="*/ 420 w 841"/>
                  <a:gd name="T15" fmla="*/ 91 h 185"/>
                  <a:gd name="T16" fmla="*/ 420 w 841"/>
                  <a:gd name="T17" fmla="*/ 91 h 185"/>
                  <a:gd name="T18" fmla="*/ 560 w 841"/>
                  <a:gd name="T19" fmla="*/ 185 h 185"/>
                  <a:gd name="T20" fmla="*/ 560 w 841"/>
                  <a:gd name="T21" fmla="*/ 185 h 185"/>
                  <a:gd name="T22" fmla="*/ 701 w 841"/>
                  <a:gd name="T23" fmla="*/ 174 h 185"/>
                  <a:gd name="T24" fmla="*/ 701 w 841"/>
                  <a:gd name="T25" fmla="*/ 174 h 185"/>
                  <a:gd name="T26" fmla="*/ 841 w 841"/>
                  <a:gd name="T27" fmla="*/ 17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1" h="185">
                    <a:moveTo>
                      <a:pt x="0" y="0"/>
                    </a:moveTo>
                    <a:lnTo>
                      <a:pt x="0" y="0"/>
                    </a:lnTo>
                    <a:lnTo>
                      <a:pt x="0" y="0"/>
                    </a:lnTo>
                    <a:lnTo>
                      <a:pt x="140" y="1"/>
                    </a:lnTo>
                    <a:lnTo>
                      <a:pt x="140" y="1"/>
                    </a:lnTo>
                    <a:lnTo>
                      <a:pt x="280" y="3"/>
                    </a:lnTo>
                    <a:lnTo>
                      <a:pt x="280" y="3"/>
                    </a:lnTo>
                    <a:lnTo>
                      <a:pt x="420" y="91"/>
                    </a:lnTo>
                    <a:lnTo>
                      <a:pt x="420" y="91"/>
                    </a:lnTo>
                    <a:lnTo>
                      <a:pt x="560" y="185"/>
                    </a:lnTo>
                    <a:lnTo>
                      <a:pt x="560" y="185"/>
                    </a:lnTo>
                    <a:lnTo>
                      <a:pt x="701" y="174"/>
                    </a:lnTo>
                    <a:lnTo>
                      <a:pt x="701" y="174"/>
                    </a:lnTo>
                    <a:lnTo>
                      <a:pt x="841" y="171"/>
                    </a:lnTo>
                  </a:path>
                </a:pathLst>
              </a:custGeom>
              <a:noFill/>
              <a:ln w="1905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693" name="Line 712">
                <a:extLst>
                  <a:ext uri="{FF2B5EF4-FFF2-40B4-BE49-F238E27FC236}">
                    <a16:creationId xmlns:a16="http://schemas.microsoft.com/office/drawing/2014/main" id="{1D6F0B53-AF94-0FAA-AC23-27F9397B5C4D}"/>
                  </a:ext>
                </a:extLst>
              </p:cNvPr>
              <p:cNvSpPr>
                <a:spLocks noChangeShapeType="1"/>
              </p:cNvSpPr>
              <p:nvPr/>
            </p:nvSpPr>
            <p:spPr bwMode="auto">
              <a:xfrm>
                <a:off x="8702167" y="8512893"/>
                <a:ext cx="0" cy="59165"/>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694" name="Line 713">
                <a:extLst>
                  <a:ext uri="{FF2B5EF4-FFF2-40B4-BE49-F238E27FC236}">
                    <a16:creationId xmlns:a16="http://schemas.microsoft.com/office/drawing/2014/main" id="{4D4C0418-B50F-1970-B546-8ECF0FD41786}"/>
                  </a:ext>
                </a:extLst>
              </p:cNvPr>
              <p:cNvSpPr>
                <a:spLocks noChangeShapeType="1"/>
              </p:cNvSpPr>
              <p:nvPr/>
            </p:nvSpPr>
            <p:spPr bwMode="auto">
              <a:xfrm>
                <a:off x="8702167" y="8572058"/>
                <a:ext cx="0" cy="59165"/>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695" name="Line 714">
                <a:extLst>
                  <a:ext uri="{FF2B5EF4-FFF2-40B4-BE49-F238E27FC236}">
                    <a16:creationId xmlns:a16="http://schemas.microsoft.com/office/drawing/2014/main" id="{B323BC4E-FC80-588E-CDDE-B7FA4A6980C6}"/>
                  </a:ext>
                </a:extLst>
              </p:cNvPr>
              <p:cNvSpPr>
                <a:spLocks noChangeShapeType="1"/>
              </p:cNvSpPr>
              <p:nvPr/>
            </p:nvSpPr>
            <p:spPr bwMode="auto">
              <a:xfrm>
                <a:off x="8691410" y="8512893"/>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696" name="Line 715">
                <a:extLst>
                  <a:ext uri="{FF2B5EF4-FFF2-40B4-BE49-F238E27FC236}">
                    <a16:creationId xmlns:a16="http://schemas.microsoft.com/office/drawing/2014/main" id="{AB3F9AAD-B472-0A10-6B1A-78301F9CAE83}"/>
                  </a:ext>
                </a:extLst>
              </p:cNvPr>
              <p:cNvSpPr>
                <a:spLocks noChangeShapeType="1"/>
              </p:cNvSpPr>
              <p:nvPr/>
            </p:nvSpPr>
            <p:spPr bwMode="auto">
              <a:xfrm>
                <a:off x="8691410" y="8631224"/>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697" name="Line 716">
                <a:extLst>
                  <a:ext uri="{FF2B5EF4-FFF2-40B4-BE49-F238E27FC236}">
                    <a16:creationId xmlns:a16="http://schemas.microsoft.com/office/drawing/2014/main" id="{4E18337F-11D7-33E3-CBC9-8955D61957D8}"/>
                  </a:ext>
                </a:extLst>
              </p:cNvPr>
              <p:cNvSpPr>
                <a:spLocks noChangeShapeType="1"/>
              </p:cNvSpPr>
              <p:nvPr/>
            </p:nvSpPr>
            <p:spPr bwMode="auto">
              <a:xfrm>
                <a:off x="8890421" y="8512893"/>
                <a:ext cx="0" cy="61855"/>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698" name="Line 717">
                <a:extLst>
                  <a:ext uri="{FF2B5EF4-FFF2-40B4-BE49-F238E27FC236}">
                    <a16:creationId xmlns:a16="http://schemas.microsoft.com/office/drawing/2014/main" id="{2AC5995A-9095-C360-F251-FBF49B8E552F}"/>
                  </a:ext>
                </a:extLst>
              </p:cNvPr>
              <p:cNvSpPr>
                <a:spLocks noChangeShapeType="1"/>
              </p:cNvSpPr>
              <p:nvPr/>
            </p:nvSpPr>
            <p:spPr bwMode="auto">
              <a:xfrm>
                <a:off x="8890421" y="8574748"/>
                <a:ext cx="0" cy="61855"/>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699" name="Line 718">
                <a:extLst>
                  <a:ext uri="{FF2B5EF4-FFF2-40B4-BE49-F238E27FC236}">
                    <a16:creationId xmlns:a16="http://schemas.microsoft.com/office/drawing/2014/main" id="{D992B891-E92D-669E-0F22-0A6610091A0D}"/>
                  </a:ext>
                </a:extLst>
              </p:cNvPr>
              <p:cNvSpPr>
                <a:spLocks noChangeShapeType="1"/>
              </p:cNvSpPr>
              <p:nvPr/>
            </p:nvSpPr>
            <p:spPr bwMode="auto">
              <a:xfrm>
                <a:off x="8879663" y="8512893"/>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00" name="Line 719">
                <a:extLst>
                  <a:ext uri="{FF2B5EF4-FFF2-40B4-BE49-F238E27FC236}">
                    <a16:creationId xmlns:a16="http://schemas.microsoft.com/office/drawing/2014/main" id="{4544BE6B-058A-A701-8C67-21BEAFBAC736}"/>
                  </a:ext>
                </a:extLst>
              </p:cNvPr>
              <p:cNvSpPr>
                <a:spLocks noChangeShapeType="1"/>
              </p:cNvSpPr>
              <p:nvPr/>
            </p:nvSpPr>
            <p:spPr bwMode="auto">
              <a:xfrm>
                <a:off x="8879663" y="8636602"/>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01" name="Line 720">
                <a:extLst>
                  <a:ext uri="{FF2B5EF4-FFF2-40B4-BE49-F238E27FC236}">
                    <a16:creationId xmlns:a16="http://schemas.microsoft.com/office/drawing/2014/main" id="{1A5EF110-2DB4-9D92-F745-52C04C36F167}"/>
                  </a:ext>
                </a:extLst>
              </p:cNvPr>
              <p:cNvSpPr>
                <a:spLocks noChangeShapeType="1"/>
              </p:cNvSpPr>
              <p:nvPr/>
            </p:nvSpPr>
            <p:spPr bwMode="auto">
              <a:xfrm>
                <a:off x="9078674" y="8623156"/>
                <a:ext cx="0" cy="69923"/>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02" name="Line 721">
                <a:extLst>
                  <a:ext uri="{FF2B5EF4-FFF2-40B4-BE49-F238E27FC236}">
                    <a16:creationId xmlns:a16="http://schemas.microsoft.com/office/drawing/2014/main" id="{A3985276-4D78-4DC8-D8CB-1DCFE6F10E74}"/>
                  </a:ext>
                </a:extLst>
              </p:cNvPr>
              <p:cNvSpPr>
                <a:spLocks noChangeShapeType="1"/>
              </p:cNvSpPr>
              <p:nvPr/>
            </p:nvSpPr>
            <p:spPr bwMode="auto">
              <a:xfrm>
                <a:off x="9078674" y="8693078"/>
                <a:ext cx="0" cy="68578"/>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03" name="Line 722">
                <a:extLst>
                  <a:ext uri="{FF2B5EF4-FFF2-40B4-BE49-F238E27FC236}">
                    <a16:creationId xmlns:a16="http://schemas.microsoft.com/office/drawing/2014/main" id="{2A7D194B-A52D-CAF9-1F3B-51BAB1EBBF96}"/>
                  </a:ext>
                </a:extLst>
              </p:cNvPr>
              <p:cNvSpPr>
                <a:spLocks noChangeShapeType="1"/>
              </p:cNvSpPr>
              <p:nvPr/>
            </p:nvSpPr>
            <p:spPr bwMode="auto">
              <a:xfrm>
                <a:off x="9067917" y="8623156"/>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04" name="Line 723">
                <a:extLst>
                  <a:ext uri="{FF2B5EF4-FFF2-40B4-BE49-F238E27FC236}">
                    <a16:creationId xmlns:a16="http://schemas.microsoft.com/office/drawing/2014/main" id="{DC828A1B-EB27-E25A-0802-70378EA8E2E7}"/>
                  </a:ext>
                </a:extLst>
              </p:cNvPr>
              <p:cNvSpPr>
                <a:spLocks noChangeShapeType="1"/>
              </p:cNvSpPr>
              <p:nvPr/>
            </p:nvSpPr>
            <p:spPr bwMode="auto">
              <a:xfrm>
                <a:off x="9067917" y="8761656"/>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05" name="Line 724">
                <a:extLst>
                  <a:ext uri="{FF2B5EF4-FFF2-40B4-BE49-F238E27FC236}">
                    <a16:creationId xmlns:a16="http://schemas.microsoft.com/office/drawing/2014/main" id="{1A7AAC8A-79C3-C298-5E8E-2D67AE999CE9}"/>
                  </a:ext>
                </a:extLst>
              </p:cNvPr>
              <p:cNvSpPr>
                <a:spLocks noChangeShapeType="1"/>
              </p:cNvSpPr>
              <p:nvPr/>
            </p:nvSpPr>
            <p:spPr bwMode="auto">
              <a:xfrm>
                <a:off x="9266928" y="8754933"/>
                <a:ext cx="0" cy="64544"/>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06" name="Line 725">
                <a:extLst>
                  <a:ext uri="{FF2B5EF4-FFF2-40B4-BE49-F238E27FC236}">
                    <a16:creationId xmlns:a16="http://schemas.microsoft.com/office/drawing/2014/main" id="{B9DBFB1E-4718-158E-1CB0-039F95A58970}"/>
                  </a:ext>
                </a:extLst>
              </p:cNvPr>
              <p:cNvSpPr>
                <a:spLocks noChangeShapeType="1"/>
              </p:cNvSpPr>
              <p:nvPr/>
            </p:nvSpPr>
            <p:spPr bwMode="auto">
              <a:xfrm>
                <a:off x="9266928" y="8819477"/>
                <a:ext cx="0" cy="63199"/>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07" name="Line 726">
                <a:extLst>
                  <a:ext uri="{FF2B5EF4-FFF2-40B4-BE49-F238E27FC236}">
                    <a16:creationId xmlns:a16="http://schemas.microsoft.com/office/drawing/2014/main" id="{EC970E98-BEEE-2469-DF10-C725F665C1A6}"/>
                  </a:ext>
                </a:extLst>
              </p:cNvPr>
              <p:cNvSpPr>
                <a:spLocks noChangeShapeType="1"/>
              </p:cNvSpPr>
              <p:nvPr/>
            </p:nvSpPr>
            <p:spPr bwMode="auto">
              <a:xfrm>
                <a:off x="9256171" y="8754933"/>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08" name="Line 727">
                <a:extLst>
                  <a:ext uri="{FF2B5EF4-FFF2-40B4-BE49-F238E27FC236}">
                    <a16:creationId xmlns:a16="http://schemas.microsoft.com/office/drawing/2014/main" id="{F030CFB7-0102-2D3A-A45E-FAE1DE26EADB}"/>
                  </a:ext>
                </a:extLst>
              </p:cNvPr>
              <p:cNvSpPr>
                <a:spLocks noChangeShapeType="1"/>
              </p:cNvSpPr>
              <p:nvPr/>
            </p:nvSpPr>
            <p:spPr bwMode="auto">
              <a:xfrm>
                <a:off x="9256171" y="8882676"/>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09" name="Line 728">
                <a:extLst>
                  <a:ext uri="{FF2B5EF4-FFF2-40B4-BE49-F238E27FC236}">
                    <a16:creationId xmlns:a16="http://schemas.microsoft.com/office/drawing/2014/main" id="{0D7F85B3-5435-6D78-D392-8B9D046B96F9}"/>
                  </a:ext>
                </a:extLst>
              </p:cNvPr>
              <p:cNvSpPr>
                <a:spLocks noChangeShapeType="1"/>
              </p:cNvSpPr>
              <p:nvPr/>
            </p:nvSpPr>
            <p:spPr bwMode="auto">
              <a:xfrm>
                <a:off x="9456526" y="8718627"/>
                <a:ext cx="0" cy="86059"/>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10" name="Line 729">
                <a:extLst>
                  <a:ext uri="{FF2B5EF4-FFF2-40B4-BE49-F238E27FC236}">
                    <a16:creationId xmlns:a16="http://schemas.microsoft.com/office/drawing/2014/main" id="{6BB63AAE-6BBC-78BF-7962-0389F5AAAFA3}"/>
                  </a:ext>
                </a:extLst>
              </p:cNvPr>
              <p:cNvSpPr>
                <a:spLocks noChangeShapeType="1"/>
              </p:cNvSpPr>
              <p:nvPr/>
            </p:nvSpPr>
            <p:spPr bwMode="auto">
              <a:xfrm>
                <a:off x="9456526" y="8804686"/>
                <a:ext cx="0" cy="86059"/>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11" name="Line 730">
                <a:extLst>
                  <a:ext uri="{FF2B5EF4-FFF2-40B4-BE49-F238E27FC236}">
                    <a16:creationId xmlns:a16="http://schemas.microsoft.com/office/drawing/2014/main" id="{215738A8-0896-5F9D-ACC2-E7F2B7FA8821}"/>
                  </a:ext>
                </a:extLst>
              </p:cNvPr>
              <p:cNvSpPr>
                <a:spLocks noChangeShapeType="1"/>
              </p:cNvSpPr>
              <p:nvPr/>
            </p:nvSpPr>
            <p:spPr bwMode="auto">
              <a:xfrm>
                <a:off x="9444424" y="8718627"/>
                <a:ext cx="22859"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12" name="Line 731">
                <a:extLst>
                  <a:ext uri="{FF2B5EF4-FFF2-40B4-BE49-F238E27FC236}">
                    <a16:creationId xmlns:a16="http://schemas.microsoft.com/office/drawing/2014/main" id="{88D1A90D-BF89-1277-E416-14CE19CDCDDC}"/>
                  </a:ext>
                </a:extLst>
              </p:cNvPr>
              <p:cNvSpPr>
                <a:spLocks noChangeShapeType="1"/>
              </p:cNvSpPr>
              <p:nvPr/>
            </p:nvSpPr>
            <p:spPr bwMode="auto">
              <a:xfrm>
                <a:off x="9444424" y="8890744"/>
                <a:ext cx="22859"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13" name="Line 732">
                <a:extLst>
                  <a:ext uri="{FF2B5EF4-FFF2-40B4-BE49-F238E27FC236}">
                    <a16:creationId xmlns:a16="http://schemas.microsoft.com/office/drawing/2014/main" id="{A2DA4252-6318-9F85-0B0A-7C896BCE99CD}"/>
                  </a:ext>
                </a:extLst>
              </p:cNvPr>
              <p:cNvSpPr>
                <a:spLocks noChangeShapeType="1"/>
              </p:cNvSpPr>
              <p:nvPr/>
            </p:nvSpPr>
            <p:spPr bwMode="auto">
              <a:xfrm>
                <a:off x="9644780" y="8719972"/>
                <a:ext cx="0" cy="8068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14" name="Line 733">
                <a:extLst>
                  <a:ext uri="{FF2B5EF4-FFF2-40B4-BE49-F238E27FC236}">
                    <a16:creationId xmlns:a16="http://schemas.microsoft.com/office/drawing/2014/main" id="{C1086CCE-5B02-1277-5A4D-AAC710A3E922}"/>
                  </a:ext>
                </a:extLst>
              </p:cNvPr>
              <p:cNvSpPr>
                <a:spLocks noChangeShapeType="1"/>
              </p:cNvSpPr>
              <p:nvPr/>
            </p:nvSpPr>
            <p:spPr bwMode="auto">
              <a:xfrm>
                <a:off x="9644780" y="8800652"/>
                <a:ext cx="0" cy="79335"/>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15" name="Line 734">
                <a:extLst>
                  <a:ext uri="{FF2B5EF4-FFF2-40B4-BE49-F238E27FC236}">
                    <a16:creationId xmlns:a16="http://schemas.microsoft.com/office/drawing/2014/main" id="{DA37AC8D-7030-BAA8-A869-F323035FE828}"/>
                  </a:ext>
                </a:extLst>
              </p:cNvPr>
              <p:cNvSpPr>
                <a:spLocks noChangeShapeType="1"/>
              </p:cNvSpPr>
              <p:nvPr/>
            </p:nvSpPr>
            <p:spPr bwMode="auto">
              <a:xfrm>
                <a:off x="9634023" y="8719972"/>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16" name="Line 735">
                <a:extLst>
                  <a:ext uri="{FF2B5EF4-FFF2-40B4-BE49-F238E27FC236}">
                    <a16:creationId xmlns:a16="http://schemas.microsoft.com/office/drawing/2014/main" id="{D93AE546-FB93-789B-5F6C-D57D708BEDCF}"/>
                  </a:ext>
                </a:extLst>
              </p:cNvPr>
              <p:cNvSpPr>
                <a:spLocks noChangeShapeType="1"/>
              </p:cNvSpPr>
              <p:nvPr/>
            </p:nvSpPr>
            <p:spPr bwMode="auto">
              <a:xfrm>
                <a:off x="9634023" y="8879987"/>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17" name="Rectangle 736">
                <a:extLst>
                  <a:ext uri="{FF2B5EF4-FFF2-40B4-BE49-F238E27FC236}">
                    <a16:creationId xmlns:a16="http://schemas.microsoft.com/office/drawing/2014/main" id="{43BD0FDC-9058-3874-3438-C3ED1373B662}"/>
                  </a:ext>
                </a:extLst>
              </p:cNvPr>
              <p:cNvSpPr>
                <a:spLocks noChangeArrowheads="1"/>
              </p:cNvSpPr>
              <p:nvPr/>
            </p:nvSpPr>
            <p:spPr bwMode="auto">
              <a:xfrm>
                <a:off x="8504501" y="8561301"/>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18" name="Rectangle 737">
                <a:extLst>
                  <a:ext uri="{FF2B5EF4-FFF2-40B4-BE49-F238E27FC236}">
                    <a16:creationId xmlns:a16="http://schemas.microsoft.com/office/drawing/2014/main" id="{F8A7F8B3-D670-0A36-1686-8EE6723810E4}"/>
                  </a:ext>
                </a:extLst>
              </p:cNvPr>
              <p:cNvSpPr>
                <a:spLocks noChangeArrowheads="1"/>
              </p:cNvSpPr>
              <p:nvPr/>
            </p:nvSpPr>
            <p:spPr bwMode="auto">
              <a:xfrm>
                <a:off x="8692754" y="8562646"/>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19" name="Rectangle 738">
                <a:extLst>
                  <a:ext uri="{FF2B5EF4-FFF2-40B4-BE49-F238E27FC236}">
                    <a16:creationId xmlns:a16="http://schemas.microsoft.com/office/drawing/2014/main" id="{B8528129-EC13-1219-4EC1-E6E50022A704}"/>
                  </a:ext>
                </a:extLst>
              </p:cNvPr>
              <p:cNvSpPr>
                <a:spLocks noChangeArrowheads="1"/>
              </p:cNvSpPr>
              <p:nvPr/>
            </p:nvSpPr>
            <p:spPr bwMode="auto">
              <a:xfrm>
                <a:off x="8881008" y="8563990"/>
                <a:ext cx="18825" cy="20170"/>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20" name="Rectangle 739">
                <a:extLst>
                  <a:ext uri="{FF2B5EF4-FFF2-40B4-BE49-F238E27FC236}">
                    <a16:creationId xmlns:a16="http://schemas.microsoft.com/office/drawing/2014/main" id="{83FE0BAE-26CC-5070-A6F7-AE736E72EDC0}"/>
                  </a:ext>
                </a:extLst>
              </p:cNvPr>
              <p:cNvSpPr>
                <a:spLocks noChangeArrowheads="1"/>
              </p:cNvSpPr>
              <p:nvPr/>
            </p:nvSpPr>
            <p:spPr bwMode="auto">
              <a:xfrm>
                <a:off x="9069262" y="8683666"/>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21" name="Rectangle 740">
                <a:extLst>
                  <a:ext uri="{FF2B5EF4-FFF2-40B4-BE49-F238E27FC236}">
                    <a16:creationId xmlns:a16="http://schemas.microsoft.com/office/drawing/2014/main" id="{43F66FE7-951C-F15C-FF66-8B4227CCFCED}"/>
                  </a:ext>
                </a:extLst>
              </p:cNvPr>
              <p:cNvSpPr>
                <a:spLocks noChangeArrowheads="1"/>
              </p:cNvSpPr>
              <p:nvPr/>
            </p:nvSpPr>
            <p:spPr bwMode="auto">
              <a:xfrm>
                <a:off x="9257515" y="8810064"/>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22" name="Rectangle 741">
                <a:extLst>
                  <a:ext uri="{FF2B5EF4-FFF2-40B4-BE49-F238E27FC236}">
                    <a16:creationId xmlns:a16="http://schemas.microsoft.com/office/drawing/2014/main" id="{140D1F1E-DFA0-39FB-9033-09C8C1DEA9C6}"/>
                  </a:ext>
                </a:extLst>
              </p:cNvPr>
              <p:cNvSpPr>
                <a:spLocks noChangeArrowheads="1"/>
              </p:cNvSpPr>
              <p:nvPr/>
            </p:nvSpPr>
            <p:spPr bwMode="auto">
              <a:xfrm>
                <a:off x="9445769" y="8795273"/>
                <a:ext cx="20170"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23" name="Rectangle 742">
                <a:extLst>
                  <a:ext uri="{FF2B5EF4-FFF2-40B4-BE49-F238E27FC236}">
                    <a16:creationId xmlns:a16="http://schemas.microsoft.com/office/drawing/2014/main" id="{4B495441-BB39-60E1-A1A5-59E54CEB308B}"/>
                  </a:ext>
                </a:extLst>
              </p:cNvPr>
              <p:cNvSpPr>
                <a:spLocks noChangeArrowheads="1"/>
              </p:cNvSpPr>
              <p:nvPr/>
            </p:nvSpPr>
            <p:spPr bwMode="auto">
              <a:xfrm>
                <a:off x="9634023" y="8791239"/>
                <a:ext cx="20170"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grpSp>
          <p:nvGrpSpPr>
            <p:cNvPr id="724" name="Group 723">
              <a:extLst>
                <a:ext uri="{FF2B5EF4-FFF2-40B4-BE49-F238E27FC236}">
                  <a16:creationId xmlns:a16="http://schemas.microsoft.com/office/drawing/2014/main" id="{D5B17DC2-A93F-C0DA-9D3C-ED9546B07FC6}"/>
                </a:ext>
              </a:extLst>
            </p:cNvPr>
            <p:cNvGrpSpPr/>
            <p:nvPr/>
          </p:nvGrpSpPr>
          <p:grpSpPr>
            <a:xfrm>
              <a:off x="6845340" y="4083379"/>
              <a:ext cx="1151037" cy="679057"/>
              <a:chOff x="8504501" y="8561301"/>
              <a:chExt cx="1151037" cy="679057"/>
            </a:xfrm>
          </p:grpSpPr>
          <p:sp>
            <p:nvSpPr>
              <p:cNvPr id="725" name="Freeform 743">
                <a:extLst>
                  <a:ext uri="{FF2B5EF4-FFF2-40B4-BE49-F238E27FC236}">
                    <a16:creationId xmlns:a16="http://schemas.microsoft.com/office/drawing/2014/main" id="{8BEC1E19-E464-F6CB-7C7B-4BEDBA672AD1}"/>
                  </a:ext>
                </a:extLst>
              </p:cNvPr>
              <p:cNvSpPr>
                <a:spLocks/>
              </p:cNvSpPr>
              <p:nvPr/>
            </p:nvSpPr>
            <p:spPr bwMode="auto">
              <a:xfrm>
                <a:off x="8513913" y="8570714"/>
                <a:ext cx="1130866" cy="597032"/>
              </a:xfrm>
              <a:custGeom>
                <a:avLst/>
                <a:gdLst>
                  <a:gd name="T0" fmla="*/ 0 w 841"/>
                  <a:gd name="T1" fmla="*/ 0 h 444"/>
                  <a:gd name="T2" fmla="*/ 0 w 841"/>
                  <a:gd name="T3" fmla="*/ 0 h 444"/>
                  <a:gd name="T4" fmla="*/ 0 w 841"/>
                  <a:gd name="T5" fmla="*/ 0 h 444"/>
                  <a:gd name="T6" fmla="*/ 140 w 841"/>
                  <a:gd name="T7" fmla="*/ 101 h 444"/>
                  <a:gd name="T8" fmla="*/ 140 w 841"/>
                  <a:gd name="T9" fmla="*/ 101 h 444"/>
                  <a:gd name="T10" fmla="*/ 280 w 841"/>
                  <a:gd name="T11" fmla="*/ 198 h 444"/>
                  <a:gd name="T12" fmla="*/ 280 w 841"/>
                  <a:gd name="T13" fmla="*/ 198 h 444"/>
                  <a:gd name="T14" fmla="*/ 420 w 841"/>
                  <a:gd name="T15" fmla="*/ 277 h 444"/>
                  <a:gd name="T16" fmla="*/ 420 w 841"/>
                  <a:gd name="T17" fmla="*/ 277 h 444"/>
                  <a:gd name="T18" fmla="*/ 560 w 841"/>
                  <a:gd name="T19" fmla="*/ 300 h 444"/>
                  <a:gd name="T20" fmla="*/ 560 w 841"/>
                  <a:gd name="T21" fmla="*/ 300 h 444"/>
                  <a:gd name="T22" fmla="*/ 701 w 841"/>
                  <a:gd name="T23" fmla="*/ 426 h 444"/>
                  <a:gd name="T24" fmla="*/ 701 w 841"/>
                  <a:gd name="T25" fmla="*/ 426 h 444"/>
                  <a:gd name="T26" fmla="*/ 841 w 841"/>
                  <a:gd name="T27" fmla="*/ 44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1" h="444">
                    <a:moveTo>
                      <a:pt x="0" y="0"/>
                    </a:moveTo>
                    <a:lnTo>
                      <a:pt x="0" y="0"/>
                    </a:lnTo>
                    <a:lnTo>
                      <a:pt x="0" y="0"/>
                    </a:lnTo>
                    <a:lnTo>
                      <a:pt x="140" y="101"/>
                    </a:lnTo>
                    <a:lnTo>
                      <a:pt x="140" y="101"/>
                    </a:lnTo>
                    <a:lnTo>
                      <a:pt x="280" y="198"/>
                    </a:lnTo>
                    <a:lnTo>
                      <a:pt x="280" y="198"/>
                    </a:lnTo>
                    <a:lnTo>
                      <a:pt x="420" y="277"/>
                    </a:lnTo>
                    <a:lnTo>
                      <a:pt x="420" y="277"/>
                    </a:lnTo>
                    <a:lnTo>
                      <a:pt x="560" y="300"/>
                    </a:lnTo>
                    <a:lnTo>
                      <a:pt x="560" y="300"/>
                    </a:lnTo>
                    <a:lnTo>
                      <a:pt x="701" y="426"/>
                    </a:lnTo>
                    <a:lnTo>
                      <a:pt x="701" y="426"/>
                    </a:lnTo>
                    <a:lnTo>
                      <a:pt x="841" y="444"/>
                    </a:lnTo>
                  </a:path>
                </a:pathLst>
              </a:custGeom>
              <a:noFill/>
              <a:ln w="1905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26" name="Line 744">
                <a:extLst>
                  <a:ext uri="{FF2B5EF4-FFF2-40B4-BE49-F238E27FC236}">
                    <a16:creationId xmlns:a16="http://schemas.microsoft.com/office/drawing/2014/main" id="{2C7C50F6-6E1B-683B-639D-4F0DF22EC658}"/>
                  </a:ext>
                </a:extLst>
              </p:cNvPr>
              <p:cNvSpPr>
                <a:spLocks noChangeShapeType="1"/>
              </p:cNvSpPr>
              <p:nvPr/>
            </p:nvSpPr>
            <p:spPr bwMode="auto">
              <a:xfrm>
                <a:off x="8702167" y="8652738"/>
                <a:ext cx="0" cy="53787"/>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27" name="Line 745">
                <a:extLst>
                  <a:ext uri="{FF2B5EF4-FFF2-40B4-BE49-F238E27FC236}">
                    <a16:creationId xmlns:a16="http://schemas.microsoft.com/office/drawing/2014/main" id="{5A83367D-2E07-89D6-9E2D-8CB547A76D19}"/>
                  </a:ext>
                </a:extLst>
              </p:cNvPr>
              <p:cNvSpPr>
                <a:spLocks noChangeShapeType="1"/>
              </p:cNvSpPr>
              <p:nvPr/>
            </p:nvSpPr>
            <p:spPr bwMode="auto">
              <a:xfrm>
                <a:off x="8702167" y="8706525"/>
                <a:ext cx="0" cy="55131"/>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28" name="Line 746">
                <a:extLst>
                  <a:ext uri="{FF2B5EF4-FFF2-40B4-BE49-F238E27FC236}">
                    <a16:creationId xmlns:a16="http://schemas.microsoft.com/office/drawing/2014/main" id="{58285610-04EF-3923-E5BC-BFFCA9EE596A}"/>
                  </a:ext>
                </a:extLst>
              </p:cNvPr>
              <p:cNvSpPr>
                <a:spLocks noChangeShapeType="1"/>
              </p:cNvSpPr>
              <p:nvPr/>
            </p:nvSpPr>
            <p:spPr bwMode="auto">
              <a:xfrm>
                <a:off x="8691410" y="8652738"/>
                <a:ext cx="21515"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29" name="Line 747">
                <a:extLst>
                  <a:ext uri="{FF2B5EF4-FFF2-40B4-BE49-F238E27FC236}">
                    <a16:creationId xmlns:a16="http://schemas.microsoft.com/office/drawing/2014/main" id="{E74EAD41-5FD5-14A6-52DC-7821E28E7687}"/>
                  </a:ext>
                </a:extLst>
              </p:cNvPr>
              <p:cNvSpPr>
                <a:spLocks noChangeShapeType="1"/>
              </p:cNvSpPr>
              <p:nvPr/>
            </p:nvSpPr>
            <p:spPr bwMode="auto">
              <a:xfrm>
                <a:off x="8691410" y="8761656"/>
                <a:ext cx="21515"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30" name="Line 748">
                <a:extLst>
                  <a:ext uri="{FF2B5EF4-FFF2-40B4-BE49-F238E27FC236}">
                    <a16:creationId xmlns:a16="http://schemas.microsoft.com/office/drawing/2014/main" id="{B627949B-4A97-6812-47E3-F26E86624050}"/>
                  </a:ext>
                </a:extLst>
              </p:cNvPr>
              <p:cNvSpPr>
                <a:spLocks noChangeShapeType="1"/>
              </p:cNvSpPr>
              <p:nvPr/>
            </p:nvSpPr>
            <p:spPr bwMode="auto">
              <a:xfrm>
                <a:off x="8890421" y="8776448"/>
                <a:ext cx="0" cy="6051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31" name="Line 749">
                <a:extLst>
                  <a:ext uri="{FF2B5EF4-FFF2-40B4-BE49-F238E27FC236}">
                    <a16:creationId xmlns:a16="http://schemas.microsoft.com/office/drawing/2014/main" id="{A386054E-EBAC-BF1B-47CB-F3EBBEA991F7}"/>
                  </a:ext>
                </a:extLst>
              </p:cNvPr>
              <p:cNvSpPr>
                <a:spLocks noChangeShapeType="1"/>
              </p:cNvSpPr>
              <p:nvPr/>
            </p:nvSpPr>
            <p:spPr bwMode="auto">
              <a:xfrm>
                <a:off x="8890421" y="8836958"/>
                <a:ext cx="0" cy="6051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32" name="Line 750">
                <a:extLst>
                  <a:ext uri="{FF2B5EF4-FFF2-40B4-BE49-F238E27FC236}">
                    <a16:creationId xmlns:a16="http://schemas.microsoft.com/office/drawing/2014/main" id="{97C561CF-2F18-995F-2C32-210E757E0063}"/>
                  </a:ext>
                </a:extLst>
              </p:cNvPr>
              <p:cNvSpPr>
                <a:spLocks noChangeShapeType="1"/>
              </p:cNvSpPr>
              <p:nvPr/>
            </p:nvSpPr>
            <p:spPr bwMode="auto">
              <a:xfrm>
                <a:off x="8879663" y="8776448"/>
                <a:ext cx="21515"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33" name="Line 751">
                <a:extLst>
                  <a:ext uri="{FF2B5EF4-FFF2-40B4-BE49-F238E27FC236}">
                    <a16:creationId xmlns:a16="http://schemas.microsoft.com/office/drawing/2014/main" id="{4B6A6F0D-65EC-8EFD-2E36-159B5868073E}"/>
                  </a:ext>
                </a:extLst>
              </p:cNvPr>
              <p:cNvSpPr>
                <a:spLocks noChangeShapeType="1"/>
              </p:cNvSpPr>
              <p:nvPr/>
            </p:nvSpPr>
            <p:spPr bwMode="auto">
              <a:xfrm>
                <a:off x="8879663" y="8897468"/>
                <a:ext cx="21515"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34" name="Line 752">
                <a:extLst>
                  <a:ext uri="{FF2B5EF4-FFF2-40B4-BE49-F238E27FC236}">
                    <a16:creationId xmlns:a16="http://schemas.microsoft.com/office/drawing/2014/main" id="{558B1AE7-10E6-B0F8-E433-BA248EC80049}"/>
                  </a:ext>
                </a:extLst>
              </p:cNvPr>
              <p:cNvSpPr>
                <a:spLocks noChangeShapeType="1"/>
              </p:cNvSpPr>
              <p:nvPr/>
            </p:nvSpPr>
            <p:spPr bwMode="auto">
              <a:xfrm>
                <a:off x="9078674" y="8874608"/>
                <a:ext cx="0" cy="68578"/>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35" name="Line 753">
                <a:extLst>
                  <a:ext uri="{FF2B5EF4-FFF2-40B4-BE49-F238E27FC236}">
                    <a16:creationId xmlns:a16="http://schemas.microsoft.com/office/drawing/2014/main" id="{D012DE69-FED5-049C-AEB8-7DC468C7CA96}"/>
                  </a:ext>
                </a:extLst>
              </p:cNvPr>
              <p:cNvSpPr>
                <a:spLocks noChangeShapeType="1"/>
              </p:cNvSpPr>
              <p:nvPr/>
            </p:nvSpPr>
            <p:spPr bwMode="auto">
              <a:xfrm>
                <a:off x="9078674" y="8943186"/>
                <a:ext cx="0" cy="68578"/>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36" name="Line 754">
                <a:extLst>
                  <a:ext uri="{FF2B5EF4-FFF2-40B4-BE49-F238E27FC236}">
                    <a16:creationId xmlns:a16="http://schemas.microsoft.com/office/drawing/2014/main" id="{3511AE96-E216-F469-88E2-915A9B0E5A83}"/>
                  </a:ext>
                </a:extLst>
              </p:cNvPr>
              <p:cNvSpPr>
                <a:spLocks noChangeShapeType="1"/>
              </p:cNvSpPr>
              <p:nvPr/>
            </p:nvSpPr>
            <p:spPr bwMode="auto">
              <a:xfrm>
                <a:off x="9067917" y="8874608"/>
                <a:ext cx="21515"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37" name="Line 755">
                <a:extLst>
                  <a:ext uri="{FF2B5EF4-FFF2-40B4-BE49-F238E27FC236}">
                    <a16:creationId xmlns:a16="http://schemas.microsoft.com/office/drawing/2014/main" id="{08223A1E-57BF-8EB7-08D1-0E2162DE3580}"/>
                  </a:ext>
                </a:extLst>
              </p:cNvPr>
              <p:cNvSpPr>
                <a:spLocks noChangeShapeType="1"/>
              </p:cNvSpPr>
              <p:nvPr/>
            </p:nvSpPr>
            <p:spPr bwMode="auto">
              <a:xfrm>
                <a:off x="9067917" y="9011764"/>
                <a:ext cx="21515"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38" name="Line 756">
                <a:extLst>
                  <a:ext uri="{FF2B5EF4-FFF2-40B4-BE49-F238E27FC236}">
                    <a16:creationId xmlns:a16="http://schemas.microsoft.com/office/drawing/2014/main" id="{F09CEE99-3B13-5D00-93B3-B8A210FE56D6}"/>
                  </a:ext>
                </a:extLst>
              </p:cNvPr>
              <p:cNvSpPr>
                <a:spLocks noChangeShapeType="1"/>
              </p:cNvSpPr>
              <p:nvPr/>
            </p:nvSpPr>
            <p:spPr bwMode="auto">
              <a:xfrm>
                <a:off x="9266928" y="8894778"/>
                <a:ext cx="0" cy="79335"/>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39" name="Line 757">
                <a:extLst>
                  <a:ext uri="{FF2B5EF4-FFF2-40B4-BE49-F238E27FC236}">
                    <a16:creationId xmlns:a16="http://schemas.microsoft.com/office/drawing/2014/main" id="{D31C5126-5195-9C36-4408-E665FD23ACB7}"/>
                  </a:ext>
                </a:extLst>
              </p:cNvPr>
              <p:cNvSpPr>
                <a:spLocks noChangeShapeType="1"/>
              </p:cNvSpPr>
              <p:nvPr/>
            </p:nvSpPr>
            <p:spPr bwMode="auto">
              <a:xfrm>
                <a:off x="9266928" y="8974114"/>
                <a:ext cx="0" cy="79335"/>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40" name="Line 758">
                <a:extLst>
                  <a:ext uri="{FF2B5EF4-FFF2-40B4-BE49-F238E27FC236}">
                    <a16:creationId xmlns:a16="http://schemas.microsoft.com/office/drawing/2014/main" id="{0E3148E9-4117-5D80-18C0-1A4E9EF86345}"/>
                  </a:ext>
                </a:extLst>
              </p:cNvPr>
              <p:cNvSpPr>
                <a:spLocks noChangeShapeType="1"/>
              </p:cNvSpPr>
              <p:nvPr/>
            </p:nvSpPr>
            <p:spPr bwMode="auto">
              <a:xfrm>
                <a:off x="9256171" y="8894778"/>
                <a:ext cx="21515"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41" name="Line 759">
                <a:extLst>
                  <a:ext uri="{FF2B5EF4-FFF2-40B4-BE49-F238E27FC236}">
                    <a16:creationId xmlns:a16="http://schemas.microsoft.com/office/drawing/2014/main" id="{BF05EAF1-272C-31A3-399D-51307E0058D6}"/>
                  </a:ext>
                </a:extLst>
              </p:cNvPr>
              <p:cNvSpPr>
                <a:spLocks noChangeShapeType="1"/>
              </p:cNvSpPr>
              <p:nvPr/>
            </p:nvSpPr>
            <p:spPr bwMode="auto">
              <a:xfrm>
                <a:off x="9256171" y="9053449"/>
                <a:ext cx="21515"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42" name="Line 760">
                <a:extLst>
                  <a:ext uri="{FF2B5EF4-FFF2-40B4-BE49-F238E27FC236}">
                    <a16:creationId xmlns:a16="http://schemas.microsoft.com/office/drawing/2014/main" id="{945B2B4F-BEBF-5A4F-076F-48B3D38928CF}"/>
                  </a:ext>
                </a:extLst>
              </p:cNvPr>
              <p:cNvSpPr>
                <a:spLocks noChangeShapeType="1"/>
              </p:cNvSpPr>
              <p:nvPr/>
            </p:nvSpPr>
            <p:spPr bwMode="auto">
              <a:xfrm>
                <a:off x="9456526" y="9072274"/>
                <a:ext cx="0" cy="71267"/>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43" name="Line 761">
                <a:extLst>
                  <a:ext uri="{FF2B5EF4-FFF2-40B4-BE49-F238E27FC236}">
                    <a16:creationId xmlns:a16="http://schemas.microsoft.com/office/drawing/2014/main" id="{8B91E563-F498-A46F-B9FB-82E3B04CA891}"/>
                  </a:ext>
                </a:extLst>
              </p:cNvPr>
              <p:cNvSpPr>
                <a:spLocks noChangeShapeType="1"/>
              </p:cNvSpPr>
              <p:nvPr/>
            </p:nvSpPr>
            <p:spPr bwMode="auto">
              <a:xfrm>
                <a:off x="9456526" y="9143542"/>
                <a:ext cx="0" cy="71267"/>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44" name="Line 762">
                <a:extLst>
                  <a:ext uri="{FF2B5EF4-FFF2-40B4-BE49-F238E27FC236}">
                    <a16:creationId xmlns:a16="http://schemas.microsoft.com/office/drawing/2014/main" id="{710B3989-3507-B7ED-396A-0DD2B89CED5A}"/>
                  </a:ext>
                </a:extLst>
              </p:cNvPr>
              <p:cNvSpPr>
                <a:spLocks noChangeShapeType="1"/>
              </p:cNvSpPr>
              <p:nvPr/>
            </p:nvSpPr>
            <p:spPr bwMode="auto">
              <a:xfrm>
                <a:off x="9444424" y="9072274"/>
                <a:ext cx="22859"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45" name="Line 763">
                <a:extLst>
                  <a:ext uri="{FF2B5EF4-FFF2-40B4-BE49-F238E27FC236}">
                    <a16:creationId xmlns:a16="http://schemas.microsoft.com/office/drawing/2014/main" id="{24A1337D-270D-BA6B-7381-57E3B68595E8}"/>
                  </a:ext>
                </a:extLst>
              </p:cNvPr>
              <p:cNvSpPr>
                <a:spLocks noChangeShapeType="1"/>
              </p:cNvSpPr>
              <p:nvPr/>
            </p:nvSpPr>
            <p:spPr bwMode="auto">
              <a:xfrm>
                <a:off x="9444424" y="9214809"/>
                <a:ext cx="22859"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46" name="Line 764">
                <a:extLst>
                  <a:ext uri="{FF2B5EF4-FFF2-40B4-BE49-F238E27FC236}">
                    <a16:creationId xmlns:a16="http://schemas.microsoft.com/office/drawing/2014/main" id="{E34E7DE3-3EF0-70F4-2DAF-F0A058333934}"/>
                  </a:ext>
                </a:extLst>
              </p:cNvPr>
              <p:cNvSpPr>
                <a:spLocks noChangeShapeType="1"/>
              </p:cNvSpPr>
              <p:nvPr/>
            </p:nvSpPr>
            <p:spPr bwMode="auto">
              <a:xfrm>
                <a:off x="9644780" y="9093789"/>
                <a:ext cx="0" cy="73957"/>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47" name="Line 765">
                <a:extLst>
                  <a:ext uri="{FF2B5EF4-FFF2-40B4-BE49-F238E27FC236}">
                    <a16:creationId xmlns:a16="http://schemas.microsoft.com/office/drawing/2014/main" id="{C4C01F2C-0D95-FE42-6DDA-BFAB411BB1DC}"/>
                  </a:ext>
                </a:extLst>
              </p:cNvPr>
              <p:cNvSpPr>
                <a:spLocks noChangeShapeType="1"/>
              </p:cNvSpPr>
              <p:nvPr/>
            </p:nvSpPr>
            <p:spPr bwMode="auto">
              <a:xfrm>
                <a:off x="9644780" y="9167746"/>
                <a:ext cx="0" cy="72612"/>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48" name="Line 766">
                <a:extLst>
                  <a:ext uri="{FF2B5EF4-FFF2-40B4-BE49-F238E27FC236}">
                    <a16:creationId xmlns:a16="http://schemas.microsoft.com/office/drawing/2014/main" id="{09683672-47E0-0950-8817-B03ECC00E13F}"/>
                  </a:ext>
                </a:extLst>
              </p:cNvPr>
              <p:cNvSpPr>
                <a:spLocks noChangeShapeType="1"/>
              </p:cNvSpPr>
              <p:nvPr/>
            </p:nvSpPr>
            <p:spPr bwMode="auto">
              <a:xfrm>
                <a:off x="9634023" y="9093789"/>
                <a:ext cx="21515"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49" name="Line 767">
                <a:extLst>
                  <a:ext uri="{FF2B5EF4-FFF2-40B4-BE49-F238E27FC236}">
                    <a16:creationId xmlns:a16="http://schemas.microsoft.com/office/drawing/2014/main" id="{82EA4B9E-46C8-07C1-B052-E8E605E83B1B}"/>
                  </a:ext>
                </a:extLst>
              </p:cNvPr>
              <p:cNvSpPr>
                <a:spLocks noChangeShapeType="1"/>
              </p:cNvSpPr>
              <p:nvPr/>
            </p:nvSpPr>
            <p:spPr bwMode="auto">
              <a:xfrm>
                <a:off x="9634023" y="9240358"/>
                <a:ext cx="21515" cy="0"/>
              </a:xfrm>
              <a:prstGeom prst="line">
                <a:avLst/>
              </a:prstGeom>
              <a:noFill/>
              <a:ln w="8001"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50" name="Oval 768">
                <a:extLst>
                  <a:ext uri="{FF2B5EF4-FFF2-40B4-BE49-F238E27FC236}">
                    <a16:creationId xmlns:a16="http://schemas.microsoft.com/office/drawing/2014/main" id="{364DD58A-FA61-15E2-EFA1-5E7996910623}"/>
                  </a:ext>
                </a:extLst>
              </p:cNvPr>
              <p:cNvSpPr>
                <a:spLocks noChangeArrowheads="1"/>
              </p:cNvSpPr>
              <p:nvPr/>
            </p:nvSpPr>
            <p:spPr bwMode="auto">
              <a:xfrm>
                <a:off x="8504501" y="8561301"/>
                <a:ext cx="18825"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51" name="Oval 769">
                <a:extLst>
                  <a:ext uri="{FF2B5EF4-FFF2-40B4-BE49-F238E27FC236}">
                    <a16:creationId xmlns:a16="http://schemas.microsoft.com/office/drawing/2014/main" id="{26DB76CB-12C7-B9EC-5275-C93B1132096A}"/>
                  </a:ext>
                </a:extLst>
              </p:cNvPr>
              <p:cNvSpPr>
                <a:spLocks noChangeArrowheads="1"/>
              </p:cNvSpPr>
              <p:nvPr/>
            </p:nvSpPr>
            <p:spPr bwMode="auto">
              <a:xfrm>
                <a:off x="8692754" y="8697112"/>
                <a:ext cx="18825"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52" name="Oval 770">
                <a:extLst>
                  <a:ext uri="{FF2B5EF4-FFF2-40B4-BE49-F238E27FC236}">
                    <a16:creationId xmlns:a16="http://schemas.microsoft.com/office/drawing/2014/main" id="{2D44E515-D1BF-84AC-0979-EFB6AE2F29B5}"/>
                  </a:ext>
                </a:extLst>
              </p:cNvPr>
              <p:cNvSpPr>
                <a:spLocks noChangeArrowheads="1"/>
              </p:cNvSpPr>
              <p:nvPr/>
            </p:nvSpPr>
            <p:spPr bwMode="auto">
              <a:xfrm>
                <a:off x="8881008" y="8827545"/>
                <a:ext cx="18825"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53" name="Oval 771">
                <a:extLst>
                  <a:ext uri="{FF2B5EF4-FFF2-40B4-BE49-F238E27FC236}">
                    <a16:creationId xmlns:a16="http://schemas.microsoft.com/office/drawing/2014/main" id="{852F6177-59A3-EE6A-7D46-19D966E3843E}"/>
                  </a:ext>
                </a:extLst>
              </p:cNvPr>
              <p:cNvSpPr>
                <a:spLocks noChangeArrowheads="1"/>
              </p:cNvSpPr>
              <p:nvPr/>
            </p:nvSpPr>
            <p:spPr bwMode="auto">
              <a:xfrm>
                <a:off x="9069262" y="8933774"/>
                <a:ext cx="18825"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54" name="Oval 772">
                <a:extLst>
                  <a:ext uri="{FF2B5EF4-FFF2-40B4-BE49-F238E27FC236}">
                    <a16:creationId xmlns:a16="http://schemas.microsoft.com/office/drawing/2014/main" id="{D355B2FC-1413-9DCA-B765-B2B348297120}"/>
                  </a:ext>
                </a:extLst>
              </p:cNvPr>
              <p:cNvSpPr>
                <a:spLocks noChangeArrowheads="1"/>
              </p:cNvSpPr>
              <p:nvPr/>
            </p:nvSpPr>
            <p:spPr bwMode="auto">
              <a:xfrm>
                <a:off x="9257515" y="8964701"/>
                <a:ext cx="18825"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55" name="Oval 773">
                <a:extLst>
                  <a:ext uri="{FF2B5EF4-FFF2-40B4-BE49-F238E27FC236}">
                    <a16:creationId xmlns:a16="http://schemas.microsoft.com/office/drawing/2014/main" id="{A71FC414-05D7-2B32-615A-C6E13919D99E}"/>
                  </a:ext>
                </a:extLst>
              </p:cNvPr>
              <p:cNvSpPr>
                <a:spLocks noChangeArrowheads="1"/>
              </p:cNvSpPr>
              <p:nvPr/>
            </p:nvSpPr>
            <p:spPr bwMode="auto">
              <a:xfrm>
                <a:off x="9445769" y="9134129"/>
                <a:ext cx="20170" cy="18825"/>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756" name="Oval 774">
                <a:extLst>
                  <a:ext uri="{FF2B5EF4-FFF2-40B4-BE49-F238E27FC236}">
                    <a16:creationId xmlns:a16="http://schemas.microsoft.com/office/drawing/2014/main" id="{46249503-22C5-A3F0-A860-8EBBEC4F2125}"/>
                  </a:ext>
                </a:extLst>
              </p:cNvPr>
              <p:cNvSpPr>
                <a:spLocks noChangeArrowheads="1"/>
              </p:cNvSpPr>
              <p:nvPr/>
            </p:nvSpPr>
            <p:spPr bwMode="auto">
              <a:xfrm>
                <a:off x="9634023" y="9156988"/>
                <a:ext cx="20170" cy="20170"/>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grpSp>
      <p:grpSp>
        <p:nvGrpSpPr>
          <p:cNvPr id="889" name="Group 888">
            <a:extLst>
              <a:ext uri="{FF2B5EF4-FFF2-40B4-BE49-F238E27FC236}">
                <a16:creationId xmlns:a16="http://schemas.microsoft.com/office/drawing/2014/main" id="{01FC20BD-7ADE-6B74-2A97-0E5C36716B75}"/>
              </a:ext>
            </a:extLst>
          </p:cNvPr>
          <p:cNvGrpSpPr>
            <a:grpSpLocks noChangeAspect="1"/>
          </p:cNvGrpSpPr>
          <p:nvPr/>
        </p:nvGrpSpPr>
        <p:grpSpPr>
          <a:xfrm>
            <a:off x="8321914" y="1489203"/>
            <a:ext cx="3417710" cy="3384762"/>
            <a:chOff x="6108642" y="8255234"/>
            <a:chExt cx="1518981" cy="1504335"/>
          </a:xfrm>
        </p:grpSpPr>
        <p:sp>
          <p:nvSpPr>
            <p:cNvPr id="758" name="Rectangle 530">
              <a:extLst>
                <a:ext uri="{FF2B5EF4-FFF2-40B4-BE49-F238E27FC236}">
                  <a16:creationId xmlns:a16="http://schemas.microsoft.com/office/drawing/2014/main" id="{518B8063-83E9-98AF-5057-847420644D8C}"/>
                </a:ext>
              </a:extLst>
            </p:cNvPr>
            <p:cNvSpPr>
              <a:spLocks noChangeArrowheads="1"/>
            </p:cNvSpPr>
            <p:nvPr/>
          </p:nvSpPr>
          <p:spPr bwMode="auto">
            <a:xfrm>
              <a:off x="6724040" y="8255234"/>
              <a:ext cx="483722"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1200" b="1">
                  <a:solidFill>
                    <a:srgbClr val="0B436E"/>
                  </a:solidFill>
                  <a:latin typeface="Calibri" panose="020F0502020204030204"/>
                </a:rPr>
                <a:t>Change in MDGA</a:t>
              </a:r>
            </a:p>
          </p:txBody>
        </p:sp>
        <p:grpSp>
          <p:nvGrpSpPr>
            <p:cNvPr id="761" name="Group 760">
              <a:extLst>
                <a:ext uri="{FF2B5EF4-FFF2-40B4-BE49-F238E27FC236}">
                  <a16:creationId xmlns:a16="http://schemas.microsoft.com/office/drawing/2014/main" id="{3B237C9D-37A1-7919-1D7C-E0A7696C75FE}"/>
                </a:ext>
              </a:extLst>
            </p:cNvPr>
            <p:cNvGrpSpPr/>
            <p:nvPr/>
          </p:nvGrpSpPr>
          <p:grpSpPr>
            <a:xfrm>
              <a:off x="6224524" y="8350482"/>
              <a:ext cx="56777" cy="1096564"/>
              <a:chOff x="8038621" y="6812347"/>
              <a:chExt cx="56777" cy="1096564"/>
            </a:xfrm>
          </p:grpSpPr>
          <p:sp>
            <p:nvSpPr>
              <p:cNvPr id="768" name="Rectangle 576">
                <a:extLst>
                  <a:ext uri="{FF2B5EF4-FFF2-40B4-BE49-F238E27FC236}">
                    <a16:creationId xmlns:a16="http://schemas.microsoft.com/office/drawing/2014/main" id="{C76DEE6A-438D-EDBE-A878-079FF5624240}"/>
                  </a:ext>
                </a:extLst>
              </p:cNvPr>
              <p:cNvSpPr>
                <a:spLocks noChangeArrowheads="1"/>
              </p:cNvSpPr>
              <p:nvPr/>
            </p:nvSpPr>
            <p:spPr bwMode="auto">
              <a:xfrm>
                <a:off x="8038621" y="6812347"/>
                <a:ext cx="56777"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a:solidFill>
                      <a:srgbClr val="595959"/>
                    </a:solidFill>
                    <a:latin typeface="Calibri" panose="020F0502020204030204"/>
                  </a:rPr>
                  <a:t>0</a:t>
                </a:r>
              </a:p>
            </p:txBody>
          </p:sp>
          <p:sp>
            <p:nvSpPr>
              <p:cNvPr id="769" name="Rectangle 576">
                <a:extLst>
                  <a:ext uri="{FF2B5EF4-FFF2-40B4-BE49-F238E27FC236}">
                    <a16:creationId xmlns:a16="http://schemas.microsoft.com/office/drawing/2014/main" id="{F37B18BA-6153-9F27-E258-183FFE0EFB2A}"/>
                  </a:ext>
                </a:extLst>
              </p:cNvPr>
              <p:cNvSpPr>
                <a:spLocks noChangeArrowheads="1"/>
              </p:cNvSpPr>
              <p:nvPr/>
            </p:nvSpPr>
            <p:spPr bwMode="auto">
              <a:xfrm>
                <a:off x="8038621" y="7065921"/>
                <a:ext cx="56777"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a:solidFill>
                      <a:srgbClr val="595959"/>
                    </a:solidFill>
                    <a:latin typeface="Calibri" panose="020F0502020204030204"/>
                  </a:rPr>
                  <a:t>–1</a:t>
                </a:r>
              </a:p>
            </p:txBody>
          </p:sp>
          <p:sp>
            <p:nvSpPr>
              <p:cNvPr id="770" name="Rectangle 576">
                <a:extLst>
                  <a:ext uri="{FF2B5EF4-FFF2-40B4-BE49-F238E27FC236}">
                    <a16:creationId xmlns:a16="http://schemas.microsoft.com/office/drawing/2014/main" id="{B4BD6760-FF1F-D941-82B3-D606D247F330}"/>
                  </a:ext>
                </a:extLst>
              </p:cNvPr>
              <p:cNvSpPr>
                <a:spLocks noChangeArrowheads="1"/>
              </p:cNvSpPr>
              <p:nvPr/>
            </p:nvSpPr>
            <p:spPr bwMode="auto">
              <a:xfrm>
                <a:off x="8038621" y="7328083"/>
                <a:ext cx="56777"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a:solidFill>
                      <a:srgbClr val="595959"/>
                    </a:solidFill>
                    <a:latin typeface="Calibri" panose="020F0502020204030204"/>
                  </a:rPr>
                  <a:t>–2</a:t>
                </a:r>
              </a:p>
            </p:txBody>
          </p:sp>
          <p:sp>
            <p:nvSpPr>
              <p:cNvPr id="771" name="Rectangle 576">
                <a:extLst>
                  <a:ext uri="{FF2B5EF4-FFF2-40B4-BE49-F238E27FC236}">
                    <a16:creationId xmlns:a16="http://schemas.microsoft.com/office/drawing/2014/main" id="{34CD192D-C447-7EDD-25FE-188F77F2171C}"/>
                  </a:ext>
                </a:extLst>
              </p:cNvPr>
              <p:cNvSpPr>
                <a:spLocks noChangeArrowheads="1"/>
              </p:cNvSpPr>
              <p:nvPr/>
            </p:nvSpPr>
            <p:spPr bwMode="auto">
              <a:xfrm>
                <a:off x="8038621" y="7584993"/>
                <a:ext cx="56777"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a:solidFill>
                      <a:srgbClr val="595959"/>
                    </a:solidFill>
                    <a:latin typeface="Calibri" panose="020F0502020204030204"/>
                  </a:rPr>
                  <a:t>–3</a:t>
                </a:r>
              </a:p>
            </p:txBody>
          </p:sp>
          <p:sp>
            <p:nvSpPr>
              <p:cNvPr id="772" name="Rectangle 576">
                <a:extLst>
                  <a:ext uri="{FF2B5EF4-FFF2-40B4-BE49-F238E27FC236}">
                    <a16:creationId xmlns:a16="http://schemas.microsoft.com/office/drawing/2014/main" id="{0144DACA-3006-1726-E1A4-AA36AAA18C77}"/>
                  </a:ext>
                </a:extLst>
              </p:cNvPr>
              <p:cNvSpPr>
                <a:spLocks noChangeArrowheads="1"/>
              </p:cNvSpPr>
              <p:nvPr/>
            </p:nvSpPr>
            <p:spPr bwMode="auto">
              <a:xfrm>
                <a:off x="8038621" y="7839661"/>
                <a:ext cx="56777"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a:solidFill>
                      <a:srgbClr val="595959"/>
                    </a:solidFill>
                    <a:latin typeface="Calibri" panose="020F0502020204030204"/>
                  </a:rPr>
                  <a:t>–4</a:t>
                </a:r>
              </a:p>
            </p:txBody>
          </p:sp>
        </p:grpSp>
        <p:cxnSp>
          <p:nvCxnSpPr>
            <p:cNvPr id="780" name="Straight Connector 779">
              <a:extLst>
                <a:ext uri="{FF2B5EF4-FFF2-40B4-BE49-F238E27FC236}">
                  <a16:creationId xmlns:a16="http://schemas.microsoft.com/office/drawing/2014/main" id="{A91DDB12-76E6-9969-BF3A-520F4C2CB28F}"/>
                </a:ext>
              </a:extLst>
            </p:cNvPr>
            <p:cNvCxnSpPr>
              <a:cxnSpLocks/>
            </p:cNvCxnSpPr>
            <p:nvPr/>
          </p:nvCxnSpPr>
          <p:spPr>
            <a:xfrm flipH="1" flipV="1">
              <a:off x="6298809" y="8385107"/>
              <a:ext cx="1324302" cy="810"/>
            </a:xfrm>
            <a:prstGeom prst="line">
              <a:avLst/>
            </a:prstGeom>
            <a:noFill/>
            <a:ln w="6350" cap="rnd">
              <a:solidFill>
                <a:srgbClr val="595959"/>
              </a:solidFill>
              <a:prstDash val="sysDot"/>
              <a:miter lim="800000"/>
              <a:headEnd/>
              <a:tailEnd/>
            </a:ln>
            <a:extLst>
              <a:ext uri="{909E8E84-426E-40DD-AFC4-6F175D3DCCD1}">
                <a14:hiddenFill xmlns:a14="http://schemas.microsoft.com/office/drawing/2010/main">
                  <a:solidFill>
                    <a:srgbClr val="FFFFFF"/>
                  </a:solidFill>
                </a14:hiddenFill>
              </a:ext>
            </a:extLst>
          </p:spPr>
        </p:cxnSp>
        <p:grpSp>
          <p:nvGrpSpPr>
            <p:cNvPr id="781" name="Group 780">
              <a:extLst>
                <a:ext uri="{FF2B5EF4-FFF2-40B4-BE49-F238E27FC236}">
                  <a16:creationId xmlns:a16="http://schemas.microsoft.com/office/drawing/2014/main" id="{E64FF6BA-32E3-3DA8-9188-E2C473F304E3}"/>
                </a:ext>
              </a:extLst>
            </p:cNvPr>
            <p:cNvGrpSpPr/>
            <p:nvPr/>
          </p:nvGrpSpPr>
          <p:grpSpPr>
            <a:xfrm>
              <a:off x="6301776" y="9451891"/>
              <a:ext cx="1262771" cy="82074"/>
              <a:chOff x="6273078" y="7919558"/>
              <a:chExt cx="1262771" cy="82074"/>
            </a:xfrm>
          </p:grpSpPr>
          <p:sp>
            <p:nvSpPr>
              <p:cNvPr id="782" name="Rectangle 562">
                <a:extLst>
                  <a:ext uri="{FF2B5EF4-FFF2-40B4-BE49-F238E27FC236}">
                    <a16:creationId xmlns:a16="http://schemas.microsoft.com/office/drawing/2014/main" id="{BEE5C77E-24EF-EC23-03B4-C04576DC3FA0}"/>
                  </a:ext>
                </a:extLst>
              </p:cNvPr>
              <p:cNvSpPr>
                <a:spLocks noChangeArrowheads="1"/>
              </p:cNvSpPr>
              <p:nvPr/>
            </p:nvSpPr>
            <p:spPr bwMode="auto">
              <a:xfrm>
                <a:off x="6273078" y="7919558"/>
                <a:ext cx="232257"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595959"/>
                    </a:solidFill>
                    <a:latin typeface="Calibri" panose="020F0502020204030204"/>
                  </a:rPr>
                  <a:t>Baseline</a:t>
                </a:r>
              </a:p>
            </p:txBody>
          </p:sp>
          <p:sp>
            <p:nvSpPr>
              <p:cNvPr id="783" name="Rectangle 563">
                <a:extLst>
                  <a:ext uri="{FF2B5EF4-FFF2-40B4-BE49-F238E27FC236}">
                    <a16:creationId xmlns:a16="http://schemas.microsoft.com/office/drawing/2014/main" id="{6CDA7F69-B764-ACB5-5B65-AA2D7160FA0D}"/>
                  </a:ext>
                </a:extLst>
              </p:cNvPr>
              <p:cNvSpPr>
                <a:spLocks noChangeArrowheads="1"/>
              </p:cNvSpPr>
              <p:nvPr/>
            </p:nvSpPr>
            <p:spPr bwMode="auto">
              <a:xfrm>
                <a:off x="6545014" y="7919558"/>
                <a:ext cx="3491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4</a:t>
                </a:r>
              </a:p>
            </p:txBody>
          </p:sp>
          <p:sp>
            <p:nvSpPr>
              <p:cNvPr id="784" name="Rectangle 564">
                <a:extLst>
                  <a:ext uri="{FF2B5EF4-FFF2-40B4-BE49-F238E27FC236}">
                    <a16:creationId xmlns:a16="http://schemas.microsoft.com/office/drawing/2014/main" id="{54B7261F-E973-0CC3-997F-3B9B0C233240}"/>
                  </a:ext>
                </a:extLst>
              </p:cNvPr>
              <p:cNvSpPr>
                <a:spLocks noChangeArrowheads="1"/>
              </p:cNvSpPr>
              <p:nvPr/>
            </p:nvSpPr>
            <p:spPr bwMode="auto">
              <a:xfrm>
                <a:off x="6732708" y="7919558"/>
                <a:ext cx="3491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8</a:t>
                </a:r>
              </a:p>
            </p:txBody>
          </p:sp>
          <p:sp>
            <p:nvSpPr>
              <p:cNvPr id="785" name="Rectangle 565">
                <a:extLst>
                  <a:ext uri="{FF2B5EF4-FFF2-40B4-BE49-F238E27FC236}">
                    <a16:creationId xmlns:a16="http://schemas.microsoft.com/office/drawing/2014/main" id="{DB7CD4B9-D297-A0EE-84ED-23D5076CE502}"/>
                  </a:ext>
                </a:extLst>
              </p:cNvPr>
              <p:cNvSpPr>
                <a:spLocks noChangeArrowheads="1"/>
              </p:cNvSpPr>
              <p:nvPr/>
            </p:nvSpPr>
            <p:spPr bwMode="auto">
              <a:xfrm>
                <a:off x="6902947" y="7919558"/>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12</a:t>
                </a:r>
              </a:p>
            </p:txBody>
          </p:sp>
          <p:sp>
            <p:nvSpPr>
              <p:cNvPr id="786" name="Rectangle 566">
                <a:extLst>
                  <a:ext uri="{FF2B5EF4-FFF2-40B4-BE49-F238E27FC236}">
                    <a16:creationId xmlns:a16="http://schemas.microsoft.com/office/drawing/2014/main" id="{172DD3E8-51A8-E477-BAAF-5598D8D60648}"/>
                  </a:ext>
                </a:extLst>
              </p:cNvPr>
              <p:cNvSpPr>
                <a:spLocks noChangeArrowheads="1"/>
              </p:cNvSpPr>
              <p:nvPr/>
            </p:nvSpPr>
            <p:spPr bwMode="auto">
              <a:xfrm>
                <a:off x="7090641" y="7919558"/>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16</a:t>
                </a:r>
              </a:p>
            </p:txBody>
          </p:sp>
          <p:sp>
            <p:nvSpPr>
              <p:cNvPr id="787" name="Rectangle 567">
                <a:extLst>
                  <a:ext uri="{FF2B5EF4-FFF2-40B4-BE49-F238E27FC236}">
                    <a16:creationId xmlns:a16="http://schemas.microsoft.com/office/drawing/2014/main" id="{B4DC64EA-7E13-28C0-1F85-03C654ED03EF}"/>
                  </a:ext>
                </a:extLst>
              </p:cNvPr>
              <p:cNvSpPr>
                <a:spLocks noChangeArrowheads="1"/>
              </p:cNvSpPr>
              <p:nvPr/>
            </p:nvSpPr>
            <p:spPr bwMode="auto">
              <a:xfrm>
                <a:off x="7278335" y="7919558"/>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20</a:t>
                </a:r>
              </a:p>
            </p:txBody>
          </p:sp>
          <p:sp>
            <p:nvSpPr>
              <p:cNvPr id="788" name="Rectangle 568">
                <a:extLst>
                  <a:ext uri="{FF2B5EF4-FFF2-40B4-BE49-F238E27FC236}">
                    <a16:creationId xmlns:a16="http://schemas.microsoft.com/office/drawing/2014/main" id="{5EF8E5B1-DFF7-0EBD-FF0A-DA267C95DF14}"/>
                  </a:ext>
                </a:extLst>
              </p:cNvPr>
              <p:cNvSpPr>
                <a:spLocks noChangeArrowheads="1"/>
              </p:cNvSpPr>
              <p:nvPr/>
            </p:nvSpPr>
            <p:spPr bwMode="auto">
              <a:xfrm>
                <a:off x="7466029" y="7919558"/>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a:solidFill>
                      <a:srgbClr val="595959"/>
                    </a:solidFill>
                    <a:latin typeface="Calibri" panose="020F0502020204030204"/>
                  </a:rPr>
                  <a:t>24</a:t>
                </a:r>
              </a:p>
            </p:txBody>
          </p:sp>
        </p:grpSp>
        <p:grpSp>
          <p:nvGrpSpPr>
            <p:cNvPr id="796" name="Group 795">
              <a:extLst>
                <a:ext uri="{FF2B5EF4-FFF2-40B4-BE49-F238E27FC236}">
                  <a16:creationId xmlns:a16="http://schemas.microsoft.com/office/drawing/2014/main" id="{27067F74-8070-84E3-39A3-2B94A433CDC1}"/>
                </a:ext>
              </a:extLst>
            </p:cNvPr>
            <p:cNvGrpSpPr/>
            <p:nvPr/>
          </p:nvGrpSpPr>
          <p:grpSpPr>
            <a:xfrm>
              <a:off x="6377608" y="9600228"/>
              <a:ext cx="1200686" cy="82074"/>
              <a:chOff x="6348910" y="8058369"/>
              <a:chExt cx="1200686" cy="82074"/>
            </a:xfrm>
          </p:grpSpPr>
          <p:sp>
            <p:nvSpPr>
              <p:cNvPr id="798" name="Rectangle 679">
                <a:extLst>
                  <a:ext uri="{FF2B5EF4-FFF2-40B4-BE49-F238E27FC236}">
                    <a16:creationId xmlns:a16="http://schemas.microsoft.com/office/drawing/2014/main" id="{F7297AAB-3075-479F-C32E-1117B13C24BF}"/>
                  </a:ext>
                </a:extLst>
              </p:cNvPr>
              <p:cNvSpPr>
                <a:spLocks noChangeArrowheads="1"/>
              </p:cNvSpPr>
              <p:nvPr/>
            </p:nvSpPr>
            <p:spPr bwMode="auto">
              <a:xfrm>
                <a:off x="6348910"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7</a:t>
                </a:r>
              </a:p>
            </p:txBody>
          </p:sp>
          <p:sp>
            <p:nvSpPr>
              <p:cNvPr id="799" name="Rectangle 681">
                <a:extLst>
                  <a:ext uri="{FF2B5EF4-FFF2-40B4-BE49-F238E27FC236}">
                    <a16:creationId xmlns:a16="http://schemas.microsoft.com/office/drawing/2014/main" id="{137501F7-9123-68F6-B6D6-B48B19685BA9}"/>
                  </a:ext>
                </a:extLst>
              </p:cNvPr>
              <p:cNvSpPr>
                <a:spLocks noChangeArrowheads="1"/>
              </p:cNvSpPr>
              <p:nvPr/>
            </p:nvSpPr>
            <p:spPr bwMode="auto">
              <a:xfrm>
                <a:off x="6537164"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4</a:t>
                </a:r>
              </a:p>
            </p:txBody>
          </p:sp>
          <p:sp>
            <p:nvSpPr>
              <p:cNvPr id="800" name="Rectangle 683">
                <a:extLst>
                  <a:ext uri="{FF2B5EF4-FFF2-40B4-BE49-F238E27FC236}">
                    <a16:creationId xmlns:a16="http://schemas.microsoft.com/office/drawing/2014/main" id="{0F3FD279-0B48-B079-67F7-C06647D1A237}"/>
                  </a:ext>
                </a:extLst>
              </p:cNvPr>
              <p:cNvSpPr>
                <a:spLocks noChangeArrowheads="1"/>
              </p:cNvSpPr>
              <p:nvPr/>
            </p:nvSpPr>
            <p:spPr bwMode="auto">
              <a:xfrm>
                <a:off x="6724073"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5</a:t>
                </a:r>
              </a:p>
            </p:txBody>
          </p:sp>
          <p:sp>
            <p:nvSpPr>
              <p:cNvPr id="801" name="Rectangle 685">
                <a:extLst>
                  <a:ext uri="{FF2B5EF4-FFF2-40B4-BE49-F238E27FC236}">
                    <a16:creationId xmlns:a16="http://schemas.microsoft.com/office/drawing/2014/main" id="{F06272C5-8DE2-2D7B-446A-6E33632ED63C}"/>
                  </a:ext>
                </a:extLst>
              </p:cNvPr>
              <p:cNvSpPr>
                <a:spLocks noChangeArrowheads="1"/>
              </p:cNvSpPr>
              <p:nvPr/>
            </p:nvSpPr>
            <p:spPr bwMode="auto">
              <a:xfrm>
                <a:off x="6915015"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4</a:t>
                </a:r>
              </a:p>
            </p:txBody>
          </p:sp>
          <p:sp>
            <p:nvSpPr>
              <p:cNvPr id="802" name="Rectangle 687">
                <a:extLst>
                  <a:ext uri="{FF2B5EF4-FFF2-40B4-BE49-F238E27FC236}">
                    <a16:creationId xmlns:a16="http://schemas.microsoft.com/office/drawing/2014/main" id="{737309B2-A910-5036-32CA-6CEDB4AC273A}"/>
                  </a:ext>
                </a:extLst>
              </p:cNvPr>
              <p:cNvSpPr>
                <a:spLocks noChangeArrowheads="1"/>
              </p:cNvSpPr>
              <p:nvPr/>
            </p:nvSpPr>
            <p:spPr bwMode="auto">
              <a:xfrm>
                <a:off x="7103269"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5</a:t>
                </a:r>
              </a:p>
            </p:txBody>
          </p:sp>
          <p:sp>
            <p:nvSpPr>
              <p:cNvPr id="803" name="Rectangle 689">
                <a:extLst>
                  <a:ext uri="{FF2B5EF4-FFF2-40B4-BE49-F238E27FC236}">
                    <a16:creationId xmlns:a16="http://schemas.microsoft.com/office/drawing/2014/main" id="{DA97975C-8A7D-44A6-8A4D-4BAC1F3D2636}"/>
                  </a:ext>
                </a:extLst>
              </p:cNvPr>
              <p:cNvSpPr>
                <a:spLocks noChangeArrowheads="1"/>
              </p:cNvSpPr>
              <p:nvPr/>
            </p:nvSpPr>
            <p:spPr bwMode="auto">
              <a:xfrm>
                <a:off x="7291523"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2</a:t>
                </a:r>
              </a:p>
            </p:txBody>
          </p:sp>
          <p:sp>
            <p:nvSpPr>
              <p:cNvPr id="804" name="Rectangle 691">
                <a:extLst>
                  <a:ext uri="{FF2B5EF4-FFF2-40B4-BE49-F238E27FC236}">
                    <a16:creationId xmlns:a16="http://schemas.microsoft.com/office/drawing/2014/main" id="{BD848B05-7406-A1C3-2EED-6CE42EA98576}"/>
                  </a:ext>
                </a:extLst>
              </p:cNvPr>
              <p:cNvSpPr>
                <a:spLocks noChangeArrowheads="1"/>
              </p:cNvSpPr>
              <p:nvPr/>
            </p:nvSpPr>
            <p:spPr bwMode="auto">
              <a:xfrm>
                <a:off x="7479776" y="8058369"/>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0B436E"/>
                    </a:solidFill>
                    <a:latin typeface="Calibri" panose="020F0502020204030204"/>
                  </a:rPr>
                  <a:t>41</a:t>
                </a:r>
              </a:p>
            </p:txBody>
          </p:sp>
        </p:grpSp>
        <p:grpSp>
          <p:nvGrpSpPr>
            <p:cNvPr id="805" name="Group 804">
              <a:extLst>
                <a:ext uri="{FF2B5EF4-FFF2-40B4-BE49-F238E27FC236}">
                  <a16:creationId xmlns:a16="http://schemas.microsoft.com/office/drawing/2014/main" id="{3FA71135-5E47-CABB-0A14-7DA16AF61200}"/>
                </a:ext>
              </a:extLst>
            </p:cNvPr>
            <p:cNvGrpSpPr/>
            <p:nvPr/>
          </p:nvGrpSpPr>
          <p:grpSpPr>
            <a:xfrm>
              <a:off x="6377608" y="9677495"/>
              <a:ext cx="1200686" cy="82074"/>
              <a:chOff x="6348910" y="8126110"/>
              <a:chExt cx="1200686" cy="82074"/>
            </a:xfrm>
          </p:grpSpPr>
          <p:sp>
            <p:nvSpPr>
              <p:cNvPr id="807" name="Rectangle 680">
                <a:extLst>
                  <a:ext uri="{FF2B5EF4-FFF2-40B4-BE49-F238E27FC236}">
                    <a16:creationId xmlns:a16="http://schemas.microsoft.com/office/drawing/2014/main" id="{E4212D82-1CD7-DD3D-1F8C-DE457B186C54}"/>
                  </a:ext>
                </a:extLst>
              </p:cNvPr>
              <p:cNvSpPr>
                <a:spLocks noChangeArrowheads="1"/>
              </p:cNvSpPr>
              <p:nvPr/>
            </p:nvSpPr>
            <p:spPr bwMode="auto">
              <a:xfrm>
                <a:off x="6348910"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FFFFFF">
                        <a:lumMod val="50000"/>
                      </a:srgbClr>
                    </a:solidFill>
                    <a:latin typeface="Calibri" panose="020F0502020204030204"/>
                  </a:rPr>
                  <a:t>42</a:t>
                </a:r>
              </a:p>
            </p:txBody>
          </p:sp>
          <p:sp>
            <p:nvSpPr>
              <p:cNvPr id="808" name="Rectangle 682">
                <a:extLst>
                  <a:ext uri="{FF2B5EF4-FFF2-40B4-BE49-F238E27FC236}">
                    <a16:creationId xmlns:a16="http://schemas.microsoft.com/office/drawing/2014/main" id="{B7BDECF7-FC95-75FC-5DCA-001C435A9CC9}"/>
                  </a:ext>
                </a:extLst>
              </p:cNvPr>
              <p:cNvSpPr>
                <a:spLocks noChangeArrowheads="1"/>
              </p:cNvSpPr>
              <p:nvPr/>
            </p:nvSpPr>
            <p:spPr bwMode="auto">
              <a:xfrm>
                <a:off x="6537164"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FFFFFF">
                        <a:lumMod val="50000"/>
                      </a:srgbClr>
                    </a:solidFill>
                    <a:latin typeface="Calibri" panose="020F0502020204030204"/>
                  </a:rPr>
                  <a:t>42</a:t>
                </a:r>
              </a:p>
            </p:txBody>
          </p:sp>
          <p:sp>
            <p:nvSpPr>
              <p:cNvPr id="809" name="Rectangle 684">
                <a:extLst>
                  <a:ext uri="{FF2B5EF4-FFF2-40B4-BE49-F238E27FC236}">
                    <a16:creationId xmlns:a16="http://schemas.microsoft.com/office/drawing/2014/main" id="{540FDA61-DECD-12C6-D7D3-EA1DEE00E2E9}"/>
                  </a:ext>
                </a:extLst>
              </p:cNvPr>
              <p:cNvSpPr>
                <a:spLocks noChangeArrowheads="1"/>
              </p:cNvSpPr>
              <p:nvPr/>
            </p:nvSpPr>
            <p:spPr bwMode="auto">
              <a:xfrm>
                <a:off x="6724073"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FFFFFF">
                        <a:lumMod val="50000"/>
                      </a:srgbClr>
                    </a:solidFill>
                    <a:latin typeface="Calibri" panose="020F0502020204030204"/>
                  </a:rPr>
                  <a:t>40</a:t>
                </a:r>
              </a:p>
            </p:txBody>
          </p:sp>
          <p:sp>
            <p:nvSpPr>
              <p:cNvPr id="810" name="Rectangle 686">
                <a:extLst>
                  <a:ext uri="{FF2B5EF4-FFF2-40B4-BE49-F238E27FC236}">
                    <a16:creationId xmlns:a16="http://schemas.microsoft.com/office/drawing/2014/main" id="{22BA3D1B-8F02-3592-7B46-DDFDF0043757}"/>
                  </a:ext>
                </a:extLst>
              </p:cNvPr>
              <p:cNvSpPr>
                <a:spLocks noChangeArrowheads="1"/>
              </p:cNvSpPr>
              <p:nvPr/>
            </p:nvSpPr>
            <p:spPr bwMode="auto">
              <a:xfrm>
                <a:off x="6915015"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FFFFFF">
                        <a:lumMod val="50000"/>
                      </a:srgbClr>
                    </a:solidFill>
                    <a:latin typeface="Calibri" panose="020F0502020204030204"/>
                  </a:rPr>
                  <a:t>37</a:t>
                </a:r>
              </a:p>
            </p:txBody>
          </p:sp>
          <p:sp>
            <p:nvSpPr>
              <p:cNvPr id="811" name="Rectangle 688">
                <a:extLst>
                  <a:ext uri="{FF2B5EF4-FFF2-40B4-BE49-F238E27FC236}">
                    <a16:creationId xmlns:a16="http://schemas.microsoft.com/office/drawing/2014/main" id="{C4A4B5CC-EC17-084B-98AA-A43F844B1919}"/>
                  </a:ext>
                </a:extLst>
              </p:cNvPr>
              <p:cNvSpPr>
                <a:spLocks noChangeArrowheads="1"/>
              </p:cNvSpPr>
              <p:nvPr/>
            </p:nvSpPr>
            <p:spPr bwMode="auto">
              <a:xfrm>
                <a:off x="7103269"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FFFFFF">
                        <a:lumMod val="50000"/>
                      </a:srgbClr>
                    </a:solidFill>
                    <a:latin typeface="Calibri" panose="020F0502020204030204"/>
                  </a:rPr>
                  <a:t>36</a:t>
                </a:r>
              </a:p>
            </p:txBody>
          </p:sp>
          <p:sp>
            <p:nvSpPr>
              <p:cNvPr id="812" name="Rectangle 690">
                <a:extLst>
                  <a:ext uri="{FF2B5EF4-FFF2-40B4-BE49-F238E27FC236}">
                    <a16:creationId xmlns:a16="http://schemas.microsoft.com/office/drawing/2014/main" id="{7371D419-D043-1E53-2513-53F2C6984364}"/>
                  </a:ext>
                </a:extLst>
              </p:cNvPr>
              <p:cNvSpPr>
                <a:spLocks noChangeArrowheads="1"/>
              </p:cNvSpPr>
              <p:nvPr/>
            </p:nvSpPr>
            <p:spPr bwMode="auto">
              <a:xfrm>
                <a:off x="7291523"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FFFFFF">
                        <a:lumMod val="50000"/>
                      </a:srgbClr>
                    </a:solidFill>
                    <a:latin typeface="Calibri" panose="020F0502020204030204"/>
                  </a:rPr>
                  <a:t>36</a:t>
                </a:r>
              </a:p>
            </p:txBody>
          </p:sp>
          <p:sp>
            <p:nvSpPr>
              <p:cNvPr id="813" name="Rectangle 692">
                <a:extLst>
                  <a:ext uri="{FF2B5EF4-FFF2-40B4-BE49-F238E27FC236}">
                    <a16:creationId xmlns:a16="http://schemas.microsoft.com/office/drawing/2014/main" id="{A3879B91-2A11-58F1-FA90-4E81F28AD3EF}"/>
                  </a:ext>
                </a:extLst>
              </p:cNvPr>
              <p:cNvSpPr>
                <a:spLocks noChangeArrowheads="1"/>
              </p:cNvSpPr>
              <p:nvPr/>
            </p:nvSpPr>
            <p:spPr bwMode="auto">
              <a:xfrm>
                <a:off x="7479776" y="8126110"/>
                <a:ext cx="69820"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a:solidFill>
                      <a:srgbClr val="FFFFFF">
                        <a:lumMod val="50000"/>
                      </a:srgbClr>
                    </a:solidFill>
                    <a:latin typeface="Calibri" panose="020F0502020204030204"/>
                  </a:rPr>
                  <a:t>36</a:t>
                </a:r>
              </a:p>
            </p:txBody>
          </p:sp>
        </p:grpSp>
        <p:grpSp>
          <p:nvGrpSpPr>
            <p:cNvPr id="814" name="Group 813">
              <a:extLst>
                <a:ext uri="{FF2B5EF4-FFF2-40B4-BE49-F238E27FC236}">
                  <a16:creationId xmlns:a16="http://schemas.microsoft.com/office/drawing/2014/main" id="{FB91F99C-BDB9-085E-CA85-D5C1DBFE52FE}"/>
                </a:ext>
              </a:extLst>
            </p:cNvPr>
            <p:cNvGrpSpPr/>
            <p:nvPr/>
          </p:nvGrpSpPr>
          <p:grpSpPr>
            <a:xfrm>
              <a:off x="6108642" y="8641126"/>
              <a:ext cx="951899" cy="956767"/>
              <a:chOff x="6079944" y="7108793"/>
              <a:chExt cx="951899" cy="956767"/>
            </a:xfrm>
          </p:grpSpPr>
          <p:sp>
            <p:nvSpPr>
              <p:cNvPr id="815" name="Rectangle 643">
                <a:extLst>
                  <a:ext uri="{FF2B5EF4-FFF2-40B4-BE49-F238E27FC236}">
                    <a16:creationId xmlns:a16="http://schemas.microsoft.com/office/drawing/2014/main" id="{52209510-BE7E-CDEB-3A70-43C8E706AF26}"/>
                  </a:ext>
                </a:extLst>
              </p:cNvPr>
              <p:cNvSpPr>
                <a:spLocks noChangeArrowheads="1"/>
              </p:cNvSpPr>
              <p:nvPr/>
            </p:nvSpPr>
            <p:spPr bwMode="auto">
              <a:xfrm>
                <a:off x="6871144" y="7983486"/>
                <a:ext cx="160699"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a:solidFill>
                      <a:srgbClr val="595959"/>
                    </a:solidFill>
                    <a:latin typeface="Calibri" panose="020F0502020204030204"/>
                  </a:rPr>
                  <a:t>Week</a:t>
                </a:r>
                <a:endParaRPr lang="en-US" altLang="en-US" sz="1200">
                  <a:solidFill>
                    <a:srgbClr val="595959"/>
                  </a:solidFill>
                  <a:latin typeface="Calibri" panose="020F0502020204030204"/>
                </a:endParaRPr>
              </a:p>
            </p:txBody>
          </p:sp>
          <p:sp>
            <p:nvSpPr>
              <p:cNvPr id="816" name="Rectangle 511">
                <a:extLst>
                  <a:ext uri="{FF2B5EF4-FFF2-40B4-BE49-F238E27FC236}">
                    <a16:creationId xmlns:a16="http://schemas.microsoft.com/office/drawing/2014/main" id="{0E033A91-E91A-F0F9-141A-90B673731DE2}"/>
                  </a:ext>
                </a:extLst>
              </p:cNvPr>
              <p:cNvSpPr>
                <a:spLocks noChangeArrowheads="1"/>
              </p:cNvSpPr>
              <p:nvPr/>
            </p:nvSpPr>
            <p:spPr bwMode="auto">
              <a:xfrm rot="16200000">
                <a:off x="5857732" y="7331005"/>
                <a:ext cx="526498" cy="8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a:solidFill>
                      <a:srgbClr val="595959"/>
                    </a:solidFill>
                    <a:latin typeface="Calibri" panose="020F0502020204030204"/>
                  </a:rPr>
                  <a:t>Mean (±SE) MDGA</a:t>
                </a:r>
              </a:p>
            </p:txBody>
          </p:sp>
        </p:grpSp>
        <p:grpSp>
          <p:nvGrpSpPr>
            <p:cNvPr id="817" name="Group 816">
              <a:extLst>
                <a:ext uri="{FF2B5EF4-FFF2-40B4-BE49-F238E27FC236}">
                  <a16:creationId xmlns:a16="http://schemas.microsoft.com/office/drawing/2014/main" id="{D25C9406-A87C-7CDD-7BAE-275762D59F48}"/>
                </a:ext>
              </a:extLst>
            </p:cNvPr>
            <p:cNvGrpSpPr/>
            <p:nvPr/>
          </p:nvGrpSpPr>
          <p:grpSpPr>
            <a:xfrm>
              <a:off x="6390528" y="8375897"/>
              <a:ext cx="1151037" cy="708639"/>
              <a:chOff x="6423748" y="8419713"/>
              <a:chExt cx="1151037" cy="708639"/>
            </a:xfrm>
          </p:grpSpPr>
          <p:sp>
            <p:nvSpPr>
              <p:cNvPr id="818" name="Freeform 829">
                <a:extLst>
                  <a:ext uri="{FF2B5EF4-FFF2-40B4-BE49-F238E27FC236}">
                    <a16:creationId xmlns:a16="http://schemas.microsoft.com/office/drawing/2014/main" id="{9506975B-72BB-05B3-1F24-57FEF2B49B73}"/>
                  </a:ext>
                </a:extLst>
              </p:cNvPr>
              <p:cNvSpPr>
                <a:spLocks/>
              </p:cNvSpPr>
              <p:nvPr/>
            </p:nvSpPr>
            <p:spPr bwMode="auto">
              <a:xfrm>
                <a:off x="6433160" y="8429125"/>
                <a:ext cx="1130866" cy="611823"/>
              </a:xfrm>
              <a:custGeom>
                <a:avLst/>
                <a:gdLst>
                  <a:gd name="T0" fmla="*/ 0 w 841"/>
                  <a:gd name="T1" fmla="*/ 0 h 455"/>
                  <a:gd name="T2" fmla="*/ 0 w 841"/>
                  <a:gd name="T3" fmla="*/ 0 h 455"/>
                  <a:gd name="T4" fmla="*/ 0 w 841"/>
                  <a:gd name="T5" fmla="*/ 0 h 455"/>
                  <a:gd name="T6" fmla="*/ 140 w 841"/>
                  <a:gd name="T7" fmla="*/ 147 h 455"/>
                  <a:gd name="T8" fmla="*/ 140 w 841"/>
                  <a:gd name="T9" fmla="*/ 147 h 455"/>
                  <a:gd name="T10" fmla="*/ 280 w 841"/>
                  <a:gd name="T11" fmla="*/ 205 h 455"/>
                  <a:gd name="T12" fmla="*/ 280 w 841"/>
                  <a:gd name="T13" fmla="*/ 205 h 455"/>
                  <a:gd name="T14" fmla="*/ 420 w 841"/>
                  <a:gd name="T15" fmla="*/ 247 h 455"/>
                  <a:gd name="T16" fmla="*/ 420 w 841"/>
                  <a:gd name="T17" fmla="*/ 247 h 455"/>
                  <a:gd name="T18" fmla="*/ 560 w 841"/>
                  <a:gd name="T19" fmla="*/ 378 h 455"/>
                  <a:gd name="T20" fmla="*/ 560 w 841"/>
                  <a:gd name="T21" fmla="*/ 378 h 455"/>
                  <a:gd name="T22" fmla="*/ 701 w 841"/>
                  <a:gd name="T23" fmla="*/ 440 h 455"/>
                  <a:gd name="T24" fmla="*/ 701 w 841"/>
                  <a:gd name="T25" fmla="*/ 440 h 455"/>
                  <a:gd name="T26" fmla="*/ 841 w 841"/>
                  <a:gd name="T2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1" h="455">
                    <a:moveTo>
                      <a:pt x="0" y="0"/>
                    </a:moveTo>
                    <a:lnTo>
                      <a:pt x="0" y="0"/>
                    </a:lnTo>
                    <a:lnTo>
                      <a:pt x="0" y="0"/>
                    </a:lnTo>
                    <a:lnTo>
                      <a:pt x="140" y="147"/>
                    </a:lnTo>
                    <a:lnTo>
                      <a:pt x="140" y="147"/>
                    </a:lnTo>
                    <a:lnTo>
                      <a:pt x="280" y="205"/>
                    </a:lnTo>
                    <a:lnTo>
                      <a:pt x="280" y="205"/>
                    </a:lnTo>
                    <a:lnTo>
                      <a:pt x="420" y="247"/>
                    </a:lnTo>
                    <a:lnTo>
                      <a:pt x="420" y="247"/>
                    </a:lnTo>
                    <a:lnTo>
                      <a:pt x="560" y="378"/>
                    </a:lnTo>
                    <a:lnTo>
                      <a:pt x="560" y="378"/>
                    </a:lnTo>
                    <a:lnTo>
                      <a:pt x="701" y="440"/>
                    </a:lnTo>
                    <a:lnTo>
                      <a:pt x="701" y="440"/>
                    </a:lnTo>
                    <a:lnTo>
                      <a:pt x="841" y="455"/>
                    </a:lnTo>
                  </a:path>
                </a:pathLst>
              </a:custGeom>
              <a:noFill/>
              <a:ln w="1905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19" name="Line 830">
                <a:extLst>
                  <a:ext uri="{FF2B5EF4-FFF2-40B4-BE49-F238E27FC236}">
                    <a16:creationId xmlns:a16="http://schemas.microsoft.com/office/drawing/2014/main" id="{F64C10FE-E9A5-9366-2F46-13B5A20AD029}"/>
                  </a:ext>
                </a:extLst>
              </p:cNvPr>
              <p:cNvSpPr>
                <a:spLocks noChangeShapeType="1"/>
              </p:cNvSpPr>
              <p:nvPr/>
            </p:nvSpPr>
            <p:spPr bwMode="auto">
              <a:xfrm>
                <a:off x="6621414" y="8563592"/>
                <a:ext cx="0" cy="63199"/>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20" name="Line 831">
                <a:extLst>
                  <a:ext uri="{FF2B5EF4-FFF2-40B4-BE49-F238E27FC236}">
                    <a16:creationId xmlns:a16="http://schemas.microsoft.com/office/drawing/2014/main" id="{E9D43881-135B-DD9F-726E-945CA3322D8E}"/>
                  </a:ext>
                </a:extLst>
              </p:cNvPr>
              <p:cNvSpPr>
                <a:spLocks noChangeShapeType="1"/>
              </p:cNvSpPr>
              <p:nvPr/>
            </p:nvSpPr>
            <p:spPr bwMode="auto">
              <a:xfrm>
                <a:off x="6621414" y="8626791"/>
                <a:ext cx="0" cy="63199"/>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21" name="Line 832">
                <a:extLst>
                  <a:ext uri="{FF2B5EF4-FFF2-40B4-BE49-F238E27FC236}">
                    <a16:creationId xmlns:a16="http://schemas.microsoft.com/office/drawing/2014/main" id="{FE100D9A-2AD8-63C2-CFE1-D2CFB8A820AB}"/>
                  </a:ext>
                </a:extLst>
              </p:cNvPr>
              <p:cNvSpPr>
                <a:spLocks noChangeShapeType="1"/>
              </p:cNvSpPr>
              <p:nvPr/>
            </p:nvSpPr>
            <p:spPr bwMode="auto">
              <a:xfrm>
                <a:off x="6610657" y="8563592"/>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22" name="Line 833">
                <a:extLst>
                  <a:ext uri="{FF2B5EF4-FFF2-40B4-BE49-F238E27FC236}">
                    <a16:creationId xmlns:a16="http://schemas.microsoft.com/office/drawing/2014/main" id="{16FEF593-8D23-87A2-53DD-312C3D6B0534}"/>
                  </a:ext>
                </a:extLst>
              </p:cNvPr>
              <p:cNvSpPr>
                <a:spLocks noChangeShapeType="1"/>
              </p:cNvSpPr>
              <p:nvPr/>
            </p:nvSpPr>
            <p:spPr bwMode="auto">
              <a:xfrm>
                <a:off x="6610657" y="8689991"/>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23" name="Line 834">
                <a:extLst>
                  <a:ext uri="{FF2B5EF4-FFF2-40B4-BE49-F238E27FC236}">
                    <a16:creationId xmlns:a16="http://schemas.microsoft.com/office/drawing/2014/main" id="{8A20E011-7123-EC28-9835-077FDF86D631}"/>
                  </a:ext>
                </a:extLst>
              </p:cNvPr>
              <p:cNvSpPr>
                <a:spLocks noChangeShapeType="1"/>
              </p:cNvSpPr>
              <p:nvPr/>
            </p:nvSpPr>
            <p:spPr bwMode="auto">
              <a:xfrm>
                <a:off x="6809668" y="8622757"/>
                <a:ext cx="0" cy="82025"/>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24" name="Line 835">
                <a:extLst>
                  <a:ext uri="{FF2B5EF4-FFF2-40B4-BE49-F238E27FC236}">
                    <a16:creationId xmlns:a16="http://schemas.microsoft.com/office/drawing/2014/main" id="{105766E0-F775-BFB7-CC22-C6713EE83112}"/>
                  </a:ext>
                </a:extLst>
              </p:cNvPr>
              <p:cNvSpPr>
                <a:spLocks noChangeShapeType="1"/>
              </p:cNvSpPr>
              <p:nvPr/>
            </p:nvSpPr>
            <p:spPr bwMode="auto">
              <a:xfrm>
                <a:off x="6809668" y="8704782"/>
                <a:ext cx="0" cy="8068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25" name="Line 836">
                <a:extLst>
                  <a:ext uri="{FF2B5EF4-FFF2-40B4-BE49-F238E27FC236}">
                    <a16:creationId xmlns:a16="http://schemas.microsoft.com/office/drawing/2014/main" id="{4958BB16-14DB-673E-2BE8-FA000A9C5D65}"/>
                  </a:ext>
                </a:extLst>
              </p:cNvPr>
              <p:cNvSpPr>
                <a:spLocks noChangeShapeType="1"/>
              </p:cNvSpPr>
              <p:nvPr/>
            </p:nvSpPr>
            <p:spPr bwMode="auto">
              <a:xfrm>
                <a:off x="6798910" y="8622757"/>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26" name="Line 837">
                <a:extLst>
                  <a:ext uri="{FF2B5EF4-FFF2-40B4-BE49-F238E27FC236}">
                    <a16:creationId xmlns:a16="http://schemas.microsoft.com/office/drawing/2014/main" id="{CBCEA9C4-91E0-2C8B-CE2B-F54C8F0718FD}"/>
                  </a:ext>
                </a:extLst>
              </p:cNvPr>
              <p:cNvSpPr>
                <a:spLocks noChangeShapeType="1"/>
              </p:cNvSpPr>
              <p:nvPr/>
            </p:nvSpPr>
            <p:spPr bwMode="auto">
              <a:xfrm>
                <a:off x="6798910" y="8785462"/>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27" name="Line 838">
                <a:extLst>
                  <a:ext uri="{FF2B5EF4-FFF2-40B4-BE49-F238E27FC236}">
                    <a16:creationId xmlns:a16="http://schemas.microsoft.com/office/drawing/2014/main" id="{9A66EDD0-FECB-96B2-4FA8-9768D0FA7623}"/>
                  </a:ext>
                </a:extLst>
              </p:cNvPr>
              <p:cNvSpPr>
                <a:spLocks noChangeShapeType="1"/>
              </p:cNvSpPr>
              <p:nvPr/>
            </p:nvSpPr>
            <p:spPr bwMode="auto">
              <a:xfrm>
                <a:off x="6997921" y="8688646"/>
                <a:ext cx="0" cy="72612"/>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28" name="Line 839">
                <a:extLst>
                  <a:ext uri="{FF2B5EF4-FFF2-40B4-BE49-F238E27FC236}">
                    <a16:creationId xmlns:a16="http://schemas.microsoft.com/office/drawing/2014/main" id="{16904577-2945-4FF8-F1D2-7299F20ED3A9}"/>
                  </a:ext>
                </a:extLst>
              </p:cNvPr>
              <p:cNvSpPr>
                <a:spLocks noChangeShapeType="1"/>
              </p:cNvSpPr>
              <p:nvPr/>
            </p:nvSpPr>
            <p:spPr bwMode="auto">
              <a:xfrm>
                <a:off x="6997921" y="8761258"/>
                <a:ext cx="0" cy="72612"/>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29" name="Line 840">
                <a:extLst>
                  <a:ext uri="{FF2B5EF4-FFF2-40B4-BE49-F238E27FC236}">
                    <a16:creationId xmlns:a16="http://schemas.microsoft.com/office/drawing/2014/main" id="{9E039568-DAF6-5A95-1C78-3C778F295F2E}"/>
                  </a:ext>
                </a:extLst>
              </p:cNvPr>
              <p:cNvSpPr>
                <a:spLocks noChangeShapeType="1"/>
              </p:cNvSpPr>
              <p:nvPr/>
            </p:nvSpPr>
            <p:spPr bwMode="auto">
              <a:xfrm>
                <a:off x="6987164" y="8688646"/>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30" name="Line 841">
                <a:extLst>
                  <a:ext uri="{FF2B5EF4-FFF2-40B4-BE49-F238E27FC236}">
                    <a16:creationId xmlns:a16="http://schemas.microsoft.com/office/drawing/2014/main" id="{3731DEB4-9ACF-20D1-0909-DBB0B6F553D2}"/>
                  </a:ext>
                </a:extLst>
              </p:cNvPr>
              <p:cNvSpPr>
                <a:spLocks noChangeShapeType="1"/>
              </p:cNvSpPr>
              <p:nvPr/>
            </p:nvSpPr>
            <p:spPr bwMode="auto">
              <a:xfrm>
                <a:off x="6987164" y="8833870"/>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31" name="Line 842">
                <a:extLst>
                  <a:ext uri="{FF2B5EF4-FFF2-40B4-BE49-F238E27FC236}">
                    <a16:creationId xmlns:a16="http://schemas.microsoft.com/office/drawing/2014/main" id="{589FFEE3-A4AE-D7C3-8CF2-9A68B841F083}"/>
                  </a:ext>
                </a:extLst>
              </p:cNvPr>
              <p:cNvSpPr>
                <a:spLocks noChangeShapeType="1"/>
              </p:cNvSpPr>
              <p:nvPr/>
            </p:nvSpPr>
            <p:spPr bwMode="auto">
              <a:xfrm>
                <a:off x="7186175" y="8859419"/>
                <a:ext cx="0" cy="77991"/>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32" name="Line 843">
                <a:extLst>
                  <a:ext uri="{FF2B5EF4-FFF2-40B4-BE49-F238E27FC236}">
                    <a16:creationId xmlns:a16="http://schemas.microsoft.com/office/drawing/2014/main" id="{24E28F86-8906-F505-F413-42A81AEC3D08}"/>
                  </a:ext>
                </a:extLst>
              </p:cNvPr>
              <p:cNvSpPr>
                <a:spLocks noChangeShapeType="1"/>
              </p:cNvSpPr>
              <p:nvPr/>
            </p:nvSpPr>
            <p:spPr bwMode="auto">
              <a:xfrm>
                <a:off x="7186175" y="8937409"/>
                <a:ext cx="0" cy="77991"/>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33" name="Line 844">
                <a:extLst>
                  <a:ext uri="{FF2B5EF4-FFF2-40B4-BE49-F238E27FC236}">
                    <a16:creationId xmlns:a16="http://schemas.microsoft.com/office/drawing/2014/main" id="{157E2A53-37F0-910A-A9B3-9C384C7E8115}"/>
                  </a:ext>
                </a:extLst>
              </p:cNvPr>
              <p:cNvSpPr>
                <a:spLocks noChangeShapeType="1"/>
              </p:cNvSpPr>
              <p:nvPr/>
            </p:nvSpPr>
            <p:spPr bwMode="auto">
              <a:xfrm>
                <a:off x="7175418" y="8859419"/>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34" name="Line 845">
                <a:extLst>
                  <a:ext uri="{FF2B5EF4-FFF2-40B4-BE49-F238E27FC236}">
                    <a16:creationId xmlns:a16="http://schemas.microsoft.com/office/drawing/2014/main" id="{10043FC6-D5F3-F5F0-2180-F2C6468A97E8}"/>
                  </a:ext>
                </a:extLst>
              </p:cNvPr>
              <p:cNvSpPr>
                <a:spLocks noChangeShapeType="1"/>
              </p:cNvSpPr>
              <p:nvPr/>
            </p:nvSpPr>
            <p:spPr bwMode="auto">
              <a:xfrm>
                <a:off x="7175418" y="9015400"/>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35" name="Line 846">
                <a:extLst>
                  <a:ext uri="{FF2B5EF4-FFF2-40B4-BE49-F238E27FC236}">
                    <a16:creationId xmlns:a16="http://schemas.microsoft.com/office/drawing/2014/main" id="{71225DB0-80D2-4E4B-CDC0-E7F3B804CD4E}"/>
                  </a:ext>
                </a:extLst>
              </p:cNvPr>
              <p:cNvSpPr>
                <a:spLocks noChangeShapeType="1"/>
              </p:cNvSpPr>
              <p:nvPr/>
            </p:nvSpPr>
            <p:spPr bwMode="auto">
              <a:xfrm>
                <a:off x="7375773" y="8937409"/>
                <a:ext cx="0" cy="83369"/>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36" name="Line 847">
                <a:extLst>
                  <a:ext uri="{FF2B5EF4-FFF2-40B4-BE49-F238E27FC236}">
                    <a16:creationId xmlns:a16="http://schemas.microsoft.com/office/drawing/2014/main" id="{72925889-5E00-2061-D4CB-CDCE071E8782}"/>
                  </a:ext>
                </a:extLst>
              </p:cNvPr>
              <p:cNvSpPr>
                <a:spLocks noChangeShapeType="1"/>
              </p:cNvSpPr>
              <p:nvPr/>
            </p:nvSpPr>
            <p:spPr bwMode="auto">
              <a:xfrm>
                <a:off x="7375773" y="9020779"/>
                <a:ext cx="0" cy="82025"/>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37" name="Line 848">
                <a:extLst>
                  <a:ext uri="{FF2B5EF4-FFF2-40B4-BE49-F238E27FC236}">
                    <a16:creationId xmlns:a16="http://schemas.microsoft.com/office/drawing/2014/main" id="{11E5AAE7-61ED-7A18-2F40-FABA1658028B}"/>
                  </a:ext>
                </a:extLst>
              </p:cNvPr>
              <p:cNvSpPr>
                <a:spLocks noChangeShapeType="1"/>
              </p:cNvSpPr>
              <p:nvPr/>
            </p:nvSpPr>
            <p:spPr bwMode="auto">
              <a:xfrm>
                <a:off x="7365016" y="8937409"/>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38" name="Line 849">
                <a:extLst>
                  <a:ext uri="{FF2B5EF4-FFF2-40B4-BE49-F238E27FC236}">
                    <a16:creationId xmlns:a16="http://schemas.microsoft.com/office/drawing/2014/main" id="{8F5FE229-FCEA-A746-1850-733649000BB7}"/>
                  </a:ext>
                </a:extLst>
              </p:cNvPr>
              <p:cNvSpPr>
                <a:spLocks noChangeShapeType="1"/>
              </p:cNvSpPr>
              <p:nvPr/>
            </p:nvSpPr>
            <p:spPr bwMode="auto">
              <a:xfrm>
                <a:off x="7365016" y="9102803"/>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39" name="Line 850">
                <a:extLst>
                  <a:ext uri="{FF2B5EF4-FFF2-40B4-BE49-F238E27FC236}">
                    <a16:creationId xmlns:a16="http://schemas.microsoft.com/office/drawing/2014/main" id="{6BA619E4-F0C7-78F5-987B-5C05F61E741C}"/>
                  </a:ext>
                </a:extLst>
              </p:cNvPr>
              <p:cNvSpPr>
                <a:spLocks noChangeShapeType="1"/>
              </p:cNvSpPr>
              <p:nvPr/>
            </p:nvSpPr>
            <p:spPr bwMode="auto">
              <a:xfrm>
                <a:off x="7564027" y="8953545"/>
                <a:ext cx="0" cy="87403"/>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40" name="Line 851">
                <a:extLst>
                  <a:ext uri="{FF2B5EF4-FFF2-40B4-BE49-F238E27FC236}">
                    <a16:creationId xmlns:a16="http://schemas.microsoft.com/office/drawing/2014/main" id="{A9DEC480-4F80-5B2D-5221-169C12010C78}"/>
                  </a:ext>
                </a:extLst>
              </p:cNvPr>
              <p:cNvSpPr>
                <a:spLocks noChangeShapeType="1"/>
              </p:cNvSpPr>
              <p:nvPr/>
            </p:nvSpPr>
            <p:spPr bwMode="auto">
              <a:xfrm>
                <a:off x="7564027" y="9040949"/>
                <a:ext cx="0" cy="87403"/>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41" name="Line 852">
                <a:extLst>
                  <a:ext uri="{FF2B5EF4-FFF2-40B4-BE49-F238E27FC236}">
                    <a16:creationId xmlns:a16="http://schemas.microsoft.com/office/drawing/2014/main" id="{63E28382-C5A7-2CF4-6B0A-2010E2A9FB1A}"/>
                  </a:ext>
                </a:extLst>
              </p:cNvPr>
              <p:cNvSpPr>
                <a:spLocks noChangeShapeType="1"/>
              </p:cNvSpPr>
              <p:nvPr/>
            </p:nvSpPr>
            <p:spPr bwMode="auto">
              <a:xfrm>
                <a:off x="7553270" y="8953545"/>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42" name="Line 853">
                <a:extLst>
                  <a:ext uri="{FF2B5EF4-FFF2-40B4-BE49-F238E27FC236}">
                    <a16:creationId xmlns:a16="http://schemas.microsoft.com/office/drawing/2014/main" id="{A8D49795-9603-4624-46C1-FC8E793DA3C4}"/>
                  </a:ext>
                </a:extLst>
              </p:cNvPr>
              <p:cNvSpPr>
                <a:spLocks noChangeShapeType="1"/>
              </p:cNvSpPr>
              <p:nvPr/>
            </p:nvSpPr>
            <p:spPr bwMode="auto">
              <a:xfrm>
                <a:off x="7553270" y="9128352"/>
                <a:ext cx="21515" cy="0"/>
              </a:xfrm>
              <a:prstGeom prst="line">
                <a:avLst/>
              </a:prstGeom>
              <a:noFill/>
              <a:ln w="8001" cap="flat">
                <a:solidFill>
                  <a:srgbClr val="FFFFFF">
                    <a:lumMod val="50000"/>
                  </a:srgbClr>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43" name="Rectangle 854">
                <a:extLst>
                  <a:ext uri="{FF2B5EF4-FFF2-40B4-BE49-F238E27FC236}">
                    <a16:creationId xmlns:a16="http://schemas.microsoft.com/office/drawing/2014/main" id="{AD0371BF-2E05-09D5-C733-6A5909C8BAA1}"/>
                  </a:ext>
                </a:extLst>
              </p:cNvPr>
              <p:cNvSpPr>
                <a:spLocks noChangeArrowheads="1"/>
              </p:cNvSpPr>
              <p:nvPr/>
            </p:nvSpPr>
            <p:spPr bwMode="auto">
              <a:xfrm>
                <a:off x="6423748" y="8419713"/>
                <a:ext cx="18825" cy="20170"/>
              </a:xfrm>
              <a:prstGeom prst="rect">
                <a:avLst/>
              </a:prstGeom>
              <a:noFill/>
              <a:ln w="8001"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44" name="Rectangle 855">
                <a:extLst>
                  <a:ext uri="{FF2B5EF4-FFF2-40B4-BE49-F238E27FC236}">
                    <a16:creationId xmlns:a16="http://schemas.microsoft.com/office/drawing/2014/main" id="{AD2A5F37-D26F-5201-0443-E6A6F3670ABF}"/>
                  </a:ext>
                </a:extLst>
              </p:cNvPr>
              <p:cNvSpPr>
                <a:spLocks noChangeArrowheads="1"/>
              </p:cNvSpPr>
              <p:nvPr/>
            </p:nvSpPr>
            <p:spPr bwMode="auto">
              <a:xfrm>
                <a:off x="6612001" y="8617379"/>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45" name="Rectangle 856">
                <a:extLst>
                  <a:ext uri="{FF2B5EF4-FFF2-40B4-BE49-F238E27FC236}">
                    <a16:creationId xmlns:a16="http://schemas.microsoft.com/office/drawing/2014/main" id="{AB8A9428-7A8C-2A11-09A9-E6D0C9EAD295}"/>
                  </a:ext>
                </a:extLst>
              </p:cNvPr>
              <p:cNvSpPr>
                <a:spLocks noChangeArrowheads="1"/>
              </p:cNvSpPr>
              <p:nvPr/>
            </p:nvSpPr>
            <p:spPr bwMode="auto">
              <a:xfrm>
                <a:off x="6800255" y="8695369"/>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46" name="Rectangle 857">
                <a:extLst>
                  <a:ext uri="{FF2B5EF4-FFF2-40B4-BE49-F238E27FC236}">
                    <a16:creationId xmlns:a16="http://schemas.microsoft.com/office/drawing/2014/main" id="{25179C4E-B86D-CCD8-DF5E-6F250066569B}"/>
                  </a:ext>
                </a:extLst>
              </p:cNvPr>
              <p:cNvSpPr>
                <a:spLocks noChangeArrowheads="1"/>
              </p:cNvSpPr>
              <p:nvPr/>
            </p:nvSpPr>
            <p:spPr bwMode="auto">
              <a:xfrm>
                <a:off x="6988509" y="8751845"/>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47" name="Rectangle 858">
                <a:extLst>
                  <a:ext uri="{FF2B5EF4-FFF2-40B4-BE49-F238E27FC236}">
                    <a16:creationId xmlns:a16="http://schemas.microsoft.com/office/drawing/2014/main" id="{195297A7-4051-0969-A109-C37E7DE562F0}"/>
                  </a:ext>
                </a:extLst>
              </p:cNvPr>
              <p:cNvSpPr>
                <a:spLocks noChangeArrowheads="1"/>
              </p:cNvSpPr>
              <p:nvPr/>
            </p:nvSpPr>
            <p:spPr bwMode="auto">
              <a:xfrm>
                <a:off x="7176762" y="8927997"/>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48" name="Rectangle 859">
                <a:extLst>
                  <a:ext uri="{FF2B5EF4-FFF2-40B4-BE49-F238E27FC236}">
                    <a16:creationId xmlns:a16="http://schemas.microsoft.com/office/drawing/2014/main" id="{CAFEE8F5-B019-A370-6C30-5CD39805D4A9}"/>
                  </a:ext>
                </a:extLst>
              </p:cNvPr>
              <p:cNvSpPr>
                <a:spLocks noChangeArrowheads="1"/>
              </p:cNvSpPr>
              <p:nvPr/>
            </p:nvSpPr>
            <p:spPr bwMode="auto">
              <a:xfrm>
                <a:off x="7366361" y="9010021"/>
                <a:ext cx="18825" cy="20170"/>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49" name="Rectangle 860">
                <a:extLst>
                  <a:ext uri="{FF2B5EF4-FFF2-40B4-BE49-F238E27FC236}">
                    <a16:creationId xmlns:a16="http://schemas.microsoft.com/office/drawing/2014/main" id="{41689B96-BC17-793C-E705-41D02CFB8D0C}"/>
                  </a:ext>
                </a:extLst>
              </p:cNvPr>
              <p:cNvSpPr>
                <a:spLocks noChangeArrowheads="1"/>
              </p:cNvSpPr>
              <p:nvPr/>
            </p:nvSpPr>
            <p:spPr bwMode="auto">
              <a:xfrm>
                <a:off x="7554614" y="9031536"/>
                <a:ext cx="18825" cy="18825"/>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grpSp>
          <p:nvGrpSpPr>
            <p:cNvPr id="850" name="Group 849">
              <a:extLst>
                <a:ext uri="{FF2B5EF4-FFF2-40B4-BE49-F238E27FC236}">
                  <a16:creationId xmlns:a16="http://schemas.microsoft.com/office/drawing/2014/main" id="{2313ADBA-5340-7776-A87E-FFE98814822B}"/>
                </a:ext>
              </a:extLst>
            </p:cNvPr>
            <p:cNvGrpSpPr/>
            <p:nvPr/>
          </p:nvGrpSpPr>
          <p:grpSpPr>
            <a:xfrm>
              <a:off x="6390528" y="8375897"/>
              <a:ext cx="1151037" cy="895548"/>
              <a:chOff x="6423748" y="8419713"/>
              <a:chExt cx="1151037" cy="895548"/>
            </a:xfrm>
          </p:grpSpPr>
          <p:grpSp>
            <p:nvGrpSpPr>
              <p:cNvPr id="851" name="Group 850">
                <a:extLst>
                  <a:ext uri="{FF2B5EF4-FFF2-40B4-BE49-F238E27FC236}">
                    <a16:creationId xmlns:a16="http://schemas.microsoft.com/office/drawing/2014/main" id="{CAD1434A-02F1-703F-FC8F-A3A0694FD3F5}"/>
                  </a:ext>
                </a:extLst>
              </p:cNvPr>
              <p:cNvGrpSpPr/>
              <p:nvPr/>
            </p:nvGrpSpPr>
            <p:grpSpPr>
              <a:xfrm>
                <a:off x="6423748" y="8419713"/>
                <a:ext cx="1140278" cy="825625"/>
                <a:chOff x="6423748" y="8419713"/>
                <a:chExt cx="1140278" cy="825625"/>
              </a:xfrm>
            </p:grpSpPr>
            <p:sp>
              <p:nvSpPr>
                <p:cNvPr id="883" name="Freeform 861">
                  <a:extLst>
                    <a:ext uri="{FF2B5EF4-FFF2-40B4-BE49-F238E27FC236}">
                      <a16:creationId xmlns:a16="http://schemas.microsoft.com/office/drawing/2014/main" id="{5866A6DF-F434-49F1-ACE5-108FDFA36844}"/>
                    </a:ext>
                  </a:extLst>
                </p:cNvPr>
                <p:cNvSpPr>
                  <a:spLocks/>
                </p:cNvSpPr>
                <p:nvPr/>
              </p:nvSpPr>
              <p:spPr bwMode="auto">
                <a:xfrm>
                  <a:off x="6433160" y="8429125"/>
                  <a:ext cx="1130866" cy="816213"/>
                </a:xfrm>
                <a:custGeom>
                  <a:avLst/>
                  <a:gdLst>
                    <a:gd name="T0" fmla="*/ 0 w 841"/>
                    <a:gd name="T1" fmla="*/ 0 h 607"/>
                    <a:gd name="T2" fmla="*/ 0 w 841"/>
                    <a:gd name="T3" fmla="*/ 0 h 607"/>
                    <a:gd name="T4" fmla="*/ 0 w 841"/>
                    <a:gd name="T5" fmla="*/ 0 h 607"/>
                    <a:gd name="T6" fmla="*/ 140 w 841"/>
                    <a:gd name="T7" fmla="*/ 161 h 607"/>
                    <a:gd name="T8" fmla="*/ 140 w 841"/>
                    <a:gd name="T9" fmla="*/ 161 h 607"/>
                    <a:gd name="T10" fmla="*/ 280 w 841"/>
                    <a:gd name="T11" fmla="*/ 344 h 607"/>
                    <a:gd name="T12" fmla="*/ 280 w 841"/>
                    <a:gd name="T13" fmla="*/ 344 h 607"/>
                    <a:gd name="T14" fmla="*/ 420 w 841"/>
                    <a:gd name="T15" fmla="*/ 470 h 607"/>
                    <a:gd name="T16" fmla="*/ 420 w 841"/>
                    <a:gd name="T17" fmla="*/ 470 h 607"/>
                    <a:gd name="T18" fmla="*/ 560 w 841"/>
                    <a:gd name="T19" fmla="*/ 557 h 607"/>
                    <a:gd name="T20" fmla="*/ 560 w 841"/>
                    <a:gd name="T21" fmla="*/ 557 h 607"/>
                    <a:gd name="T22" fmla="*/ 701 w 841"/>
                    <a:gd name="T23" fmla="*/ 607 h 607"/>
                    <a:gd name="T24" fmla="*/ 701 w 841"/>
                    <a:gd name="T25" fmla="*/ 607 h 607"/>
                    <a:gd name="T26" fmla="*/ 841 w 841"/>
                    <a:gd name="T27" fmla="*/ 59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1" h="607">
                      <a:moveTo>
                        <a:pt x="0" y="0"/>
                      </a:moveTo>
                      <a:lnTo>
                        <a:pt x="0" y="0"/>
                      </a:lnTo>
                      <a:lnTo>
                        <a:pt x="0" y="0"/>
                      </a:lnTo>
                      <a:lnTo>
                        <a:pt x="140" y="161"/>
                      </a:lnTo>
                      <a:lnTo>
                        <a:pt x="140" y="161"/>
                      </a:lnTo>
                      <a:lnTo>
                        <a:pt x="280" y="344"/>
                      </a:lnTo>
                      <a:lnTo>
                        <a:pt x="280" y="344"/>
                      </a:lnTo>
                      <a:lnTo>
                        <a:pt x="420" y="470"/>
                      </a:lnTo>
                      <a:lnTo>
                        <a:pt x="420" y="470"/>
                      </a:lnTo>
                      <a:lnTo>
                        <a:pt x="560" y="557"/>
                      </a:lnTo>
                      <a:lnTo>
                        <a:pt x="560" y="557"/>
                      </a:lnTo>
                      <a:lnTo>
                        <a:pt x="701" y="607"/>
                      </a:lnTo>
                      <a:lnTo>
                        <a:pt x="701" y="607"/>
                      </a:lnTo>
                      <a:lnTo>
                        <a:pt x="841" y="590"/>
                      </a:lnTo>
                    </a:path>
                  </a:pathLst>
                </a:custGeom>
                <a:noFill/>
                <a:ln w="19050" cap="flat">
                  <a:solidFill>
                    <a:srgbClr val="0B43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84" name="Oval 886">
                  <a:extLst>
                    <a:ext uri="{FF2B5EF4-FFF2-40B4-BE49-F238E27FC236}">
                      <a16:creationId xmlns:a16="http://schemas.microsoft.com/office/drawing/2014/main" id="{E18B4940-219A-A20B-1534-2153951FF6CD}"/>
                    </a:ext>
                  </a:extLst>
                </p:cNvPr>
                <p:cNvSpPr>
                  <a:spLocks noChangeArrowheads="1"/>
                </p:cNvSpPr>
                <p:nvPr/>
              </p:nvSpPr>
              <p:spPr bwMode="auto">
                <a:xfrm>
                  <a:off x="6423748" y="8419713"/>
                  <a:ext cx="18825" cy="20170"/>
                </a:xfrm>
                <a:prstGeom prst="ellipse">
                  <a:avLst/>
                </a:prstGeom>
                <a:noFill/>
                <a:ln w="12700" cap="flat">
                  <a:solidFill>
                    <a:srgbClr val="0B43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grpSp>
            <p:nvGrpSpPr>
              <p:cNvPr id="852" name="Group 851">
                <a:extLst>
                  <a:ext uri="{FF2B5EF4-FFF2-40B4-BE49-F238E27FC236}">
                    <a16:creationId xmlns:a16="http://schemas.microsoft.com/office/drawing/2014/main" id="{4D9954FF-1BEE-2A39-D5CE-A12121F102E5}"/>
                  </a:ext>
                </a:extLst>
              </p:cNvPr>
              <p:cNvGrpSpPr/>
              <p:nvPr/>
            </p:nvGrpSpPr>
            <p:grpSpPr>
              <a:xfrm>
                <a:off x="6610657" y="8587796"/>
                <a:ext cx="964128" cy="727465"/>
                <a:chOff x="6610657" y="8587796"/>
                <a:chExt cx="964128" cy="727465"/>
              </a:xfrm>
            </p:grpSpPr>
            <p:sp>
              <p:nvSpPr>
                <p:cNvPr id="853" name="Line 862">
                  <a:extLst>
                    <a:ext uri="{FF2B5EF4-FFF2-40B4-BE49-F238E27FC236}">
                      <a16:creationId xmlns:a16="http://schemas.microsoft.com/office/drawing/2014/main" id="{84143C26-AD6C-B308-9CC3-4F2C7C4EF8DC}"/>
                    </a:ext>
                  </a:extLst>
                </p:cNvPr>
                <p:cNvSpPr>
                  <a:spLocks noChangeShapeType="1"/>
                </p:cNvSpPr>
                <p:nvPr/>
              </p:nvSpPr>
              <p:spPr bwMode="auto">
                <a:xfrm>
                  <a:off x="6621414" y="8587796"/>
                  <a:ext cx="0" cy="57821"/>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54" name="Line 863">
                  <a:extLst>
                    <a:ext uri="{FF2B5EF4-FFF2-40B4-BE49-F238E27FC236}">
                      <a16:creationId xmlns:a16="http://schemas.microsoft.com/office/drawing/2014/main" id="{55CA2A93-549A-751B-9774-22CC5F8769B1}"/>
                    </a:ext>
                  </a:extLst>
                </p:cNvPr>
                <p:cNvSpPr>
                  <a:spLocks noChangeShapeType="1"/>
                </p:cNvSpPr>
                <p:nvPr/>
              </p:nvSpPr>
              <p:spPr bwMode="auto">
                <a:xfrm>
                  <a:off x="6621414" y="8645617"/>
                  <a:ext cx="0" cy="56476"/>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55" name="Line 864">
                  <a:extLst>
                    <a:ext uri="{FF2B5EF4-FFF2-40B4-BE49-F238E27FC236}">
                      <a16:creationId xmlns:a16="http://schemas.microsoft.com/office/drawing/2014/main" id="{81BAB42E-E554-4D07-D04C-1529FD4CC9C0}"/>
                    </a:ext>
                  </a:extLst>
                </p:cNvPr>
                <p:cNvSpPr>
                  <a:spLocks noChangeShapeType="1"/>
                </p:cNvSpPr>
                <p:nvPr/>
              </p:nvSpPr>
              <p:spPr bwMode="auto">
                <a:xfrm>
                  <a:off x="6610657" y="8587796"/>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56" name="Line 865">
                  <a:extLst>
                    <a:ext uri="{FF2B5EF4-FFF2-40B4-BE49-F238E27FC236}">
                      <a16:creationId xmlns:a16="http://schemas.microsoft.com/office/drawing/2014/main" id="{C57ED87F-55C8-E7F6-DDA2-FBD7B102D99D}"/>
                    </a:ext>
                  </a:extLst>
                </p:cNvPr>
                <p:cNvSpPr>
                  <a:spLocks noChangeShapeType="1"/>
                </p:cNvSpPr>
                <p:nvPr/>
              </p:nvSpPr>
              <p:spPr bwMode="auto">
                <a:xfrm>
                  <a:off x="6610657" y="8702093"/>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57" name="Line 866">
                  <a:extLst>
                    <a:ext uri="{FF2B5EF4-FFF2-40B4-BE49-F238E27FC236}">
                      <a16:creationId xmlns:a16="http://schemas.microsoft.com/office/drawing/2014/main" id="{5D7E2FAD-DC96-66A4-CD07-64E10ACEA0F9}"/>
                    </a:ext>
                  </a:extLst>
                </p:cNvPr>
                <p:cNvSpPr>
                  <a:spLocks noChangeShapeType="1"/>
                </p:cNvSpPr>
                <p:nvPr/>
              </p:nvSpPr>
              <p:spPr bwMode="auto">
                <a:xfrm>
                  <a:off x="6809668" y="8824457"/>
                  <a:ext cx="0" cy="67233"/>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58" name="Line 867">
                  <a:extLst>
                    <a:ext uri="{FF2B5EF4-FFF2-40B4-BE49-F238E27FC236}">
                      <a16:creationId xmlns:a16="http://schemas.microsoft.com/office/drawing/2014/main" id="{C0311C38-F8C0-B52F-1F92-7DEA36B109D2}"/>
                    </a:ext>
                  </a:extLst>
                </p:cNvPr>
                <p:cNvSpPr>
                  <a:spLocks noChangeShapeType="1"/>
                </p:cNvSpPr>
                <p:nvPr/>
              </p:nvSpPr>
              <p:spPr bwMode="auto">
                <a:xfrm>
                  <a:off x="6809668" y="8891691"/>
                  <a:ext cx="0" cy="65889"/>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59" name="Line 868">
                  <a:extLst>
                    <a:ext uri="{FF2B5EF4-FFF2-40B4-BE49-F238E27FC236}">
                      <a16:creationId xmlns:a16="http://schemas.microsoft.com/office/drawing/2014/main" id="{AEFC490A-46A2-B399-AC4C-A6DEAE00FE49}"/>
                    </a:ext>
                  </a:extLst>
                </p:cNvPr>
                <p:cNvSpPr>
                  <a:spLocks noChangeShapeType="1"/>
                </p:cNvSpPr>
                <p:nvPr/>
              </p:nvSpPr>
              <p:spPr bwMode="auto">
                <a:xfrm>
                  <a:off x="6798910" y="8824457"/>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60" name="Line 869">
                  <a:extLst>
                    <a:ext uri="{FF2B5EF4-FFF2-40B4-BE49-F238E27FC236}">
                      <a16:creationId xmlns:a16="http://schemas.microsoft.com/office/drawing/2014/main" id="{5F94EA6D-A439-65EA-397C-6B2D8751C2FF}"/>
                    </a:ext>
                  </a:extLst>
                </p:cNvPr>
                <p:cNvSpPr>
                  <a:spLocks noChangeShapeType="1"/>
                </p:cNvSpPr>
                <p:nvPr/>
              </p:nvSpPr>
              <p:spPr bwMode="auto">
                <a:xfrm>
                  <a:off x="6798910" y="8957579"/>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61" name="Line 870">
                  <a:extLst>
                    <a:ext uri="{FF2B5EF4-FFF2-40B4-BE49-F238E27FC236}">
                      <a16:creationId xmlns:a16="http://schemas.microsoft.com/office/drawing/2014/main" id="{C53EC09C-4456-71CC-5F40-8DCC5763DFB5}"/>
                    </a:ext>
                  </a:extLst>
                </p:cNvPr>
                <p:cNvSpPr>
                  <a:spLocks noChangeShapeType="1"/>
                </p:cNvSpPr>
                <p:nvPr/>
              </p:nvSpPr>
              <p:spPr bwMode="auto">
                <a:xfrm>
                  <a:off x="6997921" y="8979094"/>
                  <a:ext cx="0" cy="82025"/>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62" name="Line 871">
                  <a:extLst>
                    <a:ext uri="{FF2B5EF4-FFF2-40B4-BE49-F238E27FC236}">
                      <a16:creationId xmlns:a16="http://schemas.microsoft.com/office/drawing/2014/main" id="{A083D911-BD2F-8774-90FC-C589A9735D81}"/>
                    </a:ext>
                  </a:extLst>
                </p:cNvPr>
                <p:cNvSpPr>
                  <a:spLocks noChangeShapeType="1"/>
                </p:cNvSpPr>
                <p:nvPr/>
              </p:nvSpPr>
              <p:spPr bwMode="auto">
                <a:xfrm>
                  <a:off x="6997921" y="9061119"/>
                  <a:ext cx="0" cy="82025"/>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63" name="Line 872">
                  <a:extLst>
                    <a:ext uri="{FF2B5EF4-FFF2-40B4-BE49-F238E27FC236}">
                      <a16:creationId xmlns:a16="http://schemas.microsoft.com/office/drawing/2014/main" id="{2AE831A3-F622-C0B7-4F69-9AE6D10C3A5F}"/>
                    </a:ext>
                  </a:extLst>
                </p:cNvPr>
                <p:cNvSpPr>
                  <a:spLocks noChangeShapeType="1"/>
                </p:cNvSpPr>
                <p:nvPr/>
              </p:nvSpPr>
              <p:spPr bwMode="auto">
                <a:xfrm>
                  <a:off x="6987164" y="8979094"/>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64" name="Line 873">
                  <a:extLst>
                    <a:ext uri="{FF2B5EF4-FFF2-40B4-BE49-F238E27FC236}">
                      <a16:creationId xmlns:a16="http://schemas.microsoft.com/office/drawing/2014/main" id="{EB542ABA-4B18-BC4E-8C10-B7982D6FB13F}"/>
                    </a:ext>
                  </a:extLst>
                </p:cNvPr>
                <p:cNvSpPr>
                  <a:spLocks noChangeShapeType="1"/>
                </p:cNvSpPr>
                <p:nvPr/>
              </p:nvSpPr>
              <p:spPr bwMode="auto">
                <a:xfrm>
                  <a:off x="6987164" y="9143143"/>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65" name="Line 874">
                  <a:extLst>
                    <a:ext uri="{FF2B5EF4-FFF2-40B4-BE49-F238E27FC236}">
                      <a16:creationId xmlns:a16="http://schemas.microsoft.com/office/drawing/2014/main" id="{0017033F-3AC6-529A-18AD-422CBC872539}"/>
                    </a:ext>
                  </a:extLst>
                </p:cNvPr>
                <p:cNvSpPr>
                  <a:spLocks noChangeShapeType="1"/>
                </p:cNvSpPr>
                <p:nvPr/>
              </p:nvSpPr>
              <p:spPr bwMode="auto">
                <a:xfrm>
                  <a:off x="7186175" y="9102803"/>
                  <a:ext cx="0" cy="75301"/>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66" name="Line 875">
                  <a:extLst>
                    <a:ext uri="{FF2B5EF4-FFF2-40B4-BE49-F238E27FC236}">
                      <a16:creationId xmlns:a16="http://schemas.microsoft.com/office/drawing/2014/main" id="{855BAEF6-7B7E-6AF3-B3C9-49DA3E69D4C6}"/>
                    </a:ext>
                  </a:extLst>
                </p:cNvPr>
                <p:cNvSpPr>
                  <a:spLocks noChangeShapeType="1"/>
                </p:cNvSpPr>
                <p:nvPr/>
              </p:nvSpPr>
              <p:spPr bwMode="auto">
                <a:xfrm>
                  <a:off x="7186175" y="9178105"/>
                  <a:ext cx="0" cy="76646"/>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67" name="Line 876">
                  <a:extLst>
                    <a:ext uri="{FF2B5EF4-FFF2-40B4-BE49-F238E27FC236}">
                      <a16:creationId xmlns:a16="http://schemas.microsoft.com/office/drawing/2014/main" id="{319AAC6A-A763-42CE-0EBA-414ABC00CA96}"/>
                    </a:ext>
                  </a:extLst>
                </p:cNvPr>
                <p:cNvSpPr>
                  <a:spLocks noChangeShapeType="1"/>
                </p:cNvSpPr>
                <p:nvPr/>
              </p:nvSpPr>
              <p:spPr bwMode="auto">
                <a:xfrm>
                  <a:off x="7175418" y="9102803"/>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68" name="Line 877">
                  <a:extLst>
                    <a:ext uri="{FF2B5EF4-FFF2-40B4-BE49-F238E27FC236}">
                      <a16:creationId xmlns:a16="http://schemas.microsoft.com/office/drawing/2014/main" id="{BEE00AD4-9FEA-F2CE-EB9E-D7C557BEEF8A}"/>
                    </a:ext>
                  </a:extLst>
                </p:cNvPr>
                <p:cNvSpPr>
                  <a:spLocks noChangeShapeType="1"/>
                </p:cNvSpPr>
                <p:nvPr/>
              </p:nvSpPr>
              <p:spPr bwMode="auto">
                <a:xfrm>
                  <a:off x="7175418" y="9254751"/>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69" name="Line 878">
                  <a:extLst>
                    <a:ext uri="{FF2B5EF4-FFF2-40B4-BE49-F238E27FC236}">
                      <a16:creationId xmlns:a16="http://schemas.microsoft.com/office/drawing/2014/main" id="{09E15A61-4546-0D5E-FE51-56FFB6CF94E0}"/>
                    </a:ext>
                  </a:extLst>
                </p:cNvPr>
                <p:cNvSpPr>
                  <a:spLocks noChangeShapeType="1"/>
                </p:cNvSpPr>
                <p:nvPr/>
              </p:nvSpPr>
              <p:spPr bwMode="auto">
                <a:xfrm>
                  <a:off x="7375773" y="9175415"/>
                  <a:ext cx="0" cy="69923"/>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70" name="Line 879">
                  <a:extLst>
                    <a:ext uri="{FF2B5EF4-FFF2-40B4-BE49-F238E27FC236}">
                      <a16:creationId xmlns:a16="http://schemas.microsoft.com/office/drawing/2014/main" id="{19625B05-0513-A76C-8512-7067CCE5824D}"/>
                    </a:ext>
                  </a:extLst>
                </p:cNvPr>
                <p:cNvSpPr>
                  <a:spLocks noChangeShapeType="1"/>
                </p:cNvSpPr>
                <p:nvPr/>
              </p:nvSpPr>
              <p:spPr bwMode="auto">
                <a:xfrm>
                  <a:off x="7375773" y="9245338"/>
                  <a:ext cx="0" cy="69923"/>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71" name="Line 880">
                  <a:extLst>
                    <a:ext uri="{FF2B5EF4-FFF2-40B4-BE49-F238E27FC236}">
                      <a16:creationId xmlns:a16="http://schemas.microsoft.com/office/drawing/2014/main" id="{4571D4FF-040B-CEF5-3AC7-B607ED737F3E}"/>
                    </a:ext>
                  </a:extLst>
                </p:cNvPr>
                <p:cNvSpPr>
                  <a:spLocks noChangeShapeType="1"/>
                </p:cNvSpPr>
                <p:nvPr/>
              </p:nvSpPr>
              <p:spPr bwMode="auto">
                <a:xfrm>
                  <a:off x="7365016" y="9175415"/>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72" name="Line 881">
                  <a:extLst>
                    <a:ext uri="{FF2B5EF4-FFF2-40B4-BE49-F238E27FC236}">
                      <a16:creationId xmlns:a16="http://schemas.microsoft.com/office/drawing/2014/main" id="{B2B20EC0-A1A0-D7D4-B2EE-1C8AE98DC1EB}"/>
                    </a:ext>
                  </a:extLst>
                </p:cNvPr>
                <p:cNvSpPr>
                  <a:spLocks noChangeShapeType="1"/>
                </p:cNvSpPr>
                <p:nvPr/>
              </p:nvSpPr>
              <p:spPr bwMode="auto">
                <a:xfrm>
                  <a:off x="7365016" y="9315261"/>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73" name="Line 882">
                  <a:extLst>
                    <a:ext uri="{FF2B5EF4-FFF2-40B4-BE49-F238E27FC236}">
                      <a16:creationId xmlns:a16="http://schemas.microsoft.com/office/drawing/2014/main" id="{8FCF8998-3D5A-83D2-B322-02688DB3DE57}"/>
                    </a:ext>
                  </a:extLst>
                </p:cNvPr>
                <p:cNvSpPr>
                  <a:spLocks noChangeShapeType="1"/>
                </p:cNvSpPr>
                <p:nvPr/>
              </p:nvSpPr>
              <p:spPr bwMode="auto">
                <a:xfrm>
                  <a:off x="7564027" y="9143143"/>
                  <a:ext cx="0" cy="79335"/>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74" name="Line 883">
                  <a:extLst>
                    <a:ext uri="{FF2B5EF4-FFF2-40B4-BE49-F238E27FC236}">
                      <a16:creationId xmlns:a16="http://schemas.microsoft.com/office/drawing/2014/main" id="{5F9E4E89-E81D-0E2E-D898-85AF5FAC9874}"/>
                    </a:ext>
                  </a:extLst>
                </p:cNvPr>
                <p:cNvSpPr>
                  <a:spLocks noChangeShapeType="1"/>
                </p:cNvSpPr>
                <p:nvPr/>
              </p:nvSpPr>
              <p:spPr bwMode="auto">
                <a:xfrm>
                  <a:off x="7564027" y="9222479"/>
                  <a:ext cx="0" cy="79335"/>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75" name="Line 884">
                  <a:extLst>
                    <a:ext uri="{FF2B5EF4-FFF2-40B4-BE49-F238E27FC236}">
                      <a16:creationId xmlns:a16="http://schemas.microsoft.com/office/drawing/2014/main" id="{FFE93335-99D5-DC19-8A4F-AF343D5627FE}"/>
                    </a:ext>
                  </a:extLst>
                </p:cNvPr>
                <p:cNvSpPr>
                  <a:spLocks noChangeShapeType="1"/>
                </p:cNvSpPr>
                <p:nvPr/>
              </p:nvSpPr>
              <p:spPr bwMode="auto">
                <a:xfrm>
                  <a:off x="7553270" y="9143143"/>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76" name="Line 885">
                  <a:extLst>
                    <a:ext uri="{FF2B5EF4-FFF2-40B4-BE49-F238E27FC236}">
                      <a16:creationId xmlns:a16="http://schemas.microsoft.com/office/drawing/2014/main" id="{EADD1B88-6330-4A5B-F9ED-AC7802CDFADE}"/>
                    </a:ext>
                  </a:extLst>
                </p:cNvPr>
                <p:cNvSpPr>
                  <a:spLocks noChangeShapeType="1"/>
                </p:cNvSpPr>
                <p:nvPr/>
              </p:nvSpPr>
              <p:spPr bwMode="auto">
                <a:xfrm>
                  <a:off x="7553270" y="9301814"/>
                  <a:ext cx="21515" cy="0"/>
                </a:xfrm>
                <a:prstGeom prst="line">
                  <a:avLst/>
                </a:prstGeom>
                <a:noFill/>
                <a:ln w="8001" cap="flat">
                  <a:solidFill>
                    <a:srgbClr val="0B43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77" name="Oval 887">
                  <a:extLst>
                    <a:ext uri="{FF2B5EF4-FFF2-40B4-BE49-F238E27FC236}">
                      <a16:creationId xmlns:a16="http://schemas.microsoft.com/office/drawing/2014/main" id="{5BA8A203-1F56-AA59-DA83-76DF12C4E80A}"/>
                    </a:ext>
                  </a:extLst>
                </p:cNvPr>
                <p:cNvSpPr>
                  <a:spLocks noChangeArrowheads="1"/>
                </p:cNvSpPr>
                <p:nvPr/>
              </p:nvSpPr>
              <p:spPr bwMode="auto">
                <a:xfrm>
                  <a:off x="6612001" y="8634859"/>
                  <a:ext cx="18825" cy="20170"/>
                </a:xfrm>
                <a:prstGeom prst="ellipse">
                  <a:avLst/>
                </a:prstGeom>
                <a:noFill/>
                <a:ln w="12700" cap="flat">
                  <a:solidFill>
                    <a:srgbClr val="0B43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78" name="Oval 888">
                  <a:extLst>
                    <a:ext uri="{FF2B5EF4-FFF2-40B4-BE49-F238E27FC236}">
                      <a16:creationId xmlns:a16="http://schemas.microsoft.com/office/drawing/2014/main" id="{C4EDDF8D-C2D0-C79E-1886-A363AB02A402}"/>
                    </a:ext>
                  </a:extLst>
                </p:cNvPr>
                <p:cNvSpPr>
                  <a:spLocks noChangeArrowheads="1"/>
                </p:cNvSpPr>
                <p:nvPr/>
              </p:nvSpPr>
              <p:spPr bwMode="auto">
                <a:xfrm>
                  <a:off x="6800255" y="8880933"/>
                  <a:ext cx="18825" cy="20170"/>
                </a:xfrm>
                <a:prstGeom prst="ellipse">
                  <a:avLst/>
                </a:prstGeom>
                <a:noFill/>
                <a:ln w="12700" cap="flat">
                  <a:solidFill>
                    <a:srgbClr val="0B43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79" name="Oval 889">
                  <a:extLst>
                    <a:ext uri="{FF2B5EF4-FFF2-40B4-BE49-F238E27FC236}">
                      <a16:creationId xmlns:a16="http://schemas.microsoft.com/office/drawing/2014/main" id="{3571CDFE-55E2-4F81-5546-6D12380FB5A2}"/>
                    </a:ext>
                  </a:extLst>
                </p:cNvPr>
                <p:cNvSpPr>
                  <a:spLocks noChangeArrowheads="1"/>
                </p:cNvSpPr>
                <p:nvPr/>
              </p:nvSpPr>
              <p:spPr bwMode="auto">
                <a:xfrm>
                  <a:off x="6988509" y="9051706"/>
                  <a:ext cx="18825" cy="20170"/>
                </a:xfrm>
                <a:prstGeom prst="ellipse">
                  <a:avLst/>
                </a:prstGeom>
                <a:noFill/>
                <a:ln w="12700" cap="flat">
                  <a:solidFill>
                    <a:srgbClr val="0B43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80" name="Oval 890">
                  <a:extLst>
                    <a:ext uri="{FF2B5EF4-FFF2-40B4-BE49-F238E27FC236}">
                      <a16:creationId xmlns:a16="http://schemas.microsoft.com/office/drawing/2014/main" id="{1C27AC3C-A32E-BC26-ED07-A0C11D77D9B5}"/>
                    </a:ext>
                  </a:extLst>
                </p:cNvPr>
                <p:cNvSpPr>
                  <a:spLocks noChangeArrowheads="1"/>
                </p:cNvSpPr>
                <p:nvPr/>
              </p:nvSpPr>
              <p:spPr bwMode="auto">
                <a:xfrm>
                  <a:off x="7176762" y="9168692"/>
                  <a:ext cx="18825" cy="18825"/>
                </a:xfrm>
                <a:prstGeom prst="ellipse">
                  <a:avLst/>
                </a:prstGeom>
                <a:noFill/>
                <a:ln w="12700" cap="flat">
                  <a:solidFill>
                    <a:srgbClr val="0B43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81" name="Oval 891">
                  <a:extLst>
                    <a:ext uri="{FF2B5EF4-FFF2-40B4-BE49-F238E27FC236}">
                      <a16:creationId xmlns:a16="http://schemas.microsoft.com/office/drawing/2014/main" id="{A141BB37-6A59-CEA1-1594-37E05EF050BE}"/>
                    </a:ext>
                  </a:extLst>
                </p:cNvPr>
                <p:cNvSpPr>
                  <a:spLocks noChangeArrowheads="1"/>
                </p:cNvSpPr>
                <p:nvPr/>
              </p:nvSpPr>
              <p:spPr bwMode="auto">
                <a:xfrm>
                  <a:off x="7366361" y="9235925"/>
                  <a:ext cx="18825" cy="18825"/>
                </a:xfrm>
                <a:prstGeom prst="ellipse">
                  <a:avLst/>
                </a:prstGeom>
                <a:noFill/>
                <a:ln w="12700" cap="flat">
                  <a:solidFill>
                    <a:srgbClr val="0B43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82" name="Oval 892">
                  <a:extLst>
                    <a:ext uri="{FF2B5EF4-FFF2-40B4-BE49-F238E27FC236}">
                      <a16:creationId xmlns:a16="http://schemas.microsoft.com/office/drawing/2014/main" id="{C5F4A98E-5C97-30CB-CE30-4F53E5973D2C}"/>
                    </a:ext>
                  </a:extLst>
                </p:cNvPr>
                <p:cNvSpPr>
                  <a:spLocks noChangeArrowheads="1"/>
                </p:cNvSpPr>
                <p:nvPr/>
              </p:nvSpPr>
              <p:spPr bwMode="auto">
                <a:xfrm>
                  <a:off x="7554614" y="9213066"/>
                  <a:ext cx="18825" cy="18825"/>
                </a:xfrm>
                <a:prstGeom prst="ellipse">
                  <a:avLst/>
                </a:prstGeom>
                <a:noFill/>
                <a:ln w="12700" cap="flat">
                  <a:solidFill>
                    <a:srgbClr val="0B43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grpSp>
        <p:grpSp>
          <p:nvGrpSpPr>
            <p:cNvPr id="885" name="Group 884">
              <a:extLst>
                <a:ext uri="{FF2B5EF4-FFF2-40B4-BE49-F238E27FC236}">
                  <a16:creationId xmlns:a16="http://schemas.microsoft.com/office/drawing/2014/main" id="{8C9BE2AC-1EB9-F1AB-79E2-6D4E708EDF8C}"/>
                </a:ext>
              </a:extLst>
            </p:cNvPr>
            <p:cNvGrpSpPr/>
            <p:nvPr/>
          </p:nvGrpSpPr>
          <p:grpSpPr>
            <a:xfrm>
              <a:off x="6278920" y="8382620"/>
              <a:ext cx="1348703" cy="1066320"/>
              <a:chOff x="6312140" y="8426436"/>
              <a:chExt cx="1348703" cy="1066320"/>
            </a:xfrm>
          </p:grpSpPr>
          <p:sp>
            <p:nvSpPr>
              <p:cNvPr id="886" name="Freeform 821">
                <a:extLst>
                  <a:ext uri="{FF2B5EF4-FFF2-40B4-BE49-F238E27FC236}">
                    <a16:creationId xmlns:a16="http://schemas.microsoft.com/office/drawing/2014/main" id="{9487E89D-A0C5-586B-9525-180A7EA209CD}"/>
                  </a:ext>
                </a:extLst>
              </p:cNvPr>
              <p:cNvSpPr>
                <a:spLocks noEditPoints="1"/>
              </p:cNvSpPr>
              <p:nvPr/>
            </p:nvSpPr>
            <p:spPr bwMode="auto">
              <a:xfrm>
                <a:off x="6336344" y="9465863"/>
                <a:ext cx="1324499" cy="26893"/>
              </a:xfrm>
              <a:custGeom>
                <a:avLst/>
                <a:gdLst>
                  <a:gd name="T0" fmla="*/ 0 w 985"/>
                  <a:gd name="T1" fmla="*/ 0 h 20"/>
                  <a:gd name="T2" fmla="*/ 985 w 985"/>
                  <a:gd name="T3" fmla="*/ 0 h 20"/>
                  <a:gd name="T4" fmla="*/ 72 w 985"/>
                  <a:gd name="T5" fmla="*/ 20 h 20"/>
                  <a:gd name="T6" fmla="*/ 72 w 985"/>
                  <a:gd name="T7" fmla="*/ 0 h 20"/>
                  <a:gd name="T8" fmla="*/ 212 w 985"/>
                  <a:gd name="T9" fmla="*/ 20 h 20"/>
                  <a:gd name="T10" fmla="*/ 212 w 985"/>
                  <a:gd name="T11" fmla="*/ 0 h 20"/>
                  <a:gd name="T12" fmla="*/ 352 w 985"/>
                  <a:gd name="T13" fmla="*/ 20 h 20"/>
                  <a:gd name="T14" fmla="*/ 352 w 985"/>
                  <a:gd name="T15" fmla="*/ 0 h 20"/>
                  <a:gd name="T16" fmla="*/ 492 w 985"/>
                  <a:gd name="T17" fmla="*/ 20 h 20"/>
                  <a:gd name="T18" fmla="*/ 492 w 985"/>
                  <a:gd name="T19" fmla="*/ 0 h 20"/>
                  <a:gd name="T20" fmla="*/ 632 w 985"/>
                  <a:gd name="T21" fmla="*/ 20 h 20"/>
                  <a:gd name="T22" fmla="*/ 632 w 985"/>
                  <a:gd name="T23" fmla="*/ 0 h 20"/>
                  <a:gd name="T24" fmla="*/ 773 w 985"/>
                  <a:gd name="T25" fmla="*/ 20 h 20"/>
                  <a:gd name="T26" fmla="*/ 773 w 985"/>
                  <a:gd name="T27" fmla="*/ 0 h 20"/>
                  <a:gd name="T28" fmla="*/ 913 w 985"/>
                  <a:gd name="T29" fmla="*/ 20 h 20"/>
                  <a:gd name="T30" fmla="*/ 913 w 985"/>
                  <a:gd name="T3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5" h="20">
                    <a:moveTo>
                      <a:pt x="0" y="0"/>
                    </a:moveTo>
                    <a:lnTo>
                      <a:pt x="985" y="0"/>
                    </a:lnTo>
                    <a:moveTo>
                      <a:pt x="72" y="20"/>
                    </a:moveTo>
                    <a:lnTo>
                      <a:pt x="72" y="0"/>
                    </a:lnTo>
                    <a:moveTo>
                      <a:pt x="212" y="20"/>
                    </a:moveTo>
                    <a:lnTo>
                      <a:pt x="212" y="0"/>
                    </a:lnTo>
                    <a:moveTo>
                      <a:pt x="352" y="20"/>
                    </a:moveTo>
                    <a:lnTo>
                      <a:pt x="352" y="0"/>
                    </a:lnTo>
                    <a:moveTo>
                      <a:pt x="492" y="20"/>
                    </a:moveTo>
                    <a:lnTo>
                      <a:pt x="492" y="0"/>
                    </a:lnTo>
                    <a:moveTo>
                      <a:pt x="632" y="20"/>
                    </a:moveTo>
                    <a:lnTo>
                      <a:pt x="632" y="0"/>
                    </a:lnTo>
                    <a:moveTo>
                      <a:pt x="773" y="20"/>
                    </a:moveTo>
                    <a:lnTo>
                      <a:pt x="773" y="0"/>
                    </a:lnTo>
                    <a:moveTo>
                      <a:pt x="913" y="20"/>
                    </a:moveTo>
                    <a:lnTo>
                      <a:pt x="913" y="0"/>
                    </a:lnTo>
                  </a:path>
                </a:pathLst>
              </a:custGeom>
              <a:noFill/>
              <a:ln w="635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87" name="Freeform 827">
                <a:extLst>
                  <a:ext uri="{FF2B5EF4-FFF2-40B4-BE49-F238E27FC236}">
                    <a16:creationId xmlns:a16="http://schemas.microsoft.com/office/drawing/2014/main" id="{485668BF-65F5-DBC0-B9BF-0AEE65EBCCD2}"/>
                  </a:ext>
                </a:extLst>
              </p:cNvPr>
              <p:cNvSpPr>
                <a:spLocks noEditPoints="1"/>
              </p:cNvSpPr>
              <p:nvPr/>
            </p:nvSpPr>
            <p:spPr bwMode="auto">
              <a:xfrm>
                <a:off x="6312140" y="8426436"/>
                <a:ext cx="26893" cy="1042117"/>
              </a:xfrm>
              <a:custGeom>
                <a:avLst/>
                <a:gdLst>
                  <a:gd name="T0" fmla="*/ 20 w 20"/>
                  <a:gd name="T1" fmla="*/ 775 h 775"/>
                  <a:gd name="T2" fmla="*/ 20 w 20"/>
                  <a:gd name="T3" fmla="*/ 0 h 775"/>
                  <a:gd name="T4" fmla="*/ 20 w 20"/>
                  <a:gd name="T5" fmla="*/ 773 h 775"/>
                  <a:gd name="T6" fmla="*/ 0 w 20"/>
                  <a:gd name="T7" fmla="*/ 773 h 775"/>
                  <a:gd name="T8" fmla="*/ 20 w 20"/>
                  <a:gd name="T9" fmla="*/ 580 h 775"/>
                  <a:gd name="T10" fmla="*/ 0 w 20"/>
                  <a:gd name="T11" fmla="*/ 580 h 775"/>
                  <a:gd name="T12" fmla="*/ 20 w 20"/>
                  <a:gd name="T13" fmla="*/ 388 h 775"/>
                  <a:gd name="T14" fmla="*/ 0 w 20"/>
                  <a:gd name="T15" fmla="*/ 388 h 775"/>
                  <a:gd name="T16" fmla="*/ 20 w 20"/>
                  <a:gd name="T17" fmla="*/ 195 h 775"/>
                  <a:gd name="T18" fmla="*/ 0 w 20"/>
                  <a:gd name="T19" fmla="*/ 195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775">
                    <a:moveTo>
                      <a:pt x="20" y="775"/>
                    </a:moveTo>
                    <a:lnTo>
                      <a:pt x="20" y="0"/>
                    </a:lnTo>
                    <a:moveTo>
                      <a:pt x="20" y="773"/>
                    </a:moveTo>
                    <a:lnTo>
                      <a:pt x="0" y="773"/>
                    </a:lnTo>
                    <a:moveTo>
                      <a:pt x="20" y="580"/>
                    </a:moveTo>
                    <a:lnTo>
                      <a:pt x="0" y="580"/>
                    </a:lnTo>
                    <a:moveTo>
                      <a:pt x="20" y="388"/>
                    </a:moveTo>
                    <a:lnTo>
                      <a:pt x="0" y="388"/>
                    </a:lnTo>
                    <a:moveTo>
                      <a:pt x="20" y="195"/>
                    </a:moveTo>
                    <a:lnTo>
                      <a:pt x="0" y="195"/>
                    </a:lnTo>
                  </a:path>
                </a:pathLst>
              </a:custGeom>
              <a:noFill/>
              <a:ln w="635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cxnSp>
          <p:nvCxnSpPr>
            <p:cNvPr id="888" name="Straight Connector 887">
              <a:extLst>
                <a:ext uri="{FF2B5EF4-FFF2-40B4-BE49-F238E27FC236}">
                  <a16:creationId xmlns:a16="http://schemas.microsoft.com/office/drawing/2014/main" id="{304A0B00-0C42-A79C-76DB-3E70507F268F}"/>
                </a:ext>
              </a:extLst>
            </p:cNvPr>
            <p:cNvCxnSpPr>
              <a:cxnSpLocks/>
            </p:cNvCxnSpPr>
            <p:nvPr/>
          </p:nvCxnSpPr>
          <p:spPr>
            <a:xfrm flipH="1" flipV="1">
              <a:off x="6281301" y="8385107"/>
              <a:ext cx="27432" cy="810"/>
            </a:xfrm>
            <a:prstGeom prst="line">
              <a:avLst/>
            </a:prstGeom>
            <a:noFill/>
            <a:ln w="6350" cap="rnd">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98" name="Group 897">
            <a:extLst>
              <a:ext uri="{FF2B5EF4-FFF2-40B4-BE49-F238E27FC236}">
                <a16:creationId xmlns:a16="http://schemas.microsoft.com/office/drawing/2014/main" id="{B0B184CF-7BE4-8728-D7BA-2265EE8B9EC0}"/>
              </a:ext>
            </a:extLst>
          </p:cNvPr>
          <p:cNvGrpSpPr/>
          <p:nvPr/>
        </p:nvGrpSpPr>
        <p:grpSpPr>
          <a:xfrm>
            <a:off x="5226888" y="5157973"/>
            <a:ext cx="3145551" cy="184666"/>
            <a:chOff x="3875768" y="5608064"/>
            <a:chExt cx="3145551" cy="184666"/>
          </a:xfrm>
        </p:grpSpPr>
        <p:sp>
          <p:nvSpPr>
            <p:cNvPr id="891" name="Rectangle 671">
              <a:extLst>
                <a:ext uri="{FF2B5EF4-FFF2-40B4-BE49-F238E27FC236}">
                  <a16:creationId xmlns:a16="http://schemas.microsoft.com/office/drawing/2014/main" id="{0F6A3DCA-23C9-5F60-5AE7-1D4074186281}"/>
                </a:ext>
              </a:extLst>
            </p:cNvPr>
            <p:cNvSpPr>
              <a:spLocks noChangeArrowheads="1"/>
            </p:cNvSpPr>
            <p:nvPr/>
          </p:nvSpPr>
          <p:spPr bwMode="auto">
            <a:xfrm>
              <a:off x="4054274" y="5608066"/>
              <a:ext cx="1220526"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B436E"/>
                  </a:solidFill>
                  <a:effectLst/>
                  <a:uLnTx/>
                  <a:uFillTx/>
                  <a:latin typeface="Calibri" panose="020F0502020204030204"/>
                </a:rPr>
                <a:t>Efgartigimod PH20 SC</a:t>
              </a:r>
            </a:p>
          </p:txBody>
        </p:sp>
        <p:sp>
          <p:nvSpPr>
            <p:cNvPr id="892" name="Line 672">
              <a:extLst>
                <a:ext uri="{FF2B5EF4-FFF2-40B4-BE49-F238E27FC236}">
                  <a16:creationId xmlns:a16="http://schemas.microsoft.com/office/drawing/2014/main" id="{DED7E2F8-C72B-3E65-288E-17CB72FCCA3B}"/>
                </a:ext>
              </a:extLst>
            </p:cNvPr>
            <p:cNvSpPr>
              <a:spLocks noChangeShapeType="1"/>
            </p:cNvSpPr>
            <p:nvPr/>
          </p:nvSpPr>
          <p:spPr bwMode="auto">
            <a:xfrm>
              <a:off x="3875768" y="5685972"/>
              <a:ext cx="114968" cy="0"/>
            </a:xfrm>
            <a:prstGeom prst="line">
              <a:avLst/>
            </a:prstGeom>
            <a:noFill/>
            <a:ln w="12700" cap="flat">
              <a:solidFill>
                <a:srgbClr val="0F446E"/>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93" name="Oval 673">
              <a:extLst>
                <a:ext uri="{FF2B5EF4-FFF2-40B4-BE49-F238E27FC236}">
                  <a16:creationId xmlns:a16="http://schemas.microsoft.com/office/drawing/2014/main" id="{CE73EE63-918C-0E76-CD1B-63A3785DC81D}"/>
                </a:ext>
              </a:extLst>
            </p:cNvPr>
            <p:cNvSpPr>
              <a:spLocks noChangeArrowheads="1"/>
            </p:cNvSpPr>
            <p:nvPr/>
          </p:nvSpPr>
          <p:spPr bwMode="auto">
            <a:xfrm>
              <a:off x="3909050" y="5664795"/>
              <a:ext cx="45383" cy="42356"/>
            </a:xfrm>
            <a:prstGeom prst="ellipse">
              <a:avLst/>
            </a:prstGeom>
            <a:noFill/>
            <a:ln w="12700" cap="flat">
              <a:solidFill>
                <a:srgbClr val="0F44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94" name="Rectangle 674">
              <a:extLst>
                <a:ext uri="{FF2B5EF4-FFF2-40B4-BE49-F238E27FC236}">
                  <a16:creationId xmlns:a16="http://schemas.microsoft.com/office/drawing/2014/main" id="{283F7CC5-FA88-A4C0-F058-65BB39B5BCBE}"/>
                </a:ext>
              </a:extLst>
            </p:cNvPr>
            <p:cNvSpPr>
              <a:spLocks noChangeArrowheads="1"/>
            </p:cNvSpPr>
            <p:nvPr/>
          </p:nvSpPr>
          <p:spPr bwMode="auto">
            <a:xfrm>
              <a:off x="5971352" y="5608064"/>
              <a:ext cx="104996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7CA744"/>
                  </a:solidFill>
                  <a:effectLst/>
                  <a:uLnTx/>
                  <a:uFillTx/>
                  <a:latin typeface="Calibri" panose="020F0502020204030204"/>
                </a:rPr>
                <a:t>Placebo PH20 SC</a:t>
              </a:r>
            </a:p>
          </p:txBody>
        </p:sp>
        <p:sp>
          <p:nvSpPr>
            <p:cNvPr id="895" name="Line 675">
              <a:extLst>
                <a:ext uri="{FF2B5EF4-FFF2-40B4-BE49-F238E27FC236}">
                  <a16:creationId xmlns:a16="http://schemas.microsoft.com/office/drawing/2014/main" id="{21E9D30B-2444-28B7-835C-912A85EC040F}"/>
                </a:ext>
              </a:extLst>
            </p:cNvPr>
            <p:cNvSpPr>
              <a:spLocks noChangeShapeType="1"/>
            </p:cNvSpPr>
            <p:nvPr/>
          </p:nvSpPr>
          <p:spPr bwMode="auto">
            <a:xfrm>
              <a:off x="5792846" y="5685971"/>
              <a:ext cx="114968" cy="0"/>
            </a:xfrm>
            <a:prstGeom prst="line">
              <a:avLst/>
            </a:prstGeom>
            <a:noFill/>
            <a:ln w="12700" cap="flat">
              <a:solidFill>
                <a:srgbClr val="7CA744"/>
              </a:solidFill>
              <a:prstDash val="solid"/>
              <a:miter lim="800000"/>
              <a:headEnd/>
              <a:tailEnd/>
            </a:ln>
            <a:extLst>
              <a:ext uri="{909E8E84-426E-40DD-AFC4-6F175D3DCCD1}">
                <a14:hiddenFill xmlns:a14="http://schemas.microsoft.com/office/drawing/2010/main">
                  <a:no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sp>
          <p:nvSpPr>
            <p:cNvPr id="896" name="Rectangle 676">
              <a:extLst>
                <a:ext uri="{FF2B5EF4-FFF2-40B4-BE49-F238E27FC236}">
                  <a16:creationId xmlns:a16="http://schemas.microsoft.com/office/drawing/2014/main" id="{D1B0E06F-69BA-71E2-9C48-0F5D402555DB}"/>
                </a:ext>
              </a:extLst>
            </p:cNvPr>
            <p:cNvSpPr>
              <a:spLocks noChangeArrowheads="1"/>
            </p:cNvSpPr>
            <p:nvPr/>
          </p:nvSpPr>
          <p:spPr bwMode="auto">
            <a:xfrm>
              <a:off x="5826128" y="5664794"/>
              <a:ext cx="45383" cy="42356"/>
            </a:xfrm>
            <a:prstGeom prst="rect">
              <a:avLst/>
            </a:prstGeom>
            <a:noFill/>
            <a:ln w="127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pPr marL="0" marR="0" lvl="0" indent="0" defTabSz="68530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95959"/>
                </a:solidFill>
                <a:effectLst/>
                <a:uLnTx/>
                <a:uFillTx/>
              </a:endParaRPr>
            </a:p>
          </p:txBody>
        </p:sp>
      </p:grpSp>
      <p:sp>
        <p:nvSpPr>
          <p:cNvPr id="4" name="TextBox 3">
            <a:extLst>
              <a:ext uri="{FF2B5EF4-FFF2-40B4-BE49-F238E27FC236}">
                <a16:creationId xmlns:a16="http://schemas.microsoft.com/office/drawing/2014/main" id="{B12C0B76-4643-AECD-1D7A-4A402020FCAB}"/>
              </a:ext>
            </a:extLst>
          </p:cNvPr>
          <p:cNvSpPr txBox="1"/>
          <p:nvPr/>
        </p:nvSpPr>
        <p:spPr>
          <a:xfrm>
            <a:off x="1196502" y="5434998"/>
            <a:ext cx="10654122"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B436E"/>
                </a:solidFill>
                <a:effectLst/>
                <a:uLnTx/>
                <a:uFillTx/>
                <a:latin typeface="Calibri" panose="020F0502020204030204"/>
                <a:ea typeface="+mn-ea"/>
                <a:cs typeface="+mn-cs"/>
              </a:rPr>
              <a:t>Significant improvements were seen in efgartigimod PH20 SC-treated participants compared with placebo PH20 SC-treated participants in MMT8 total score (LSM 15.16 vs 7.60, </a:t>
            </a:r>
            <a:r>
              <a:rPr kumimoji="0" lang="en-GB" sz="1400" b="1" i="1" u="none" strike="noStrike" kern="1200" cap="none" spc="0" normalizeH="0" baseline="0" noProof="0">
                <a:ln>
                  <a:noFill/>
                </a:ln>
                <a:solidFill>
                  <a:srgbClr val="0B436E"/>
                </a:solidFill>
                <a:effectLst/>
                <a:uLnTx/>
                <a:uFillTx/>
                <a:latin typeface="Calibri" panose="020F0502020204030204"/>
                <a:ea typeface="+mn-ea"/>
                <a:cs typeface="+mn-cs"/>
              </a:rPr>
              <a:t>P</a:t>
            </a:r>
            <a:r>
              <a:rPr kumimoji="0" lang="en-GB" sz="1400" b="1" i="0" u="none" strike="noStrike" kern="1200" cap="none" spc="0" normalizeH="0" baseline="0" noProof="0">
                <a:ln>
                  <a:noFill/>
                </a:ln>
                <a:solidFill>
                  <a:srgbClr val="0B436E"/>
                </a:solidFill>
                <a:effectLst/>
                <a:uLnTx/>
                <a:uFillTx/>
                <a:latin typeface="Calibri" panose="020F0502020204030204"/>
                <a:ea typeface="+mn-ea"/>
                <a:cs typeface="+mn-cs"/>
              </a:rPr>
              <a:t>=.0011), PGA (LSM –2.72 vs –1.03, </a:t>
            </a:r>
            <a:r>
              <a:rPr kumimoji="0" lang="en-GB" sz="1400" b="1" i="1" u="none" strike="noStrike" kern="1200" cap="none" spc="0" normalizeH="0" baseline="0" noProof="0">
                <a:ln>
                  <a:noFill/>
                </a:ln>
                <a:solidFill>
                  <a:srgbClr val="0B436E"/>
                </a:solidFill>
                <a:effectLst/>
                <a:uLnTx/>
                <a:uFillTx/>
                <a:latin typeface="Calibri" panose="020F0502020204030204"/>
                <a:ea typeface="+mn-ea"/>
                <a:cs typeface="+mn-cs"/>
              </a:rPr>
              <a:t>P</a:t>
            </a:r>
            <a:r>
              <a:rPr kumimoji="0" lang="en-GB" sz="1400" b="1" i="0" u="none" strike="noStrike" kern="1200" cap="none" spc="0" normalizeH="0" baseline="0" noProof="0">
                <a:ln>
                  <a:noFill/>
                </a:ln>
                <a:solidFill>
                  <a:srgbClr val="0B436E"/>
                </a:solidFill>
                <a:effectLst/>
                <a:uLnTx/>
                <a:uFillTx/>
                <a:latin typeface="Calibri" panose="020F0502020204030204"/>
                <a:ea typeface="+mn-ea"/>
                <a:cs typeface="+mn-cs"/>
              </a:rPr>
              <a:t>=.0015), and MDGA (LSM –2.88 vs –1.94, </a:t>
            </a:r>
            <a:r>
              <a:rPr kumimoji="0" lang="en-GB" sz="1400" b="1" i="1" u="none" strike="noStrike" kern="1200" cap="none" spc="0" normalizeH="0" baseline="0" noProof="0">
                <a:ln>
                  <a:noFill/>
                </a:ln>
                <a:solidFill>
                  <a:srgbClr val="0B436E"/>
                </a:solidFill>
                <a:effectLst/>
                <a:uLnTx/>
                <a:uFillTx/>
                <a:latin typeface="Calibri" panose="020F0502020204030204"/>
                <a:ea typeface="+mn-ea"/>
                <a:cs typeface="+mn-cs"/>
              </a:rPr>
              <a:t>P</a:t>
            </a:r>
            <a:r>
              <a:rPr kumimoji="0" lang="en-GB" sz="1400" b="1" i="0" u="none" strike="noStrike" kern="1200" cap="none" spc="0" normalizeH="0" baseline="0" noProof="0">
                <a:ln>
                  <a:noFill/>
                </a:ln>
                <a:solidFill>
                  <a:srgbClr val="0B436E"/>
                </a:solidFill>
                <a:effectLst/>
                <a:uLnTx/>
                <a:uFillTx/>
                <a:latin typeface="Calibri" panose="020F0502020204030204"/>
                <a:ea typeface="+mn-ea"/>
                <a:cs typeface="+mn-cs"/>
              </a:rPr>
              <a:t>=.0379)</a:t>
            </a:r>
          </a:p>
        </p:txBody>
      </p:sp>
      <p:sp>
        <p:nvSpPr>
          <p:cNvPr id="7" name="TextBox 6">
            <a:extLst>
              <a:ext uri="{FF2B5EF4-FFF2-40B4-BE49-F238E27FC236}">
                <a16:creationId xmlns:a16="http://schemas.microsoft.com/office/drawing/2014/main" id="{CC658250-36F1-1C63-4D82-0ACA6FBC6BF5}"/>
              </a:ext>
            </a:extLst>
          </p:cNvPr>
          <p:cNvSpPr txBox="1"/>
          <p:nvPr/>
        </p:nvSpPr>
        <p:spPr>
          <a:xfrm>
            <a:off x="1266825" y="4530198"/>
            <a:ext cx="781050" cy="307777"/>
          </a:xfrm>
          <a:prstGeom prst="rect">
            <a:avLst/>
          </a:prstGeom>
          <a:noFill/>
        </p:spPr>
        <p:txBody>
          <a:bodyPr wrap="square" lIns="0" tIns="0" rIns="0" bIns="0" rtlCol="0">
            <a:spAutoFit/>
          </a:bodyPr>
          <a:lstStyle/>
          <a:p>
            <a:r>
              <a:rPr lang="en-GB" sz="1000" b="1">
                <a:solidFill>
                  <a:srgbClr val="6A6A6A"/>
                </a:solidFill>
              </a:rPr>
              <a:t>Evaluable patients (n)</a:t>
            </a:r>
          </a:p>
        </p:txBody>
      </p:sp>
    </p:spTree>
    <p:extLst>
      <p:ext uri="{BB962C8B-B14F-4D97-AF65-F5344CB8AC3E}">
        <p14:creationId xmlns:p14="http://schemas.microsoft.com/office/powerpoint/2010/main" val="420304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16C3E1-8D11-1A68-360A-6A1EFD68FAC0}"/>
            </a:ext>
          </a:extLst>
        </p:cNvPr>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93AC655-CF25-2F79-373E-6F61558FE067}"/>
              </a:ext>
            </a:extLst>
          </p:cNvPr>
          <p:cNvSpPr>
            <a:spLocks noGrp="1"/>
          </p:cNvSpPr>
          <p:nvPr>
            <p:ph idx="1"/>
          </p:nvPr>
        </p:nvSpPr>
        <p:spPr>
          <a:xfrm>
            <a:off x="361948" y="1628774"/>
            <a:ext cx="3267372" cy="4389120"/>
          </a:xfrm>
        </p:spPr>
        <p:txBody>
          <a:bodyPr/>
          <a:lstStyle/>
          <a:p>
            <a:pPr lvl="1"/>
            <a:r>
              <a:rPr lang="en-GB" b="1" noProof="0">
                <a:solidFill>
                  <a:srgbClr val="245176"/>
                </a:solidFill>
              </a:rPr>
              <a:t>54.4% of efgartigimod-treated patients </a:t>
            </a:r>
            <a:r>
              <a:rPr lang="en-GB" noProof="0"/>
              <a:t>rated their condition </a:t>
            </a:r>
            <a:br>
              <a:rPr lang="en-GB" noProof="0"/>
            </a:br>
            <a:r>
              <a:rPr lang="en-GB" noProof="0"/>
              <a:t>as much or moderately better compared with 40.4% of placebo patients</a:t>
            </a:r>
          </a:p>
          <a:p>
            <a:pPr lvl="1"/>
            <a:r>
              <a:rPr lang="en-GB" b="1" noProof="0">
                <a:solidFill>
                  <a:srgbClr val="245176"/>
                </a:solidFill>
              </a:rPr>
              <a:t>60.8% of physicians rated their efgartigimod-treated patients’ condition </a:t>
            </a:r>
            <a:r>
              <a:rPr lang="en-GB" noProof="0"/>
              <a:t>as much or moderately better compared with 38.1% for placebo</a:t>
            </a:r>
            <a:endParaRPr lang="en-US" b="1" noProof="0">
              <a:solidFill>
                <a:srgbClr val="245176"/>
              </a:solidFill>
            </a:endParaRPr>
          </a:p>
        </p:txBody>
      </p:sp>
      <p:sp>
        <p:nvSpPr>
          <p:cNvPr id="5" name="Slide Number Placeholder 4">
            <a:extLst>
              <a:ext uri="{FF2B5EF4-FFF2-40B4-BE49-F238E27FC236}">
                <a16:creationId xmlns:a16="http://schemas.microsoft.com/office/drawing/2014/main" id="{28893EF9-6120-3DF0-CD20-4B614191FC3E}"/>
              </a:ext>
            </a:extLst>
          </p:cNvPr>
          <p:cNvSpPr>
            <a:spLocks noGrp="1"/>
          </p:cNvSpPr>
          <p:nvPr>
            <p:ph type="sldNum" sz="quarter" idx="4"/>
          </p:nvPr>
        </p:nvSpPr>
        <p:spPr/>
        <p:txBody>
          <a:bodyPr/>
          <a:lstStyle/>
          <a:p>
            <a:fld id="{A366880C-2072-4A02-B747-1981AA856017}" type="slidenum">
              <a:rPr lang="en-US" noProof="0" smtClean="0"/>
              <a:pPr/>
              <a:t>12</a:t>
            </a:fld>
            <a:endParaRPr lang="en-US" noProof="0"/>
          </a:p>
        </p:txBody>
      </p:sp>
      <p:sp>
        <p:nvSpPr>
          <p:cNvPr id="21" name="Title 20">
            <a:extLst>
              <a:ext uri="{FF2B5EF4-FFF2-40B4-BE49-F238E27FC236}">
                <a16:creationId xmlns:a16="http://schemas.microsoft.com/office/drawing/2014/main" id="{5B8BFB00-686E-4547-79EC-6A6B3265AF7C}"/>
              </a:ext>
            </a:extLst>
          </p:cNvPr>
          <p:cNvSpPr>
            <a:spLocks noGrp="1"/>
          </p:cNvSpPr>
          <p:nvPr>
            <p:ph type="title"/>
          </p:nvPr>
        </p:nvSpPr>
        <p:spPr/>
        <p:txBody>
          <a:bodyPr wrap="none"/>
          <a:lstStyle/>
          <a:p>
            <a:r>
              <a:rPr kumimoji="0" lang="en-GB" sz="2200" b="1" i="0" u="none" strike="noStrike" kern="0" cap="none" spc="0" normalizeH="0" baseline="0" noProof="0">
                <a:ln>
                  <a:noFill/>
                </a:ln>
                <a:solidFill>
                  <a:srgbClr val="0B436E"/>
                </a:solidFill>
                <a:effectLst/>
                <a:uLnTx/>
                <a:uFillTx/>
                <a:latin typeface="Calibri" panose="020F0502020204030204"/>
                <a:ea typeface="+mn-ea"/>
                <a:cs typeface="+mn-cs"/>
              </a:rPr>
              <a:t>PGI-C </a:t>
            </a:r>
            <a:r>
              <a:rPr kumimoji="0" lang="en-GB" sz="2200" i="0" u="none" strike="noStrike" kern="0" cap="none" spc="0" normalizeH="0" baseline="0" noProof="0">
                <a:ln>
                  <a:noFill/>
                </a:ln>
                <a:solidFill>
                  <a:srgbClr val="0B436E"/>
                </a:solidFill>
                <a:effectLst/>
                <a:uLnTx/>
                <a:uFillTx/>
                <a:latin typeface="Calibri" panose="020F0502020204030204"/>
                <a:ea typeface="+mn-ea"/>
                <a:cs typeface="+mn-cs"/>
              </a:rPr>
              <a:t>and</a:t>
            </a:r>
            <a:r>
              <a:rPr kumimoji="0" lang="en-GB" sz="2200" b="1" i="0" u="none" strike="noStrike" kern="0" cap="none" spc="0" normalizeH="0" baseline="0" noProof="0">
                <a:ln>
                  <a:noFill/>
                </a:ln>
                <a:solidFill>
                  <a:srgbClr val="0B436E"/>
                </a:solidFill>
                <a:effectLst/>
                <a:uLnTx/>
                <a:uFillTx/>
                <a:latin typeface="Calibri" panose="020F0502020204030204"/>
                <a:ea typeface="+mn-ea"/>
                <a:cs typeface="+mn-cs"/>
              </a:rPr>
              <a:t> CGI-C</a:t>
            </a:r>
            <a:r>
              <a:rPr kumimoji="0" lang="en-GB" sz="2200" i="0" u="none" strike="noStrike" kern="0" cap="none" spc="0" normalizeH="0" baseline="0" noProof="0">
                <a:ln>
                  <a:noFill/>
                </a:ln>
                <a:solidFill>
                  <a:srgbClr val="0B436E"/>
                </a:solidFill>
                <a:effectLst/>
                <a:uLnTx/>
                <a:uFillTx/>
                <a:latin typeface="Calibri" panose="020F0502020204030204"/>
                <a:ea typeface="+mn-ea"/>
                <a:cs typeface="+mn-cs"/>
              </a:rPr>
              <a:t> at Last Assessment Before or at Week 24</a:t>
            </a:r>
            <a:endParaRPr lang="en-US" baseline="30000" noProof="0"/>
          </a:p>
        </p:txBody>
      </p:sp>
      <p:grpSp>
        <p:nvGrpSpPr>
          <p:cNvPr id="2" name="Graphic 372">
            <a:extLst>
              <a:ext uri="{FF2B5EF4-FFF2-40B4-BE49-F238E27FC236}">
                <a16:creationId xmlns:a16="http://schemas.microsoft.com/office/drawing/2014/main" id="{02440C75-8516-E3FC-13C0-F07F2D45CE14}"/>
              </a:ext>
            </a:extLst>
          </p:cNvPr>
          <p:cNvGrpSpPr/>
          <p:nvPr/>
        </p:nvGrpSpPr>
        <p:grpSpPr>
          <a:xfrm>
            <a:off x="415739" y="405765"/>
            <a:ext cx="569270" cy="569270"/>
            <a:chOff x="8996593" y="5591893"/>
            <a:chExt cx="569270" cy="569270"/>
          </a:xfrm>
          <a:solidFill>
            <a:schemeClr val="bg1">
              <a:lumMod val="65000"/>
            </a:schemeClr>
          </a:solidFill>
        </p:grpSpPr>
        <p:sp>
          <p:nvSpPr>
            <p:cNvPr id="3" name="Freeform 355">
              <a:extLst>
                <a:ext uri="{FF2B5EF4-FFF2-40B4-BE49-F238E27FC236}">
                  <a16:creationId xmlns:a16="http://schemas.microsoft.com/office/drawing/2014/main" id="{1A96F046-6F62-0323-4F43-AE0D72C9C3B8}"/>
                </a:ext>
              </a:extLst>
            </p:cNvPr>
            <p:cNvSpPr/>
            <p:nvPr/>
          </p:nvSpPr>
          <p:spPr>
            <a:xfrm>
              <a:off x="8996593" y="5591894"/>
              <a:ext cx="145786" cy="145786"/>
            </a:xfrm>
            <a:custGeom>
              <a:avLst/>
              <a:gdLst>
                <a:gd name="connsiteX0" fmla="*/ 145786 w 145786"/>
                <a:gd name="connsiteY0" fmla="*/ 72937 h 145786"/>
                <a:gd name="connsiteX1" fmla="*/ 72849 w 145786"/>
                <a:gd name="connsiteY1" fmla="*/ 145786 h 145786"/>
                <a:gd name="connsiteX2" fmla="*/ 0 w 145786"/>
                <a:gd name="connsiteY2" fmla="*/ 72937 h 145786"/>
                <a:gd name="connsiteX3" fmla="*/ 72849 w 145786"/>
                <a:gd name="connsiteY3" fmla="*/ 0 h 145786"/>
                <a:gd name="connsiteX4" fmla="*/ 145786 w 145786"/>
                <a:gd name="connsiteY4" fmla="*/ 72937 h 145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786" h="145786">
                  <a:moveTo>
                    <a:pt x="145786" y="72937"/>
                  </a:moveTo>
                  <a:cubicBezTo>
                    <a:pt x="145786" y="113142"/>
                    <a:pt x="113053" y="145786"/>
                    <a:pt x="72849" y="145786"/>
                  </a:cubicBezTo>
                  <a:cubicBezTo>
                    <a:pt x="32643" y="145786"/>
                    <a:pt x="0" y="113142"/>
                    <a:pt x="0" y="72937"/>
                  </a:cubicBezTo>
                  <a:cubicBezTo>
                    <a:pt x="0" y="32732"/>
                    <a:pt x="32643" y="0"/>
                    <a:pt x="72849" y="0"/>
                  </a:cubicBezTo>
                  <a:cubicBezTo>
                    <a:pt x="113053" y="-1"/>
                    <a:pt x="145786" y="32732"/>
                    <a:pt x="145786" y="72937"/>
                  </a:cubicBezTo>
                  <a:close/>
                </a:path>
              </a:pathLst>
            </a:custGeom>
            <a:solidFill>
              <a:schemeClr val="accent2">
                <a:lumMod val="90000"/>
              </a:schemeClr>
            </a:solidFill>
            <a:ln w="1172" cap="flat">
              <a:noFill/>
              <a:prstDash val="solid"/>
              <a:miter/>
            </a:ln>
          </p:spPr>
          <p:txBody>
            <a:bodyPr rtlCol="0" anchor="ctr"/>
            <a:lstStyle/>
            <a:p>
              <a:endParaRPr lang="en-US" sz="700"/>
            </a:p>
          </p:txBody>
        </p:sp>
        <p:sp>
          <p:nvSpPr>
            <p:cNvPr id="22" name="Freeform 356">
              <a:extLst>
                <a:ext uri="{FF2B5EF4-FFF2-40B4-BE49-F238E27FC236}">
                  <a16:creationId xmlns:a16="http://schemas.microsoft.com/office/drawing/2014/main" id="{94BB96D6-6066-9431-1C4E-C68360553E78}"/>
                </a:ext>
              </a:extLst>
            </p:cNvPr>
            <p:cNvSpPr/>
            <p:nvPr/>
          </p:nvSpPr>
          <p:spPr>
            <a:xfrm>
              <a:off x="9208290" y="5591893"/>
              <a:ext cx="145786" cy="145786"/>
            </a:xfrm>
            <a:custGeom>
              <a:avLst/>
              <a:gdLst>
                <a:gd name="connsiteX0" fmla="*/ 72937 w 145786"/>
                <a:gd name="connsiteY0" fmla="*/ 0 h 145786"/>
                <a:gd name="connsiteX1" fmla="*/ 0 w 145786"/>
                <a:gd name="connsiteY1" fmla="*/ 72937 h 145786"/>
                <a:gd name="connsiteX2" fmla="*/ 72937 w 145786"/>
                <a:gd name="connsiteY2" fmla="*/ 145786 h 145786"/>
                <a:gd name="connsiteX3" fmla="*/ 145786 w 145786"/>
                <a:gd name="connsiteY3" fmla="*/ 72937 h 145786"/>
                <a:gd name="connsiteX4" fmla="*/ 72937 w 145786"/>
                <a:gd name="connsiteY4" fmla="*/ 0 h 145786"/>
                <a:gd name="connsiteX5" fmla="*/ 72937 w 145786"/>
                <a:gd name="connsiteY5" fmla="*/ 127997 h 145786"/>
                <a:gd name="connsiteX6" fmla="*/ 17789 w 145786"/>
                <a:gd name="connsiteY6" fmla="*/ 72939 h 145786"/>
                <a:gd name="connsiteX7" fmla="*/ 72937 w 145786"/>
                <a:gd name="connsiteY7" fmla="*/ 17790 h 145786"/>
                <a:gd name="connsiteX8" fmla="*/ 127996 w 145786"/>
                <a:gd name="connsiteY8" fmla="*/ 72939 h 145786"/>
                <a:gd name="connsiteX9" fmla="*/ 72937 w 145786"/>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937" y="0"/>
                  </a:moveTo>
                  <a:cubicBezTo>
                    <a:pt x="32732" y="0"/>
                    <a:pt x="0" y="32733"/>
                    <a:pt x="0" y="72937"/>
                  </a:cubicBezTo>
                  <a:cubicBezTo>
                    <a:pt x="0" y="113142"/>
                    <a:pt x="32733" y="145786"/>
                    <a:pt x="72937" y="145786"/>
                  </a:cubicBezTo>
                  <a:cubicBezTo>
                    <a:pt x="113142" y="145786"/>
                    <a:pt x="145786" y="113142"/>
                    <a:pt x="145786" y="72937"/>
                  </a:cubicBezTo>
                  <a:cubicBezTo>
                    <a:pt x="145786" y="32733"/>
                    <a:pt x="113142" y="0"/>
                    <a:pt x="72937" y="0"/>
                  </a:cubicBezTo>
                  <a:close/>
                  <a:moveTo>
                    <a:pt x="72937" y="127997"/>
                  </a:moveTo>
                  <a:cubicBezTo>
                    <a:pt x="42517" y="127997"/>
                    <a:pt x="17789" y="103358"/>
                    <a:pt x="17789" y="72939"/>
                  </a:cubicBezTo>
                  <a:cubicBezTo>
                    <a:pt x="17789" y="42518"/>
                    <a:pt x="42517" y="17790"/>
                    <a:pt x="72937" y="17790"/>
                  </a:cubicBezTo>
                  <a:cubicBezTo>
                    <a:pt x="103268" y="17790"/>
                    <a:pt x="127996" y="42518"/>
                    <a:pt x="127996" y="72939"/>
                  </a:cubicBezTo>
                  <a:cubicBezTo>
                    <a:pt x="127996" y="103358"/>
                    <a:pt x="103268" y="127997"/>
                    <a:pt x="72937" y="127997"/>
                  </a:cubicBezTo>
                  <a:close/>
                </a:path>
              </a:pathLst>
            </a:custGeom>
            <a:grpFill/>
            <a:ln w="1172" cap="flat">
              <a:noFill/>
              <a:prstDash val="solid"/>
              <a:miter/>
            </a:ln>
          </p:spPr>
          <p:txBody>
            <a:bodyPr rtlCol="0" anchor="ctr"/>
            <a:lstStyle/>
            <a:p>
              <a:endParaRPr lang="en-US" sz="700"/>
            </a:p>
          </p:txBody>
        </p:sp>
        <p:sp>
          <p:nvSpPr>
            <p:cNvPr id="24" name="Freeform 357">
              <a:extLst>
                <a:ext uri="{FF2B5EF4-FFF2-40B4-BE49-F238E27FC236}">
                  <a16:creationId xmlns:a16="http://schemas.microsoft.com/office/drawing/2014/main" id="{86CE7FC4-1B2D-E02B-9E2F-C92083AA0824}"/>
                </a:ext>
              </a:extLst>
            </p:cNvPr>
            <p:cNvSpPr/>
            <p:nvPr/>
          </p:nvSpPr>
          <p:spPr>
            <a:xfrm>
              <a:off x="9419987" y="5591893"/>
              <a:ext cx="145874" cy="145786"/>
            </a:xfrm>
            <a:custGeom>
              <a:avLst/>
              <a:gdLst>
                <a:gd name="connsiteX0" fmla="*/ 72937 w 145874"/>
                <a:gd name="connsiteY0" fmla="*/ 0 h 145786"/>
                <a:gd name="connsiteX1" fmla="*/ 0 w 145874"/>
                <a:gd name="connsiteY1" fmla="*/ 72937 h 145786"/>
                <a:gd name="connsiteX2" fmla="*/ 72937 w 145874"/>
                <a:gd name="connsiteY2" fmla="*/ 145786 h 145786"/>
                <a:gd name="connsiteX3" fmla="*/ 145875 w 145874"/>
                <a:gd name="connsiteY3" fmla="*/ 72937 h 145786"/>
                <a:gd name="connsiteX4" fmla="*/ 72937 w 145874"/>
                <a:gd name="connsiteY4" fmla="*/ 0 h 145786"/>
                <a:gd name="connsiteX5" fmla="*/ 72937 w 145874"/>
                <a:gd name="connsiteY5" fmla="*/ 127997 h 145786"/>
                <a:gd name="connsiteX6" fmla="*/ 17789 w 145874"/>
                <a:gd name="connsiteY6" fmla="*/ 72939 h 145786"/>
                <a:gd name="connsiteX7" fmla="*/ 72937 w 145874"/>
                <a:gd name="connsiteY7" fmla="*/ 17790 h 145786"/>
                <a:gd name="connsiteX8" fmla="*/ 128086 w 145874"/>
                <a:gd name="connsiteY8" fmla="*/ 72939 h 145786"/>
                <a:gd name="connsiteX9" fmla="*/ 72937 w 145874"/>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874" h="145786">
                  <a:moveTo>
                    <a:pt x="72937" y="0"/>
                  </a:moveTo>
                  <a:cubicBezTo>
                    <a:pt x="32732" y="0"/>
                    <a:pt x="0" y="32733"/>
                    <a:pt x="0" y="72937"/>
                  </a:cubicBezTo>
                  <a:cubicBezTo>
                    <a:pt x="0" y="113142"/>
                    <a:pt x="32733" y="145786"/>
                    <a:pt x="72937" y="145786"/>
                  </a:cubicBezTo>
                  <a:cubicBezTo>
                    <a:pt x="113142" y="145786"/>
                    <a:pt x="145875" y="113142"/>
                    <a:pt x="145875" y="72937"/>
                  </a:cubicBezTo>
                  <a:cubicBezTo>
                    <a:pt x="145876" y="32733"/>
                    <a:pt x="113143" y="0"/>
                    <a:pt x="72937" y="0"/>
                  </a:cubicBezTo>
                  <a:close/>
                  <a:moveTo>
                    <a:pt x="72937" y="127997"/>
                  </a:moveTo>
                  <a:cubicBezTo>
                    <a:pt x="42517" y="127997"/>
                    <a:pt x="17789" y="103358"/>
                    <a:pt x="17789" y="72939"/>
                  </a:cubicBezTo>
                  <a:cubicBezTo>
                    <a:pt x="17789" y="42518"/>
                    <a:pt x="42517" y="17790"/>
                    <a:pt x="72937" y="17790"/>
                  </a:cubicBezTo>
                  <a:cubicBezTo>
                    <a:pt x="103358" y="17790"/>
                    <a:pt x="128086" y="42518"/>
                    <a:pt x="128086" y="72939"/>
                  </a:cubicBezTo>
                  <a:cubicBezTo>
                    <a:pt x="128086" y="103358"/>
                    <a:pt x="103358" y="127997"/>
                    <a:pt x="72937" y="127997"/>
                  </a:cubicBezTo>
                  <a:close/>
                </a:path>
              </a:pathLst>
            </a:custGeom>
            <a:grpFill/>
            <a:ln w="1172" cap="flat">
              <a:noFill/>
              <a:prstDash val="solid"/>
              <a:miter/>
            </a:ln>
          </p:spPr>
          <p:txBody>
            <a:bodyPr rtlCol="0" anchor="ctr"/>
            <a:lstStyle/>
            <a:p>
              <a:endParaRPr lang="en-US" sz="700"/>
            </a:p>
          </p:txBody>
        </p:sp>
        <p:sp>
          <p:nvSpPr>
            <p:cNvPr id="25" name="Freeform 358">
              <a:extLst>
                <a:ext uri="{FF2B5EF4-FFF2-40B4-BE49-F238E27FC236}">
                  <a16:creationId xmlns:a16="http://schemas.microsoft.com/office/drawing/2014/main" id="{FB271E9A-1735-92D6-DCF6-8F309CE5469F}"/>
                </a:ext>
              </a:extLst>
            </p:cNvPr>
            <p:cNvSpPr/>
            <p:nvPr/>
          </p:nvSpPr>
          <p:spPr>
            <a:xfrm>
              <a:off x="8996593" y="5803680"/>
              <a:ext cx="145786" cy="145786"/>
            </a:xfrm>
            <a:custGeom>
              <a:avLst/>
              <a:gdLst>
                <a:gd name="connsiteX0" fmla="*/ 72849 w 145786"/>
                <a:gd name="connsiteY0" fmla="*/ 0 h 145786"/>
                <a:gd name="connsiteX1" fmla="*/ 0 w 145786"/>
                <a:gd name="connsiteY1" fmla="*/ 72849 h 145786"/>
                <a:gd name="connsiteX2" fmla="*/ 72849 w 145786"/>
                <a:gd name="connsiteY2" fmla="*/ 145786 h 145786"/>
                <a:gd name="connsiteX3" fmla="*/ 145786 w 145786"/>
                <a:gd name="connsiteY3" fmla="*/ 72849 h 145786"/>
                <a:gd name="connsiteX4" fmla="*/ 72849 w 145786"/>
                <a:gd name="connsiteY4" fmla="*/ 0 h 145786"/>
                <a:gd name="connsiteX5" fmla="*/ 72849 w 145786"/>
                <a:gd name="connsiteY5" fmla="*/ 127996 h 145786"/>
                <a:gd name="connsiteX6" fmla="*/ 17790 w 145786"/>
                <a:gd name="connsiteY6" fmla="*/ 72848 h 145786"/>
                <a:gd name="connsiteX7" fmla="*/ 72849 w 145786"/>
                <a:gd name="connsiteY7" fmla="*/ 17789 h 145786"/>
                <a:gd name="connsiteX8" fmla="*/ 127996 w 145786"/>
                <a:gd name="connsiteY8" fmla="*/ 72848 h 145786"/>
                <a:gd name="connsiteX9" fmla="*/ 72849 w 145786"/>
                <a:gd name="connsiteY9" fmla="*/ 127996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849" y="0"/>
                  </a:moveTo>
                  <a:cubicBezTo>
                    <a:pt x="32643" y="0"/>
                    <a:pt x="0" y="32643"/>
                    <a:pt x="0" y="72849"/>
                  </a:cubicBezTo>
                  <a:cubicBezTo>
                    <a:pt x="0" y="113054"/>
                    <a:pt x="32643" y="145786"/>
                    <a:pt x="72849" y="145786"/>
                  </a:cubicBezTo>
                  <a:cubicBezTo>
                    <a:pt x="113053" y="145786"/>
                    <a:pt x="145786" y="113053"/>
                    <a:pt x="145786" y="72849"/>
                  </a:cubicBezTo>
                  <a:cubicBezTo>
                    <a:pt x="145786" y="32645"/>
                    <a:pt x="113053" y="0"/>
                    <a:pt x="72849" y="0"/>
                  </a:cubicBezTo>
                  <a:close/>
                  <a:moveTo>
                    <a:pt x="72849" y="127996"/>
                  </a:moveTo>
                  <a:cubicBezTo>
                    <a:pt x="42517" y="127996"/>
                    <a:pt x="17790" y="103268"/>
                    <a:pt x="17790" y="72848"/>
                  </a:cubicBezTo>
                  <a:cubicBezTo>
                    <a:pt x="17790" y="42516"/>
                    <a:pt x="42518" y="17789"/>
                    <a:pt x="72849" y="17789"/>
                  </a:cubicBezTo>
                  <a:cubicBezTo>
                    <a:pt x="103269" y="17789"/>
                    <a:pt x="127996" y="42517"/>
                    <a:pt x="127996" y="72848"/>
                  </a:cubicBezTo>
                  <a:cubicBezTo>
                    <a:pt x="127996" y="103268"/>
                    <a:pt x="103268" y="127996"/>
                    <a:pt x="72849" y="127996"/>
                  </a:cubicBezTo>
                  <a:close/>
                </a:path>
              </a:pathLst>
            </a:custGeom>
            <a:grpFill/>
            <a:ln w="1172" cap="flat">
              <a:noFill/>
              <a:prstDash val="solid"/>
              <a:miter/>
            </a:ln>
          </p:spPr>
          <p:txBody>
            <a:bodyPr rtlCol="0" anchor="ctr"/>
            <a:lstStyle/>
            <a:p>
              <a:endParaRPr lang="en-US" sz="700"/>
            </a:p>
          </p:txBody>
        </p:sp>
        <p:sp>
          <p:nvSpPr>
            <p:cNvPr id="26" name="Freeform 359">
              <a:extLst>
                <a:ext uri="{FF2B5EF4-FFF2-40B4-BE49-F238E27FC236}">
                  <a16:creationId xmlns:a16="http://schemas.microsoft.com/office/drawing/2014/main" id="{3A27903E-4C86-2198-B242-1EA22E9D6D0D}"/>
                </a:ext>
              </a:extLst>
            </p:cNvPr>
            <p:cNvSpPr/>
            <p:nvPr/>
          </p:nvSpPr>
          <p:spPr>
            <a:xfrm>
              <a:off x="9208290" y="5803680"/>
              <a:ext cx="145786" cy="145786"/>
            </a:xfrm>
            <a:custGeom>
              <a:avLst/>
              <a:gdLst>
                <a:gd name="connsiteX0" fmla="*/ 145786 w 145786"/>
                <a:gd name="connsiteY0" fmla="*/ 72849 h 145786"/>
                <a:gd name="connsiteX1" fmla="*/ 72937 w 145786"/>
                <a:gd name="connsiteY1" fmla="*/ 145786 h 145786"/>
                <a:gd name="connsiteX2" fmla="*/ 0 w 145786"/>
                <a:gd name="connsiteY2" fmla="*/ 72849 h 145786"/>
                <a:gd name="connsiteX3" fmla="*/ 72937 w 145786"/>
                <a:gd name="connsiteY3" fmla="*/ 0 h 145786"/>
                <a:gd name="connsiteX4" fmla="*/ 145786 w 145786"/>
                <a:gd name="connsiteY4" fmla="*/ 72849 h 145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786" h="145786">
                  <a:moveTo>
                    <a:pt x="145786" y="72849"/>
                  </a:moveTo>
                  <a:cubicBezTo>
                    <a:pt x="145786" y="113054"/>
                    <a:pt x="113142" y="145786"/>
                    <a:pt x="72937" y="145786"/>
                  </a:cubicBezTo>
                  <a:cubicBezTo>
                    <a:pt x="32732" y="145786"/>
                    <a:pt x="0" y="113053"/>
                    <a:pt x="0" y="72849"/>
                  </a:cubicBezTo>
                  <a:cubicBezTo>
                    <a:pt x="0" y="32645"/>
                    <a:pt x="32733" y="0"/>
                    <a:pt x="72937" y="0"/>
                  </a:cubicBezTo>
                  <a:cubicBezTo>
                    <a:pt x="113142" y="0"/>
                    <a:pt x="145786" y="32643"/>
                    <a:pt x="145786" y="72849"/>
                  </a:cubicBezTo>
                  <a:close/>
                </a:path>
              </a:pathLst>
            </a:custGeom>
            <a:solidFill>
              <a:schemeClr val="bg1"/>
            </a:solidFill>
            <a:ln w="1172" cap="flat">
              <a:noFill/>
              <a:prstDash val="solid"/>
              <a:miter/>
            </a:ln>
          </p:spPr>
          <p:txBody>
            <a:bodyPr rtlCol="0" anchor="ctr"/>
            <a:lstStyle/>
            <a:p>
              <a:endParaRPr lang="en-US" sz="700"/>
            </a:p>
          </p:txBody>
        </p:sp>
        <p:sp>
          <p:nvSpPr>
            <p:cNvPr id="27" name="Freeform 360">
              <a:extLst>
                <a:ext uri="{FF2B5EF4-FFF2-40B4-BE49-F238E27FC236}">
                  <a16:creationId xmlns:a16="http://schemas.microsoft.com/office/drawing/2014/main" id="{CB29A7CD-B693-7104-BF46-5DC024E01FA8}"/>
                </a:ext>
              </a:extLst>
            </p:cNvPr>
            <p:cNvSpPr/>
            <p:nvPr/>
          </p:nvSpPr>
          <p:spPr>
            <a:xfrm>
              <a:off x="9419987" y="5803680"/>
              <a:ext cx="145874" cy="145786"/>
            </a:xfrm>
            <a:custGeom>
              <a:avLst/>
              <a:gdLst>
                <a:gd name="connsiteX0" fmla="*/ 72937 w 145874"/>
                <a:gd name="connsiteY0" fmla="*/ 0 h 145786"/>
                <a:gd name="connsiteX1" fmla="*/ 0 w 145874"/>
                <a:gd name="connsiteY1" fmla="*/ 72849 h 145786"/>
                <a:gd name="connsiteX2" fmla="*/ 72937 w 145874"/>
                <a:gd name="connsiteY2" fmla="*/ 145786 h 145786"/>
                <a:gd name="connsiteX3" fmla="*/ 145875 w 145874"/>
                <a:gd name="connsiteY3" fmla="*/ 72849 h 145786"/>
                <a:gd name="connsiteX4" fmla="*/ 72937 w 145874"/>
                <a:gd name="connsiteY4" fmla="*/ 0 h 145786"/>
                <a:gd name="connsiteX5" fmla="*/ 72937 w 145874"/>
                <a:gd name="connsiteY5" fmla="*/ 127996 h 145786"/>
                <a:gd name="connsiteX6" fmla="*/ 17789 w 145874"/>
                <a:gd name="connsiteY6" fmla="*/ 72848 h 145786"/>
                <a:gd name="connsiteX7" fmla="*/ 72937 w 145874"/>
                <a:gd name="connsiteY7" fmla="*/ 17789 h 145786"/>
                <a:gd name="connsiteX8" fmla="*/ 128086 w 145874"/>
                <a:gd name="connsiteY8" fmla="*/ 72848 h 145786"/>
                <a:gd name="connsiteX9" fmla="*/ 72937 w 145874"/>
                <a:gd name="connsiteY9" fmla="*/ 127996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874" h="145786">
                  <a:moveTo>
                    <a:pt x="72937" y="0"/>
                  </a:moveTo>
                  <a:cubicBezTo>
                    <a:pt x="32732" y="0"/>
                    <a:pt x="0" y="32643"/>
                    <a:pt x="0" y="72849"/>
                  </a:cubicBezTo>
                  <a:cubicBezTo>
                    <a:pt x="0" y="113054"/>
                    <a:pt x="32733" y="145786"/>
                    <a:pt x="72937" y="145786"/>
                  </a:cubicBezTo>
                  <a:cubicBezTo>
                    <a:pt x="113142" y="145786"/>
                    <a:pt x="145875" y="113053"/>
                    <a:pt x="145875" y="72849"/>
                  </a:cubicBezTo>
                  <a:cubicBezTo>
                    <a:pt x="145875" y="32645"/>
                    <a:pt x="113143" y="0"/>
                    <a:pt x="72937" y="0"/>
                  </a:cubicBezTo>
                  <a:close/>
                  <a:moveTo>
                    <a:pt x="72937" y="127996"/>
                  </a:moveTo>
                  <a:cubicBezTo>
                    <a:pt x="42517" y="127996"/>
                    <a:pt x="17789" y="103268"/>
                    <a:pt x="17789" y="72848"/>
                  </a:cubicBezTo>
                  <a:cubicBezTo>
                    <a:pt x="17789" y="42516"/>
                    <a:pt x="42517" y="17789"/>
                    <a:pt x="72937" y="17789"/>
                  </a:cubicBezTo>
                  <a:cubicBezTo>
                    <a:pt x="103358" y="17789"/>
                    <a:pt x="128086" y="42517"/>
                    <a:pt x="128086" y="72848"/>
                  </a:cubicBezTo>
                  <a:cubicBezTo>
                    <a:pt x="128086" y="103268"/>
                    <a:pt x="103358" y="127996"/>
                    <a:pt x="72937" y="127996"/>
                  </a:cubicBezTo>
                  <a:close/>
                </a:path>
              </a:pathLst>
            </a:custGeom>
            <a:grpFill/>
            <a:ln w="1172" cap="flat">
              <a:noFill/>
              <a:prstDash val="solid"/>
              <a:miter/>
            </a:ln>
          </p:spPr>
          <p:txBody>
            <a:bodyPr rtlCol="0" anchor="ctr"/>
            <a:lstStyle/>
            <a:p>
              <a:endParaRPr lang="en-US" sz="700"/>
            </a:p>
          </p:txBody>
        </p:sp>
        <p:sp>
          <p:nvSpPr>
            <p:cNvPr id="28" name="Freeform 361">
              <a:extLst>
                <a:ext uri="{FF2B5EF4-FFF2-40B4-BE49-F238E27FC236}">
                  <a16:creationId xmlns:a16="http://schemas.microsoft.com/office/drawing/2014/main" id="{3F3307EA-2907-6860-ABB8-ACEBF5B4C01C}"/>
                </a:ext>
              </a:extLst>
            </p:cNvPr>
            <p:cNvSpPr/>
            <p:nvPr/>
          </p:nvSpPr>
          <p:spPr>
            <a:xfrm>
              <a:off x="8996593" y="6015377"/>
              <a:ext cx="145786" cy="145786"/>
            </a:xfrm>
            <a:custGeom>
              <a:avLst/>
              <a:gdLst>
                <a:gd name="connsiteX0" fmla="*/ 72849 w 145786"/>
                <a:gd name="connsiteY0" fmla="*/ 0 h 145786"/>
                <a:gd name="connsiteX1" fmla="*/ 0 w 145786"/>
                <a:gd name="connsiteY1" fmla="*/ 72937 h 145786"/>
                <a:gd name="connsiteX2" fmla="*/ 72849 w 145786"/>
                <a:gd name="connsiteY2" fmla="*/ 145786 h 145786"/>
                <a:gd name="connsiteX3" fmla="*/ 145786 w 145786"/>
                <a:gd name="connsiteY3" fmla="*/ 72937 h 145786"/>
                <a:gd name="connsiteX4" fmla="*/ 72849 w 145786"/>
                <a:gd name="connsiteY4" fmla="*/ 0 h 145786"/>
                <a:gd name="connsiteX5" fmla="*/ 72849 w 145786"/>
                <a:gd name="connsiteY5" fmla="*/ 127997 h 145786"/>
                <a:gd name="connsiteX6" fmla="*/ 17790 w 145786"/>
                <a:gd name="connsiteY6" fmla="*/ 72939 h 145786"/>
                <a:gd name="connsiteX7" fmla="*/ 72849 w 145786"/>
                <a:gd name="connsiteY7" fmla="*/ 17790 h 145786"/>
                <a:gd name="connsiteX8" fmla="*/ 127996 w 145786"/>
                <a:gd name="connsiteY8" fmla="*/ 72939 h 145786"/>
                <a:gd name="connsiteX9" fmla="*/ 72849 w 145786"/>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849" y="0"/>
                  </a:moveTo>
                  <a:cubicBezTo>
                    <a:pt x="32643" y="0"/>
                    <a:pt x="0" y="32733"/>
                    <a:pt x="0" y="72937"/>
                  </a:cubicBezTo>
                  <a:cubicBezTo>
                    <a:pt x="0" y="113142"/>
                    <a:pt x="32643" y="145786"/>
                    <a:pt x="72849" y="145786"/>
                  </a:cubicBezTo>
                  <a:cubicBezTo>
                    <a:pt x="113053" y="145786"/>
                    <a:pt x="145786" y="113143"/>
                    <a:pt x="145786" y="72937"/>
                  </a:cubicBezTo>
                  <a:cubicBezTo>
                    <a:pt x="145786" y="32732"/>
                    <a:pt x="113053" y="0"/>
                    <a:pt x="72849" y="0"/>
                  </a:cubicBezTo>
                  <a:close/>
                  <a:moveTo>
                    <a:pt x="72849" y="127997"/>
                  </a:moveTo>
                  <a:cubicBezTo>
                    <a:pt x="42517" y="127997"/>
                    <a:pt x="17790" y="103269"/>
                    <a:pt x="17790" y="72939"/>
                  </a:cubicBezTo>
                  <a:cubicBezTo>
                    <a:pt x="17790" y="42518"/>
                    <a:pt x="42518" y="17790"/>
                    <a:pt x="72849" y="17790"/>
                  </a:cubicBezTo>
                  <a:cubicBezTo>
                    <a:pt x="103269" y="17790"/>
                    <a:pt x="127996" y="42518"/>
                    <a:pt x="127996" y="72939"/>
                  </a:cubicBezTo>
                  <a:cubicBezTo>
                    <a:pt x="127996" y="103268"/>
                    <a:pt x="103268" y="127997"/>
                    <a:pt x="72849" y="127997"/>
                  </a:cubicBezTo>
                  <a:close/>
                </a:path>
              </a:pathLst>
            </a:custGeom>
            <a:grpFill/>
            <a:ln w="1172" cap="flat">
              <a:noFill/>
              <a:prstDash val="solid"/>
              <a:miter/>
            </a:ln>
          </p:spPr>
          <p:txBody>
            <a:bodyPr rtlCol="0" anchor="ctr"/>
            <a:lstStyle/>
            <a:p>
              <a:endParaRPr lang="en-US" sz="700"/>
            </a:p>
          </p:txBody>
        </p:sp>
        <p:sp>
          <p:nvSpPr>
            <p:cNvPr id="29" name="Freeform 362">
              <a:extLst>
                <a:ext uri="{FF2B5EF4-FFF2-40B4-BE49-F238E27FC236}">
                  <a16:creationId xmlns:a16="http://schemas.microsoft.com/office/drawing/2014/main" id="{3A583F5C-8318-29AF-7397-3397710B290C}"/>
                </a:ext>
              </a:extLst>
            </p:cNvPr>
            <p:cNvSpPr/>
            <p:nvPr/>
          </p:nvSpPr>
          <p:spPr>
            <a:xfrm>
              <a:off x="9208290" y="6015377"/>
              <a:ext cx="145786" cy="145786"/>
            </a:xfrm>
            <a:custGeom>
              <a:avLst/>
              <a:gdLst>
                <a:gd name="connsiteX0" fmla="*/ 72937 w 145786"/>
                <a:gd name="connsiteY0" fmla="*/ 0 h 145786"/>
                <a:gd name="connsiteX1" fmla="*/ 0 w 145786"/>
                <a:gd name="connsiteY1" fmla="*/ 72937 h 145786"/>
                <a:gd name="connsiteX2" fmla="*/ 72937 w 145786"/>
                <a:gd name="connsiteY2" fmla="*/ 145786 h 145786"/>
                <a:gd name="connsiteX3" fmla="*/ 145786 w 145786"/>
                <a:gd name="connsiteY3" fmla="*/ 72937 h 145786"/>
                <a:gd name="connsiteX4" fmla="*/ 72937 w 145786"/>
                <a:gd name="connsiteY4" fmla="*/ 0 h 145786"/>
                <a:gd name="connsiteX5" fmla="*/ 72937 w 145786"/>
                <a:gd name="connsiteY5" fmla="*/ 127997 h 145786"/>
                <a:gd name="connsiteX6" fmla="*/ 17789 w 145786"/>
                <a:gd name="connsiteY6" fmla="*/ 72939 h 145786"/>
                <a:gd name="connsiteX7" fmla="*/ 72937 w 145786"/>
                <a:gd name="connsiteY7" fmla="*/ 17790 h 145786"/>
                <a:gd name="connsiteX8" fmla="*/ 127996 w 145786"/>
                <a:gd name="connsiteY8" fmla="*/ 72939 h 145786"/>
                <a:gd name="connsiteX9" fmla="*/ 72937 w 145786"/>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937" y="0"/>
                  </a:moveTo>
                  <a:cubicBezTo>
                    <a:pt x="32732" y="0"/>
                    <a:pt x="0" y="32733"/>
                    <a:pt x="0" y="72937"/>
                  </a:cubicBezTo>
                  <a:cubicBezTo>
                    <a:pt x="0" y="113142"/>
                    <a:pt x="32733" y="145786"/>
                    <a:pt x="72937" y="145786"/>
                  </a:cubicBezTo>
                  <a:cubicBezTo>
                    <a:pt x="113142" y="145786"/>
                    <a:pt x="145786" y="113143"/>
                    <a:pt x="145786" y="72937"/>
                  </a:cubicBezTo>
                  <a:cubicBezTo>
                    <a:pt x="145786" y="32732"/>
                    <a:pt x="113142" y="0"/>
                    <a:pt x="72937" y="0"/>
                  </a:cubicBezTo>
                  <a:close/>
                  <a:moveTo>
                    <a:pt x="72937" y="127997"/>
                  </a:moveTo>
                  <a:cubicBezTo>
                    <a:pt x="42517" y="127997"/>
                    <a:pt x="17789" y="103269"/>
                    <a:pt x="17789" y="72939"/>
                  </a:cubicBezTo>
                  <a:cubicBezTo>
                    <a:pt x="17789" y="42518"/>
                    <a:pt x="42517" y="17790"/>
                    <a:pt x="72937" y="17790"/>
                  </a:cubicBezTo>
                  <a:cubicBezTo>
                    <a:pt x="103268" y="17790"/>
                    <a:pt x="127996" y="42518"/>
                    <a:pt x="127996" y="72939"/>
                  </a:cubicBezTo>
                  <a:cubicBezTo>
                    <a:pt x="127996" y="103268"/>
                    <a:pt x="103268" y="127997"/>
                    <a:pt x="72937" y="127997"/>
                  </a:cubicBezTo>
                  <a:close/>
                </a:path>
              </a:pathLst>
            </a:custGeom>
            <a:grpFill/>
            <a:ln w="1172" cap="flat">
              <a:noFill/>
              <a:prstDash val="solid"/>
              <a:miter/>
            </a:ln>
          </p:spPr>
          <p:txBody>
            <a:bodyPr rtlCol="0" anchor="ctr"/>
            <a:lstStyle/>
            <a:p>
              <a:endParaRPr lang="en-US" sz="700"/>
            </a:p>
          </p:txBody>
        </p:sp>
        <p:sp>
          <p:nvSpPr>
            <p:cNvPr id="30" name="Freeform 363">
              <a:extLst>
                <a:ext uri="{FF2B5EF4-FFF2-40B4-BE49-F238E27FC236}">
                  <a16:creationId xmlns:a16="http://schemas.microsoft.com/office/drawing/2014/main" id="{9014D8DD-2A78-3F7F-62B1-279F95ABEABA}"/>
                </a:ext>
              </a:extLst>
            </p:cNvPr>
            <p:cNvSpPr/>
            <p:nvPr/>
          </p:nvSpPr>
          <p:spPr>
            <a:xfrm>
              <a:off x="9419988" y="6015377"/>
              <a:ext cx="145874" cy="145786"/>
            </a:xfrm>
            <a:custGeom>
              <a:avLst/>
              <a:gdLst>
                <a:gd name="connsiteX0" fmla="*/ 145875 w 145874"/>
                <a:gd name="connsiteY0" fmla="*/ 72937 h 145786"/>
                <a:gd name="connsiteX1" fmla="*/ 72937 w 145874"/>
                <a:gd name="connsiteY1" fmla="*/ 145786 h 145786"/>
                <a:gd name="connsiteX2" fmla="*/ 0 w 145874"/>
                <a:gd name="connsiteY2" fmla="*/ 72937 h 145786"/>
                <a:gd name="connsiteX3" fmla="*/ 72937 w 145874"/>
                <a:gd name="connsiteY3" fmla="*/ 0 h 145786"/>
                <a:gd name="connsiteX4" fmla="*/ 145875 w 145874"/>
                <a:gd name="connsiteY4" fmla="*/ 72937 h 145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874" h="145786">
                  <a:moveTo>
                    <a:pt x="145875" y="72937"/>
                  </a:moveTo>
                  <a:cubicBezTo>
                    <a:pt x="145875" y="113143"/>
                    <a:pt x="113142" y="145786"/>
                    <a:pt x="72937" y="145786"/>
                  </a:cubicBezTo>
                  <a:cubicBezTo>
                    <a:pt x="32733" y="145786"/>
                    <a:pt x="0" y="113143"/>
                    <a:pt x="0" y="72937"/>
                  </a:cubicBezTo>
                  <a:cubicBezTo>
                    <a:pt x="0" y="32732"/>
                    <a:pt x="32733" y="0"/>
                    <a:pt x="72937" y="0"/>
                  </a:cubicBezTo>
                  <a:cubicBezTo>
                    <a:pt x="113142" y="0"/>
                    <a:pt x="145875" y="32733"/>
                    <a:pt x="145875" y="72937"/>
                  </a:cubicBezTo>
                  <a:close/>
                </a:path>
              </a:pathLst>
            </a:custGeom>
            <a:solidFill>
              <a:schemeClr val="accent1"/>
            </a:solidFill>
            <a:ln w="1172" cap="flat">
              <a:noFill/>
              <a:prstDash val="solid"/>
              <a:miter/>
            </a:ln>
          </p:spPr>
          <p:txBody>
            <a:bodyPr rtlCol="0" anchor="ctr"/>
            <a:lstStyle/>
            <a:p>
              <a:endParaRPr lang="en-US" sz="700"/>
            </a:p>
          </p:txBody>
        </p:sp>
      </p:grpSp>
      <p:sp>
        <p:nvSpPr>
          <p:cNvPr id="14" name="Footer Placeholder 12">
            <a:extLst>
              <a:ext uri="{FF2B5EF4-FFF2-40B4-BE49-F238E27FC236}">
                <a16:creationId xmlns:a16="http://schemas.microsoft.com/office/drawing/2014/main" id="{89797305-939E-FF79-2DF0-E355D51FD27F}"/>
              </a:ext>
            </a:extLst>
          </p:cNvPr>
          <p:cNvSpPr txBox="1">
            <a:spLocks/>
          </p:cNvSpPr>
          <p:nvPr/>
        </p:nvSpPr>
        <p:spPr>
          <a:xfrm>
            <a:off x="904875" y="6566905"/>
            <a:ext cx="10925176" cy="116955"/>
          </a:xfrm>
          <a:prstGeom prst="rect">
            <a:avLst/>
          </a:prstGeom>
          <a:noFill/>
        </p:spPr>
        <p:txBody>
          <a:bodyPr vert="horz" wrap="square" lIns="0" tIns="0" rIns="0" bIns="0" rtlCol="0" anchor="b">
            <a:spAutoFit/>
          </a:bodyPr>
          <a:lstStyle>
            <a:defPPr>
              <a:defRPr lang="en-US"/>
            </a:defPPr>
            <a:lvl1pPr marL="0" algn="l" defTabSz="914400" rtl="0" eaLnBrk="1" latinLnBrk="0" hangingPunct="1">
              <a:lnSpc>
                <a:spcPct val="95000"/>
              </a:lnSpc>
              <a:spcBef>
                <a:spcPts val="400"/>
              </a:spcBef>
              <a:defRPr lang="en-US" sz="800" b="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CGI-C, Clinician Global Impression of Change; PGI-C, Patient Global Impression of Change; PH20, recombinant human hyaluronidase PH20; SC, subcutaneous.</a:t>
            </a:r>
            <a:endParaRPr lang="en-US"/>
          </a:p>
        </p:txBody>
      </p:sp>
      <p:graphicFrame>
        <p:nvGraphicFramePr>
          <p:cNvPr id="36" name="Chart 35">
            <a:extLst>
              <a:ext uri="{FF2B5EF4-FFF2-40B4-BE49-F238E27FC236}">
                <a16:creationId xmlns:a16="http://schemas.microsoft.com/office/drawing/2014/main" id="{B6685CE0-B453-E416-5DB4-A83D16EFA2F1}"/>
              </a:ext>
            </a:extLst>
          </p:cNvPr>
          <p:cNvGraphicFramePr/>
          <p:nvPr>
            <p:extLst>
              <p:ext uri="{D42A27DB-BD31-4B8C-83A1-F6EECF244321}">
                <p14:modId xmlns:p14="http://schemas.microsoft.com/office/powerpoint/2010/main" val="130309186"/>
              </p:ext>
            </p:extLst>
          </p:nvPr>
        </p:nvGraphicFramePr>
        <p:xfrm>
          <a:off x="4185241" y="1336006"/>
          <a:ext cx="6924950" cy="47527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7" name="Chart 36">
            <a:extLst>
              <a:ext uri="{FF2B5EF4-FFF2-40B4-BE49-F238E27FC236}">
                <a16:creationId xmlns:a16="http://schemas.microsoft.com/office/drawing/2014/main" id="{8B91FCC1-8CE8-FEA8-3B50-A83C48E94EA7}"/>
              </a:ext>
            </a:extLst>
          </p:cNvPr>
          <p:cNvGraphicFramePr/>
          <p:nvPr>
            <p:extLst>
              <p:ext uri="{D42A27DB-BD31-4B8C-83A1-F6EECF244321}">
                <p14:modId xmlns:p14="http://schemas.microsoft.com/office/powerpoint/2010/main" val="761907170"/>
              </p:ext>
            </p:extLst>
          </p:nvPr>
        </p:nvGraphicFramePr>
        <p:xfrm>
          <a:off x="8203636" y="1356052"/>
          <a:ext cx="6924951" cy="4752700"/>
        </p:xfrm>
        <a:graphic>
          <a:graphicData uri="http://schemas.openxmlformats.org/drawingml/2006/chart">
            <c:chart xmlns:c="http://schemas.openxmlformats.org/drawingml/2006/chart" xmlns:r="http://schemas.openxmlformats.org/officeDocument/2006/relationships" r:id="rId4"/>
          </a:graphicData>
        </a:graphic>
      </p:graphicFrame>
      <p:sp>
        <p:nvSpPr>
          <p:cNvPr id="38" name="Rectangle 37">
            <a:extLst>
              <a:ext uri="{FF2B5EF4-FFF2-40B4-BE49-F238E27FC236}">
                <a16:creationId xmlns:a16="http://schemas.microsoft.com/office/drawing/2014/main" id="{12DF60C7-6F90-3C7F-E5D8-FF783374A1F5}"/>
              </a:ext>
            </a:extLst>
          </p:cNvPr>
          <p:cNvSpPr/>
          <p:nvPr/>
        </p:nvSpPr>
        <p:spPr>
          <a:xfrm>
            <a:off x="4948574" y="3257326"/>
            <a:ext cx="1235056" cy="1718866"/>
          </a:xfrm>
          <a:prstGeom prst="rect">
            <a:avLst/>
          </a:prstGeom>
          <a:noFill/>
          <a:ln w="57150">
            <a:solidFill>
              <a:srgbClr val="086F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 name="Rectangle 38">
            <a:extLst>
              <a:ext uri="{FF2B5EF4-FFF2-40B4-BE49-F238E27FC236}">
                <a16:creationId xmlns:a16="http://schemas.microsoft.com/office/drawing/2014/main" id="{2FACFB39-FF6F-44F2-CDBB-1F57A836BDFA}"/>
              </a:ext>
            </a:extLst>
          </p:cNvPr>
          <p:cNvSpPr/>
          <p:nvPr/>
        </p:nvSpPr>
        <p:spPr>
          <a:xfrm>
            <a:off x="6468385" y="3696032"/>
            <a:ext cx="1235056" cy="1280160"/>
          </a:xfrm>
          <a:prstGeom prst="rect">
            <a:avLst/>
          </a:prstGeom>
          <a:noFill/>
          <a:ln w="57150">
            <a:solidFill>
              <a:srgbClr val="086F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Rectangle 39">
            <a:extLst>
              <a:ext uri="{FF2B5EF4-FFF2-40B4-BE49-F238E27FC236}">
                <a16:creationId xmlns:a16="http://schemas.microsoft.com/office/drawing/2014/main" id="{441533A9-B34B-A1BB-7E46-F2F759DB42A2}"/>
              </a:ext>
            </a:extLst>
          </p:cNvPr>
          <p:cNvSpPr/>
          <p:nvPr/>
        </p:nvSpPr>
        <p:spPr>
          <a:xfrm>
            <a:off x="8988405" y="3055396"/>
            <a:ext cx="1235056" cy="1920796"/>
          </a:xfrm>
          <a:prstGeom prst="rect">
            <a:avLst/>
          </a:prstGeom>
          <a:noFill/>
          <a:ln w="57150">
            <a:solidFill>
              <a:srgbClr val="086F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Rectangle 40">
            <a:extLst>
              <a:ext uri="{FF2B5EF4-FFF2-40B4-BE49-F238E27FC236}">
                <a16:creationId xmlns:a16="http://schemas.microsoft.com/office/drawing/2014/main" id="{A37BFC05-FE19-BDE5-CA9E-798A6B128B93}"/>
              </a:ext>
            </a:extLst>
          </p:cNvPr>
          <p:cNvSpPr/>
          <p:nvPr/>
        </p:nvSpPr>
        <p:spPr>
          <a:xfrm>
            <a:off x="10492663" y="3787472"/>
            <a:ext cx="1235056" cy="1188720"/>
          </a:xfrm>
          <a:prstGeom prst="rect">
            <a:avLst/>
          </a:prstGeom>
          <a:noFill/>
          <a:ln w="57150">
            <a:solidFill>
              <a:srgbClr val="086F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57316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38" grpId="0" animBg="1"/>
      <p:bldP spid="39" grpId="0" animBg="1"/>
      <p:bldP spid="40" grpId="0" animBg="1"/>
      <p:bldP spid="4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CD5042-74B7-0ED5-D6DF-7CC0FBC81322}"/>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DDB9AEB9-67EA-3632-9600-D89DB3C997D0}"/>
              </a:ext>
            </a:extLst>
          </p:cNvPr>
          <p:cNvSpPr/>
          <p:nvPr/>
        </p:nvSpPr>
        <p:spPr>
          <a:xfrm>
            <a:off x="1123406" y="1107231"/>
            <a:ext cx="11068594" cy="49800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Title 20">
            <a:extLst>
              <a:ext uri="{FF2B5EF4-FFF2-40B4-BE49-F238E27FC236}">
                <a16:creationId xmlns:a16="http://schemas.microsoft.com/office/drawing/2014/main" id="{15CC3B61-C269-2B04-8964-CB9E6B0F0232}"/>
              </a:ext>
            </a:extLst>
          </p:cNvPr>
          <p:cNvSpPr>
            <a:spLocks noGrp="1"/>
          </p:cNvSpPr>
          <p:nvPr>
            <p:ph type="title"/>
          </p:nvPr>
        </p:nvSpPr>
        <p:spPr>
          <a:xfrm rot="5400000">
            <a:off x="5696712" y="-5190087"/>
            <a:ext cx="457200" cy="11850624"/>
          </a:xfrm>
        </p:spPr>
        <p:txBody>
          <a:bodyPr/>
          <a:lstStyle/>
          <a:p>
            <a:r>
              <a:rPr kumimoji="0" lang="en-US" sz="2200" b="0" i="0" u="none" strike="noStrike" kern="0" cap="none" spc="0" normalizeH="0" baseline="0" noProof="0">
                <a:ln>
                  <a:noFill/>
                </a:ln>
                <a:solidFill>
                  <a:srgbClr val="0B436E"/>
                </a:solidFill>
                <a:effectLst/>
                <a:uLnTx/>
                <a:uFillTx/>
                <a:latin typeface="Calibri" panose="020F0502020204030204"/>
                <a:ea typeface="+mn-ea"/>
                <a:cs typeface="+mn-cs"/>
              </a:rPr>
              <a:t>                Summary of </a:t>
            </a:r>
            <a:r>
              <a:rPr kumimoji="0" lang="en-US" sz="2200" b="1" i="0" u="none" strike="noStrike" kern="0" cap="none" spc="0" normalizeH="0" baseline="0" noProof="0">
                <a:ln>
                  <a:noFill/>
                </a:ln>
                <a:solidFill>
                  <a:srgbClr val="0B436E"/>
                </a:solidFill>
                <a:effectLst/>
                <a:uLnTx/>
                <a:uFillTx/>
                <a:latin typeface="Calibri" panose="020F0502020204030204"/>
                <a:ea typeface="+mn-ea"/>
                <a:cs typeface="+mn-cs"/>
              </a:rPr>
              <a:t>Safety</a:t>
            </a:r>
            <a:endParaRPr lang="en-US" b="1" noProof="0"/>
          </a:p>
        </p:txBody>
      </p:sp>
      <p:sp>
        <p:nvSpPr>
          <p:cNvPr id="5" name="Slide Number Placeholder 4">
            <a:extLst>
              <a:ext uri="{FF2B5EF4-FFF2-40B4-BE49-F238E27FC236}">
                <a16:creationId xmlns:a16="http://schemas.microsoft.com/office/drawing/2014/main" id="{15FC121E-89C2-E0C9-2AD2-399E6DA62F4C}"/>
              </a:ext>
            </a:extLst>
          </p:cNvPr>
          <p:cNvSpPr>
            <a:spLocks noGrp="1"/>
          </p:cNvSpPr>
          <p:nvPr>
            <p:ph type="sldNum" sz="quarter" idx="4"/>
          </p:nvPr>
        </p:nvSpPr>
        <p:spPr/>
        <p:txBody>
          <a:bodyPr/>
          <a:lstStyle/>
          <a:p>
            <a:fld id="{A366880C-2072-4A02-B747-1981AA856017}" type="slidenum">
              <a:rPr lang="en-US" noProof="0" smtClean="0"/>
              <a:pPr/>
              <a:t>13</a:t>
            </a:fld>
            <a:endParaRPr lang="en-US" noProof="0"/>
          </a:p>
        </p:txBody>
      </p:sp>
      <p:grpSp>
        <p:nvGrpSpPr>
          <p:cNvPr id="19" name="Group 18">
            <a:extLst>
              <a:ext uri="{FF2B5EF4-FFF2-40B4-BE49-F238E27FC236}">
                <a16:creationId xmlns:a16="http://schemas.microsoft.com/office/drawing/2014/main" id="{390FF49A-D9D2-AA10-2DEE-BAFED2D5B440}"/>
              </a:ext>
            </a:extLst>
          </p:cNvPr>
          <p:cNvGrpSpPr/>
          <p:nvPr/>
        </p:nvGrpSpPr>
        <p:grpSpPr>
          <a:xfrm>
            <a:off x="477177" y="484950"/>
            <a:ext cx="434013" cy="500549"/>
            <a:chOff x="6855358" y="623177"/>
            <a:chExt cx="604001" cy="695069"/>
          </a:xfrm>
        </p:grpSpPr>
        <p:sp>
          <p:nvSpPr>
            <p:cNvPr id="20" name="Graphic 61">
              <a:extLst>
                <a:ext uri="{FF2B5EF4-FFF2-40B4-BE49-F238E27FC236}">
                  <a16:creationId xmlns:a16="http://schemas.microsoft.com/office/drawing/2014/main" id="{94BF5F99-6559-A240-2870-A01A5395FB3E}"/>
                </a:ext>
              </a:extLst>
            </p:cNvPr>
            <p:cNvSpPr/>
            <p:nvPr/>
          </p:nvSpPr>
          <p:spPr>
            <a:xfrm>
              <a:off x="6899427" y="673891"/>
              <a:ext cx="515862" cy="593641"/>
            </a:xfrm>
            <a:custGeom>
              <a:avLst/>
              <a:gdLst>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476241 w 4072299"/>
                <a:gd name="connsiteY20" fmla="*/ 966968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3596050 w 4072299"/>
                <a:gd name="connsiteY26" fmla="*/ 966968 h 4686300"/>
                <a:gd name="connsiteX27" fmla="*/ 2485206 w 4072299"/>
                <a:gd name="connsiteY27" fmla="*/ 476250 h 4686300"/>
                <a:gd name="connsiteX28" fmla="*/ 1587094 w 4072299"/>
                <a:gd name="connsiteY28" fmla="*/ 476250 h 4686300"/>
                <a:gd name="connsiteX29" fmla="*/ 476241 w 4072299"/>
                <a:gd name="connsiteY29" fmla="*/ 966968 h 4686300"/>
                <a:gd name="connsiteX30" fmla="*/ 2341283 w 4072299"/>
                <a:gd name="connsiteY30" fmla="*/ 1260472 h 4686300"/>
                <a:gd name="connsiteX31" fmla="*/ 1731026 w 4072299"/>
                <a:gd name="connsiteY31" fmla="*/ 1260472 h 4686300"/>
                <a:gd name="connsiteX32" fmla="*/ 1683401 w 4072299"/>
                <a:gd name="connsiteY32" fmla="*/ 1308097 h 4686300"/>
                <a:gd name="connsiteX33" fmla="*/ 1683401 w 4072299"/>
                <a:gd name="connsiteY33" fmla="*/ 1791005 h 4686300"/>
                <a:gd name="connsiteX34" fmla="*/ 1200493 w 4072299"/>
                <a:gd name="connsiteY34" fmla="*/ 1791005 h 4686300"/>
                <a:gd name="connsiteX35" fmla="*/ 1152868 w 4072299"/>
                <a:gd name="connsiteY35" fmla="*/ 1838630 h 4686300"/>
                <a:gd name="connsiteX36" fmla="*/ 1152868 w 4072299"/>
                <a:gd name="connsiteY36" fmla="*/ 2448878 h 4686300"/>
                <a:gd name="connsiteX37" fmla="*/ 1200493 w 4072299"/>
                <a:gd name="connsiteY37" fmla="*/ 2496503 h 4686300"/>
                <a:gd name="connsiteX38" fmla="*/ 1683401 w 4072299"/>
                <a:gd name="connsiteY38" fmla="*/ 2496503 h 4686300"/>
                <a:gd name="connsiteX39" fmla="*/ 1683401 w 4072299"/>
                <a:gd name="connsiteY39" fmla="*/ 2979411 h 4686300"/>
                <a:gd name="connsiteX40" fmla="*/ 1731026 w 4072299"/>
                <a:gd name="connsiteY40" fmla="*/ 3027036 h 4686300"/>
                <a:gd name="connsiteX41" fmla="*/ 2341283 w 4072299"/>
                <a:gd name="connsiteY41" fmla="*/ 3027036 h 4686300"/>
                <a:gd name="connsiteX42" fmla="*/ 2388908 w 4072299"/>
                <a:gd name="connsiteY42" fmla="*/ 2979411 h 4686300"/>
                <a:gd name="connsiteX43" fmla="*/ 2388908 w 4072299"/>
                <a:gd name="connsiteY43" fmla="*/ 2496503 h 4686300"/>
                <a:gd name="connsiteX44" fmla="*/ 2871807 w 4072299"/>
                <a:gd name="connsiteY44" fmla="*/ 2496503 h 4686300"/>
                <a:gd name="connsiteX45" fmla="*/ 2919432 w 4072299"/>
                <a:gd name="connsiteY45" fmla="*/ 2448878 h 4686300"/>
                <a:gd name="connsiteX46" fmla="*/ 2919432 w 4072299"/>
                <a:gd name="connsiteY46" fmla="*/ 1838630 h 4686300"/>
                <a:gd name="connsiteX47" fmla="*/ 2871807 w 4072299"/>
                <a:gd name="connsiteY47" fmla="*/ 1791005 h 4686300"/>
                <a:gd name="connsiteX48" fmla="*/ 2388908 w 4072299"/>
                <a:gd name="connsiteY48" fmla="*/ 1791005 h 4686300"/>
                <a:gd name="connsiteX49" fmla="*/ 2388908 w 4072299"/>
                <a:gd name="connsiteY49" fmla="*/ 1308097 h 4686300"/>
                <a:gd name="connsiteX50" fmla="*/ 2341283 w 4072299"/>
                <a:gd name="connsiteY50" fmla="*/ 1260472 h 468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072299" h="4686300">
                  <a:moveTo>
                    <a:pt x="84296" y="553288"/>
                  </a:moveTo>
                  <a:cubicBezTo>
                    <a:pt x="618125" y="491480"/>
                    <a:pt x="1083545" y="254146"/>
                    <a:pt x="1439637" y="0"/>
                  </a:cubicBezTo>
                  <a:lnTo>
                    <a:pt x="2632653" y="0"/>
                  </a:lnTo>
                  <a:cubicBezTo>
                    <a:pt x="2988755" y="254146"/>
                    <a:pt x="3454165" y="491480"/>
                    <a:pt x="3988003" y="553288"/>
                  </a:cubicBezTo>
                  <a:cubicBezTo>
                    <a:pt x="4036286" y="558879"/>
                    <a:pt x="4072300" y="599284"/>
                    <a:pt x="4072300" y="647890"/>
                  </a:cubicBezTo>
                  <a:lnTo>
                    <a:pt x="4072300" y="2340521"/>
                  </a:lnTo>
                  <a:cubicBezTo>
                    <a:pt x="4072300" y="3488408"/>
                    <a:pt x="2906954" y="4452966"/>
                    <a:pt x="2036150" y="4686300"/>
                  </a:cubicBezTo>
                  <a:cubicBezTo>
                    <a:pt x="1165346" y="4452966"/>
                    <a:pt x="0" y="3488408"/>
                    <a:pt x="0" y="2340531"/>
                  </a:cubicBezTo>
                  <a:lnTo>
                    <a:pt x="0" y="647890"/>
                  </a:lnTo>
                  <a:cubicBezTo>
                    <a:pt x="0" y="599284"/>
                    <a:pt x="36005" y="558879"/>
                    <a:pt x="84296" y="553288"/>
                  </a:cubicBezTo>
                  <a:close/>
                  <a:moveTo>
                    <a:pt x="285741" y="812159"/>
                  </a:moveTo>
                  <a:lnTo>
                    <a:pt x="285741" y="2340531"/>
                  </a:lnTo>
                  <a:cubicBezTo>
                    <a:pt x="285741" y="2470271"/>
                    <a:pt x="303771" y="2598868"/>
                    <a:pt x="337204" y="2724150"/>
                  </a:cubicBezTo>
                  <a:cubicBezTo>
                    <a:pt x="533972" y="3461518"/>
                    <a:pt x="1310897" y="4162711"/>
                    <a:pt x="2036045" y="4388816"/>
                  </a:cubicBezTo>
                  <a:cubicBezTo>
                    <a:pt x="2490045" y="4246569"/>
                    <a:pt x="2949150" y="3916728"/>
                    <a:pt x="3257598" y="3568980"/>
                  </a:cubicBezTo>
                  <a:cubicBezTo>
                    <a:pt x="3558235" y="3230032"/>
                    <a:pt x="3786550" y="2803236"/>
                    <a:pt x="3786550" y="2340531"/>
                  </a:cubicBezTo>
                  <a:lnTo>
                    <a:pt x="3786550" y="812159"/>
                  </a:lnTo>
                  <a:cubicBezTo>
                    <a:pt x="3339656" y="731530"/>
                    <a:pt x="2919041" y="541077"/>
                    <a:pt x="2543013" y="285750"/>
                  </a:cubicBezTo>
                  <a:lnTo>
                    <a:pt x="1529286" y="285750"/>
                  </a:lnTo>
                  <a:cubicBezTo>
                    <a:pt x="1153258" y="541077"/>
                    <a:pt x="732644" y="731530"/>
                    <a:pt x="285741" y="812159"/>
                  </a:cubicBezTo>
                  <a:close/>
                  <a:moveTo>
                    <a:pt x="476241" y="966968"/>
                  </a:moveTo>
                  <a:lnTo>
                    <a:pt x="476241" y="2340531"/>
                  </a:lnTo>
                  <a:cubicBezTo>
                    <a:pt x="476241" y="2453573"/>
                    <a:pt x="492138" y="2565883"/>
                    <a:pt x="521265" y="2675039"/>
                  </a:cubicBezTo>
                  <a:cubicBezTo>
                    <a:pt x="696935" y="3333379"/>
                    <a:pt x="1393860" y="3964686"/>
                    <a:pt x="2035874" y="4188181"/>
                  </a:cubicBezTo>
                  <a:cubicBezTo>
                    <a:pt x="2435285" y="4048259"/>
                    <a:pt x="2839441" y="3753326"/>
                    <a:pt x="3115075" y="3442573"/>
                  </a:cubicBezTo>
                  <a:cubicBezTo>
                    <a:pt x="3383756" y="3139650"/>
                    <a:pt x="3596050" y="2754849"/>
                    <a:pt x="3596050" y="2340531"/>
                  </a:cubicBezTo>
                  <a:lnTo>
                    <a:pt x="3596050" y="966968"/>
                  </a:lnTo>
                  <a:cubicBezTo>
                    <a:pt x="3199648" y="873195"/>
                    <a:pt x="2825391" y="700116"/>
                    <a:pt x="2485206" y="476250"/>
                  </a:cubicBezTo>
                  <a:lnTo>
                    <a:pt x="1587094" y="476250"/>
                  </a:lnTo>
                  <a:cubicBezTo>
                    <a:pt x="1246908" y="700116"/>
                    <a:pt x="872642" y="873195"/>
                    <a:pt x="476241" y="966968"/>
                  </a:cubicBezTo>
                  <a:close/>
                  <a:moveTo>
                    <a:pt x="2341283" y="1260472"/>
                  </a:moveTo>
                  <a:lnTo>
                    <a:pt x="1731026" y="1260472"/>
                  </a:lnTo>
                  <a:cubicBezTo>
                    <a:pt x="1704794" y="1260472"/>
                    <a:pt x="1683401" y="1281865"/>
                    <a:pt x="1683401" y="1308097"/>
                  </a:cubicBezTo>
                  <a:lnTo>
                    <a:pt x="1683401" y="1791005"/>
                  </a:lnTo>
                  <a:lnTo>
                    <a:pt x="1200493" y="1791005"/>
                  </a:lnTo>
                  <a:cubicBezTo>
                    <a:pt x="1174261" y="1791005"/>
                    <a:pt x="1152868" y="1812398"/>
                    <a:pt x="1152868" y="1838630"/>
                  </a:cubicBezTo>
                  <a:lnTo>
                    <a:pt x="1152868" y="2448878"/>
                  </a:lnTo>
                  <a:cubicBezTo>
                    <a:pt x="1152868" y="2475110"/>
                    <a:pt x="1174261" y="2496503"/>
                    <a:pt x="1200493" y="2496503"/>
                  </a:cubicBezTo>
                  <a:lnTo>
                    <a:pt x="1683401" y="2496503"/>
                  </a:lnTo>
                  <a:lnTo>
                    <a:pt x="1683401" y="2979411"/>
                  </a:lnTo>
                  <a:cubicBezTo>
                    <a:pt x="1683401" y="3005643"/>
                    <a:pt x="1704794" y="3027036"/>
                    <a:pt x="1731026" y="3027036"/>
                  </a:cubicBezTo>
                  <a:lnTo>
                    <a:pt x="2341283" y="3027036"/>
                  </a:lnTo>
                  <a:cubicBezTo>
                    <a:pt x="2367515" y="3027036"/>
                    <a:pt x="2388908" y="3005643"/>
                    <a:pt x="2388908" y="2979411"/>
                  </a:cubicBezTo>
                  <a:lnTo>
                    <a:pt x="2388908" y="2496503"/>
                  </a:lnTo>
                  <a:lnTo>
                    <a:pt x="2871807" y="2496503"/>
                  </a:lnTo>
                  <a:cubicBezTo>
                    <a:pt x="2898039" y="2496503"/>
                    <a:pt x="2919432" y="2475110"/>
                    <a:pt x="2919432" y="2448878"/>
                  </a:cubicBezTo>
                  <a:lnTo>
                    <a:pt x="2919432" y="1838630"/>
                  </a:lnTo>
                  <a:cubicBezTo>
                    <a:pt x="2919432" y="1812398"/>
                    <a:pt x="2898039" y="1791005"/>
                    <a:pt x="2871807" y="1791005"/>
                  </a:cubicBezTo>
                  <a:lnTo>
                    <a:pt x="2388908" y="1791005"/>
                  </a:lnTo>
                  <a:lnTo>
                    <a:pt x="2388908" y="1308097"/>
                  </a:lnTo>
                  <a:cubicBezTo>
                    <a:pt x="2388899" y="1281865"/>
                    <a:pt x="2367515" y="1260472"/>
                    <a:pt x="2341283" y="1260472"/>
                  </a:cubicBezTo>
                  <a:close/>
                </a:path>
              </a:pathLst>
            </a:custGeom>
            <a:solidFill>
              <a:schemeClr val="bg1"/>
            </a:solidFill>
            <a:ln w="2549" cap="flat">
              <a:noFill/>
              <a:prstDash val="solid"/>
              <a:miter/>
            </a:ln>
          </p:spPr>
          <p:txBody>
            <a:bodyPr rtlCol="0" anchor="ctr"/>
            <a:lstStyle/>
            <a:p>
              <a:endParaRPr lang="en-US" noProof="0"/>
            </a:p>
          </p:txBody>
        </p:sp>
        <p:sp>
          <p:nvSpPr>
            <p:cNvPr id="22" name="Graphic 61">
              <a:extLst>
                <a:ext uri="{FF2B5EF4-FFF2-40B4-BE49-F238E27FC236}">
                  <a16:creationId xmlns:a16="http://schemas.microsoft.com/office/drawing/2014/main" id="{5642E1DA-C523-2EF3-95FF-D94BEF4AE340}"/>
                </a:ext>
              </a:extLst>
            </p:cNvPr>
            <p:cNvSpPr/>
            <p:nvPr/>
          </p:nvSpPr>
          <p:spPr>
            <a:xfrm>
              <a:off x="6855358" y="623177"/>
              <a:ext cx="604001" cy="695069"/>
            </a:xfrm>
            <a:custGeom>
              <a:avLst/>
              <a:gdLst>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476241 w 4072299"/>
                <a:gd name="connsiteY20" fmla="*/ 966968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3596050 w 4072299"/>
                <a:gd name="connsiteY26" fmla="*/ 966968 h 4686300"/>
                <a:gd name="connsiteX27" fmla="*/ 2485206 w 4072299"/>
                <a:gd name="connsiteY27" fmla="*/ 476250 h 4686300"/>
                <a:gd name="connsiteX28" fmla="*/ 1587094 w 4072299"/>
                <a:gd name="connsiteY28" fmla="*/ 476250 h 4686300"/>
                <a:gd name="connsiteX29" fmla="*/ 476241 w 4072299"/>
                <a:gd name="connsiteY29" fmla="*/ 966968 h 4686300"/>
                <a:gd name="connsiteX30" fmla="*/ 2341283 w 4072299"/>
                <a:gd name="connsiteY30" fmla="*/ 1260472 h 4686300"/>
                <a:gd name="connsiteX31" fmla="*/ 1731026 w 4072299"/>
                <a:gd name="connsiteY31" fmla="*/ 1260472 h 4686300"/>
                <a:gd name="connsiteX32" fmla="*/ 1683401 w 4072299"/>
                <a:gd name="connsiteY32" fmla="*/ 1308097 h 4686300"/>
                <a:gd name="connsiteX33" fmla="*/ 1683401 w 4072299"/>
                <a:gd name="connsiteY33" fmla="*/ 1791005 h 4686300"/>
                <a:gd name="connsiteX34" fmla="*/ 1200493 w 4072299"/>
                <a:gd name="connsiteY34" fmla="*/ 1791005 h 4686300"/>
                <a:gd name="connsiteX35" fmla="*/ 1152868 w 4072299"/>
                <a:gd name="connsiteY35" fmla="*/ 1838630 h 4686300"/>
                <a:gd name="connsiteX36" fmla="*/ 1152868 w 4072299"/>
                <a:gd name="connsiteY36" fmla="*/ 2448878 h 4686300"/>
                <a:gd name="connsiteX37" fmla="*/ 1200493 w 4072299"/>
                <a:gd name="connsiteY37" fmla="*/ 2496503 h 4686300"/>
                <a:gd name="connsiteX38" fmla="*/ 1683401 w 4072299"/>
                <a:gd name="connsiteY38" fmla="*/ 2496503 h 4686300"/>
                <a:gd name="connsiteX39" fmla="*/ 1683401 w 4072299"/>
                <a:gd name="connsiteY39" fmla="*/ 2979411 h 4686300"/>
                <a:gd name="connsiteX40" fmla="*/ 1731026 w 4072299"/>
                <a:gd name="connsiteY40" fmla="*/ 3027036 h 4686300"/>
                <a:gd name="connsiteX41" fmla="*/ 2341283 w 4072299"/>
                <a:gd name="connsiteY41" fmla="*/ 3027036 h 4686300"/>
                <a:gd name="connsiteX42" fmla="*/ 2388908 w 4072299"/>
                <a:gd name="connsiteY42" fmla="*/ 2979411 h 4686300"/>
                <a:gd name="connsiteX43" fmla="*/ 2388908 w 4072299"/>
                <a:gd name="connsiteY43" fmla="*/ 2496503 h 4686300"/>
                <a:gd name="connsiteX44" fmla="*/ 2871807 w 4072299"/>
                <a:gd name="connsiteY44" fmla="*/ 2496503 h 4686300"/>
                <a:gd name="connsiteX45" fmla="*/ 2919432 w 4072299"/>
                <a:gd name="connsiteY45" fmla="*/ 2448878 h 4686300"/>
                <a:gd name="connsiteX46" fmla="*/ 2919432 w 4072299"/>
                <a:gd name="connsiteY46" fmla="*/ 1838630 h 4686300"/>
                <a:gd name="connsiteX47" fmla="*/ 2871807 w 4072299"/>
                <a:gd name="connsiteY47" fmla="*/ 1791005 h 4686300"/>
                <a:gd name="connsiteX48" fmla="*/ 2388908 w 4072299"/>
                <a:gd name="connsiteY48" fmla="*/ 1791005 h 4686300"/>
                <a:gd name="connsiteX49" fmla="*/ 2388908 w 4072299"/>
                <a:gd name="connsiteY49" fmla="*/ 1308097 h 4686300"/>
                <a:gd name="connsiteX50" fmla="*/ 2341283 w 4072299"/>
                <a:gd name="connsiteY50"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476241 w 4072299"/>
                <a:gd name="connsiteY20" fmla="*/ 966968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3596050 w 4072299"/>
                <a:gd name="connsiteY26" fmla="*/ 966968 h 4686300"/>
                <a:gd name="connsiteX27" fmla="*/ 2485206 w 4072299"/>
                <a:gd name="connsiteY27" fmla="*/ 476250 h 4686300"/>
                <a:gd name="connsiteX28" fmla="*/ 476241 w 4072299"/>
                <a:gd name="connsiteY28" fmla="*/ 966968 h 4686300"/>
                <a:gd name="connsiteX29" fmla="*/ 2341283 w 4072299"/>
                <a:gd name="connsiteY29" fmla="*/ 1260472 h 4686300"/>
                <a:gd name="connsiteX30" fmla="*/ 1731026 w 4072299"/>
                <a:gd name="connsiteY30" fmla="*/ 1260472 h 4686300"/>
                <a:gd name="connsiteX31" fmla="*/ 1683401 w 4072299"/>
                <a:gd name="connsiteY31" fmla="*/ 1308097 h 4686300"/>
                <a:gd name="connsiteX32" fmla="*/ 1683401 w 4072299"/>
                <a:gd name="connsiteY32" fmla="*/ 1791005 h 4686300"/>
                <a:gd name="connsiteX33" fmla="*/ 1200493 w 4072299"/>
                <a:gd name="connsiteY33" fmla="*/ 1791005 h 4686300"/>
                <a:gd name="connsiteX34" fmla="*/ 1152868 w 4072299"/>
                <a:gd name="connsiteY34" fmla="*/ 1838630 h 4686300"/>
                <a:gd name="connsiteX35" fmla="*/ 1152868 w 4072299"/>
                <a:gd name="connsiteY35" fmla="*/ 2448878 h 4686300"/>
                <a:gd name="connsiteX36" fmla="*/ 1200493 w 4072299"/>
                <a:gd name="connsiteY36" fmla="*/ 2496503 h 4686300"/>
                <a:gd name="connsiteX37" fmla="*/ 1683401 w 4072299"/>
                <a:gd name="connsiteY37" fmla="*/ 2496503 h 4686300"/>
                <a:gd name="connsiteX38" fmla="*/ 1683401 w 4072299"/>
                <a:gd name="connsiteY38" fmla="*/ 2979411 h 4686300"/>
                <a:gd name="connsiteX39" fmla="*/ 1731026 w 4072299"/>
                <a:gd name="connsiteY39" fmla="*/ 3027036 h 4686300"/>
                <a:gd name="connsiteX40" fmla="*/ 2341283 w 4072299"/>
                <a:gd name="connsiteY40" fmla="*/ 3027036 h 4686300"/>
                <a:gd name="connsiteX41" fmla="*/ 2388908 w 4072299"/>
                <a:gd name="connsiteY41" fmla="*/ 2979411 h 4686300"/>
                <a:gd name="connsiteX42" fmla="*/ 2388908 w 4072299"/>
                <a:gd name="connsiteY42" fmla="*/ 2496503 h 4686300"/>
                <a:gd name="connsiteX43" fmla="*/ 2871807 w 4072299"/>
                <a:gd name="connsiteY43" fmla="*/ 2496503 h 4686300"/>
                <a:gd name="connsiteX44" fmla="*/ 2919432 w 4072299"/>
                <a:gd name="connsiteY44" fmla="*/ 2448878 h 4686300"/>
                <a:gd name="connsiteX45" fmla="*/ 2919432 w 4072299"/>
                <a:gd name="connsiteY45" fmla="*/ 1838630 h 4686300"/>
                <a:gd name="connsiteX46" fmla="*/ 2871807 w 4072299"/>
                <a:gd name="connsiteY46" fmla="*/ 1791005 h 4686300"/>
                <a:gd name="connsiteX47" fmla="*/ 2388908 w 4072299"/>
                <a:gd name="connsiteY47" fmla="*/ 1791005 h 4686300"/>
                <a:gd name="connsiteX48" fmla="*/ 2388908 w 4072299"/>
                <a:gd name="connsiteY48" fmla="*/ 1308097 h 4686300"/>
                <a:gd name="connsiteX49" fmla="*/ 2341283 w 4072299"/>
                <a:gd name="connsiteY49"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476241 w 4072299"/>
                <a:gd name="connsiteY20" fmla="*/ 966968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3596050 w 4072299"/>
                <a:gd name="connsiteY26" fmla="*/ 966968 h 4686300"/>
                <a:gd name="connsiteX27" fmla="*/ 476241 w 4072299"/>
                <a:gd name="connsiteY27" fmla="*/ 966968 h 4686300"/>
                <a:gd name="connsiteX28" fmla="*/ 2341283 w 4072299"/>
                <a:gd name="connsiteY28" fmla="*/ 1260472 h 4686300"/>
                <a:gd name="connsiteX29" fmla="*/ 1731026 w 4072299"/>
                <a:gd name="connsiteY29" fmla="*/ 1260472 h 4686300"/>
                <a:gd name="connsiteX30" fmla="*/ 1683401 w 4072299"/>
                <a:gd name="connsiteY30" fmla="*/ 1308097 h 4686300"/>
                <a:gd name="connsiteX31" fmla="*/ 1683401 w 4072299"/>
                <a:gd name="connsiteY31" fmla="*/ 1791005 h 4686300"/>
                <a:gd name="connsiteX32" fmla="*/ 1200493 w 4072299"/>
                <a:gd name="connsiteY32" fmla="*/ 1791005 h 4686300"/>
                <a:gd name="connsiteX33" fmla="*/ 1152868 w 4072299"/>
                <a:gd name="connsiteY33" fmla="*/ 1838630 h 4686300"/>
                <a:gd name="connsiteX34" fmla="*/ 1152868 w 4072299"/>
                <a:gd name="connsiteY34" fmla="*/ 2448878 h 4686300"/>
                <a:gd name="connsiteX35" fmla="*/ 1200493 w 4072299"/>
                <a:gd name="connsiteY35" fmla="*/ 2496503 h 4686300"/>
                <a:gd name="connsiteX36" fmla="*/ 1683401 w 4072299"/>
                <a:gd name="connsiteY36" fmla="*/ 2496503 h 4686300"/>
                <a:gd name="connsiteX37" fmla="*/ 1683401 w 4072299"/>
                <a:gd name="connsiteY37" fmla="*/ 2979411 h 4686300"/>
                <a:gd name="connsiteX38" fmla="*/ 1731026 w 4072299"/>
                <a:gd name="connsiteY38" fmla="*/ 3027036 h 4686300"/>
                <a:gd name="connsiteX39" fmla="*/ 2341283 w 4072299"/>
                <a:gd name="connsiteY39" fmla="*/ 3027036 h 4686300"/>
                <a:gd name="connsiteX40" fmla="*/ 2388908 w 4072299"/>
                <a:gd name="connsiteY40" fmla="*/ 2979411 h 4686300"/>
                <a:gd name="connsiteX41" fmla="*/ 2388908 w 4072299"/>
                <a:gd name="connsiteY41" fmla="*/ 2496503 h 4686300"/>
                <a:gd name="connsiteX42" fmla="*/ 2871807 w 4072299"/>
                <a:gd name="connsiteY42" fmla="*/ 2496503 h 4686300"/>
                <a:gd name="connsiteX43" fmla="*/ 2919432 w 4072299"/>
                <a:gd name="connsiteY43" fmla="*/ 2448878 h 4686300"/>
                <a:gd name="connsiteX44" fmla="*/ 2919432 w 4072299"/>
                <a:gd name="connsiteY44" fmla="*/ 1838630 h 4686300"/>
                <a:gd name="connsiteX45" fmla="*/ 2871807 w 4072299"/>
                <a:gd name="connsiteY45" fmla="*/ 1791005 h 4686300"/>
                <a:gd name="connsiteX46" fmla="*/ 2388908 w 4072299"/>
                <a:gd name="connsiteY46" fmla="*/ 1791005 h 4686300"/>
                <a:gd name="connsiteX47" fmla="*/ 2388908 w 4072299"/>
                <a:gd name="connsiteY47" fmla="*/ 1308097 h 4686300"/>
                <a:gd name="connsiteX48" fmla="*/ 2341283 w 4072299"/>
                <a:gd name="connsiteY48"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476241 w 4072299"/>
                <a:gd name="connsiteY20" fmla="*/ 966968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476241 w 4072299"/>
                <a:gd name="connsiteY26" fmla="*/ 966968 h 4686300"/>
                <a:gd name="connsiteX27" fmla="*/ 2341283 w 4072299"/>
                <a:gd name="connsiteY27" fmla="*/ 1260472 h 4686300"/>
                <a:gd name="connsiteX28" fmla="*/ 1731026 w 4072299"/>
                <a:gd name="connsiteY28" fmla="*/ 1260472 h 4686300"/>
                <a:gd name="connsiteX29" fmla="*/ 1683401 w 4072299"/>
                <a:gd name="connsiteY29" fmla="*/ 1308097 h 4686300"/>
                <a:gd name="connsiteX30" fmla="*/ 1683401 w 4072299"/>
                <a:gd name="connsiteY30" fmla="*/ 1791005 h 4686300"/>
                <a:gd name="connsiteX31" fmla="*/ 1200493 w 4072299"/>
                <a:gd name="connsiteY31" fmla="*/ 1791005 h 4686300"/>
                <a:gd name="connsiteX32" fmla="*/ 1152868 w 4072299"/>
                <a:gd name="connsiteY32" fmla="*/ 1838630 h 4686300"/>
                <a:gd name="connsiteX33" fmla="*/ 1152868 w 4072299"/>
                <a:gd name="connsiteY33" fmla="*/ 2448878 h 4686300"/>
                <a:gd name="connsiteX34" fmla="*/ 1200493 w 4072299"/>
                <a:gd name="connsiteY34" fmla="*/ 2496503 h 4686300"/>
                <a:gd name="connsiteX35" fmla="*/ 1683401 w 4072299"/>
                <a:gd name="connsiteY35" fmla="*/ 2496503 h 4686300"/>
                <a:gd name="connsiteX36" fmla="*/ 1683401 w 4072299"/>
                <a:gd name="connsiteY36" fmla="*/ 2979411 h 4686300"/>
                <a:gd name="connsiteX37" fmla="*/ 1731026 w 4072299"/>
                <a:gd name="connsiteY37" fmla="*/ 3027036 h 4686300"/>
                <a:gd name="connsiteX38" fmla="*/ 2341283 w 4072299"/>
                <a:gd name="connsiteY38" fmla="*/ 3027036 h 4686300"/>
                <a:gd name="connsiteX39" fmla="*/ 2388908 w 4072299"/>
                <a:gd name="connsiteY39" fmla="*/ 2979411 h 4686300"/>
                <a:gd name="connsiteX40" fmla="*/ 2388908 w 4072299"/>
                <a:gd name="connsiteY40" fmla="*/ 2496503 h 4686300"/>
                <a:gd name="connsiteX41" fmla="*/ 2871807 w 4072299"/>
                <a:gd name="connsiteY41" fmla="*/ 2496503 h 4686300"/>
                <a:gd name="connsiteX42" fmla="*/ 2919432 w 4072299"/>
                <a:gd name="connsiteY42" fmla="*/ 2448878 h 4686300"/>
                <a:gd name="connsiteX43" fmla="*/ 2919432 w 4072299"/>
                <a:gd name="connsiteY43" fmla="*/ 1838630 h 4686300"/>
                <a:gd name="connsiteX44" fmla="*/ 2871807 w 4072299"/>
                <a:gd name="connsiteY44" fmla="*/ 1791005 h 4686300"/>
                <a:gd name="connsiteX45" fmla="*/ 2388908 w 4072299"/>
                <a:gd name="connsiteY45" fmla="*/ 1791005 h 4686300"/>
                <a:gd name="connsiteX46" fmla="*/ 2388908 w 4072299"/>
                <a:gd name="connsiteY46" fmla="*/ 1308097 h 4686300"/>
                <a:gd name="connsiteX47" fmla="*/ 2341283 w 4072299"/>
                <a:gd name="connsiteY47"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3596050 w 4072299"/>
                <a:gd name="connsiteY20" fmla="*/ 2340531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2341283 w 4072299"/>
                <a:gd name="connsiteY26" fmla="*/ 1260472 h 4686300"/>
                <a:gd name="connsiteX27" fmla="*/ 1731026 w 4072299"/>
                <a:gd name="connsiteY27" fmla="*/ 1260472 h 4686300"/>
                <a:gd name="connsiteX28" fmla="*/ 1683401 w 4072299"/>
                <a:gd name="connsiteY28" fmla="*/ 1308097 h 4686300"/>
                <a:gd name="connsiteX29" fmla="*/ 1683401 w 4072299"/>
                <a:gd name="connsiteY29" fmla="*/ 1791005 h 4686300"/>
                <a:gd name="connsiteX30" fmla="*/ 1200493 w 4072299"/>
                <a:gd name="connsiteY30" fmla="*/ 1791005 h 4686300"/>
                <a:gd name="connsiteX31" fmla="*/ 1152868 w 4072299"/>
                <a:gd name="connsiteY31" fmla="*/ 1838630 h 4686300"/>
                <a:gd name="connsiteX32" fmla="*/ 1152868 w 4072299"/>
                <a:gd name="connsiteY32" fmla="*/ 2448878 h 4686300"/>
                <a:gd name="connsiteX33" fmla="*/ 1200493 w 4072299"/>
                <a:gd name="connsiteY33" fmla="*/ 2496503 h 4686300"/>
                <a:gd name="connsiteX34" fmla="*/ 1683401 w 4072299"/>
                <a:gd name="connsiteY34" fmla="*/ 2496503 h 4686300"/>
                <a:gd name="connsiteX35" fmla="*/ 1683401 w 4072299"/>
                <a:gd name="connsiteY35" fmla="*/ 2979411 h 4686300"/>
                <a:gd name="connsiteX36" fmla="*/ 1731026 w 4072299"/>
                <a:gd name="connsiteY36" fmla="*/ 3027036 h 4686300"/>
                <a:gd name="connsiteX37" fmla="*/ 2341283 w 4072299"/>
                <a:gd name="connsiteY37" fmla="*/ 3027036 h 4686300"/>
                <a:gd name="connsiteX38" fmla="*/ 2388908 w 4072299"/>
                <a:gd name="connsiteY38" fmla="*/ 2979411 h 4686300"/>
                <a:gd name="connsiteX39" fmla="*/ 2388908 w 4072299"/>
                <a:gd name="connsiteY39" fmla="*/ 2496503 h 4686300"/>
                <a:gd name="connsiteX40" fmla="*/ 2871807 w 4072299"/>
                <a:gd name="connsiteY40" fmla="*/ 2496503 h 4686300"/>
                <a:gd name="connsiteX41" fmla="*/ 2919432 w 4072299"/>
                <a:gd name="connsiteY41" fmla="*/ 2448878 h 4686300"/>
                <a:gd name="connsiteX42" fmla="*/ 2919432 w 4072299"/>
                <a:gd name="connsiteY42" fmla="*/ 1838630 h 4686300"/>
                <a:gd name="connsiteX43" fmla="*/ 2871807 w 4072299"/>
                <a:gd name="connsiteY43" fmla="*/ 1791005 h 4686300"/>
                <a:gd name="connsiteX44" fmla="*/ 2388908 w 4072299"/>
                <a:gd name="connsiteY44" fmla="*/ 1791005 h 4686300"/>
                <a:gd name="connsiteX45" fmla="*/ 2388908 w 4072299"/>
                <a:gd name="connsiteY45" fmla="*/ 1308097 h 4686300"/>
                <a:gd name="connsiteX46" fmla="*/ 2341283 w 4072299"/>
                <a:gd name="connsiteY46"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3596050 w 4072299"/>
                <a:gd name="connsiteY20" fmla="*/ 2340531 h 4686300"/>
                <a:gd name="connsiteX21" fmla="*/ 521265 w 4072299"/>
                <a:gd name="connsiteY21" fmla="*/ 2675039 h 4686300"/>
                <a:gd name="connsiteX22" fmla="*/ 2035874 w 4072299"/>
                <a:gd name="connsiteY22" fmla="*/ 4188181 h 4686300"/>
                <a:gd name="connsiteX23" fmla="*/ 3115075 w 4072299"/>
                <a:gd name="connsiteY23" fmla="*/ 3442573 h 4686300"/>
                <a:gd name="connsiteX24" fmla="*/ 3596050 w 4072299"/>
                <a:gd name="connsiteY24" fmla="*/ 2340531 h 4686300"/>
                <a:gd name="connsiteX25" fmla="*/ 2341283 w 4072299"/>
                <a:gd name="connsiteY25" fmla="*/ 1260472 h 4686300"/>
                <a:gd name="connsiteX26" fmla="*/ 1731026 w 4072299"/>
                <a:gd name="connsiteY26" fmla="*/ 1260472 h 4686300"/>
                <a:gd name="connsiteX27" fmla="*/ 1683401 w 4072299"/>
                <a:gd name="connsiteY27" fmla="*/ 1308097 h 4686300"/>
                <a:gd name="connsiteX28" fmla="*/ 1683401 w 4072299"/>
                <a:gd name="connsiteY28" fmla="*/ 1791005 h 4686300"/>
                <a:gd name="connsiteX29" fmla="*/ 1200493 w 4072299"/>
                <a:gd name="connsiteY29" fmla="*/ 1791005 h 4686300"/>
                <a:gd name="connsiteX30" fmla="*/ 1152868 w 4072299"/>
                <a:gd name="connsiteY30" fmla="*/ 1838630 h 4686300"/>
                <a:gd name="connsiteX31" fmla="*/ 1152868 w 4072299"/>
                <a:gd name="connsiteY31" fmla="*/ 2448878 h 4686300"/>
                <a:gd name="connsiteX32" fmla="*/ 1200493 w 4072299"/>
                <a:gd name="connsiteY32" fmla="*/ 2496503 h 4686300"/>
                <a:gd name="connsiteX33" fmla="*/ 1683401 w 4072299"/>
                <a:gd name="connsiteY33" fmla="*/ 2496503 h 4686300"/>
                <a:gd name="connsiteX34" fmla="*/ 1683401 w 4072299"/>
                <a:gd name="connsiteY34" fmla="*/ 2979411 h 4686300"/>
                <a:gd name="connsiteX35" fmla="*/ 1731026 w 4072299"/>
                <a:gd name="connsiteY35" fmla="*/ 3027036 h 4686300"/>
                <a:gd name="connsiteX36" fmla="*/ 2341283 w 4072299"/>
                <a:gd name="connsiteY36" fmla="*/ 3027036 h 4686300"/>
                <a:gd name="connsiteX37" fmla="*/ 2388908 w 4072299"/>
                <a:gd name="connsiteY37" fmla="*/ 2979411 h 4686300"/>
                <a:gd name="connsiteX38" fmla="*/ 2388908 w 4072299"/>
                <a:gd name="connsiteY38" fmla="*/ 2496503 h 4686300"/>
                <a:gd name="connsiteX39" fmla="*/ 2871807 w 4072299"/>
                <a:gd name="connsiteY39" fmla="*/ 2496503 h 4686300"/>
                <a:gd name="connsiteX40" fmla="*/ 2919432 w 4072299"/>
                <a:gd name="connsiteY40" fmla="*/ 2448878 h 4686300"/>
                <a:gd name="connsiteX41" fmla="*/ 2919432 w 4072299"/>
                <a:gd name="connsiteY41" fmla="*/ 1838630 h 4686300"/>
                <a:gd name="connsiteX42" fmla="*/ 2871807 w 4072299"/>
                <a:gd name="connsiteY42" fmla="*/ 1791005 h 4686300"/>
                <a:gd name="connsiteX43" fmla="*/ 2388908 w 4072299"/>
                <a:gd name="connsiteY43" fmla="*/ 1791005 h 4686300"/>
                <a:gd name="connsiteX44" fmla="*/ 2388908 w 4072299"/>
                <a:gd name="connsiteY44" fmla="*/ 1308097 h 4686300"/>
                <a:gd name="connsiteX45" fmla="*/ 2341283 w 4072299"/>
                <a:gd name="connsiteY45"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3596050 w 4072299"/>
                <a:gd name="connsiteY20" fmla="*/ 2340531 h 4686300"/>
                <a:gd name="connsiteX21" fmla="*/ 2035874 w 4072299"/>
                <a:gd name="connsiteY21" fmla="*/ 4188181 h 4686300"/>
                <a:gd name="connsiteX22" fmla="*/ 3115075 w 4072299"/>
                <a:gd name="connsiteY22" fmla="*/ 3442573 h 4686300"/>
                <a:gd name="connsiteX23" fmla="*/ 3596050 w 4072299"/>
                <a:gd name="connsiteY23" fmla="*/ 2340531 h 4686300"/>
                <a:gd name="connsiteX24" fmla="*/ 2341283 w 4072299"/>
                <a:gd name="connsiteY24" fmla="*/ 1260472 h 4686300"/>
                <a:gd name="connsiteX25" fmla="*/ 1731026 w 4072299"/>
                <a:gd name="connsiteY25" fmla="*/ 1260472 h 4686300"/>
                <a:gd name="connsiteX26" fmla="*/ 1683401 w 4072299"/>
                <a:gd name="connsiteY26" fmla="*/ 1308097 h 4686300"/>
                <a:gd name="connsiteX27" fmla="*/ 1683401 w 4072299"/>
                <a:gd name="connsiteY27" fmla="*/ 1791005 h 4686300"/>
                <a:gd name="connsiteX28" fmla="*/ 1200493 w 4072299"/>
                <a:gd name="connsiteY28" fmla="*/ 1791005 h 4686300"/>
                <a:gd name="connsiteX29" fmla="*/ 1152868 w 4072299"/>
                <a:gd name="connsiteY29" fmla="*/ 1838630 h 4686300"/>
                <a:gd name="connsiteX30" fmla="*/ 1152868 w 4072299"/>
                <a:gd name="connsiteY30" fmla="*/ 2448878 h 4686300"/>
                <a:gd name="connsiteX31" fmla="*/ 1200493 w 4072299"/>
                <a:gd name="connsiteY31" fmla="*/ 2496503 h 4686300"/>
                <a:gd name="connsiteX32" fmla="*/ 1683401 w 4072299"/>
                <a:gd name="connsiteY32" fmla="*/ 2496503 h 4686300"/>
                <a:gd name="connsiteX33" fmla="*/ 1683401 w 4072299"/>
                <a:gd name="connsiteY33" fmla="*/ 2979411 h 4686300"/>
                <a:gd name="connsiteX34" fmla="*/ 1731026 w 4072299"/>
                <a:gd name="connsiteY34" fmla="*/ 3027036 h 4686300"/>
                <a:gd name="connsiteX35" fmla="*/ 2341283 w 4072299"/>
                <a:gd name="connsiteY35" fmla="*/ 3027036 h 4686300"/>
                <a:gd name="connsiteX36" fmla="*/ 2388908 w 4072299"/>
                <a:gd name="connsiteY36" fmla="*/ 2979411 h 4686300"/>
                <a:gd name="connsiteX37" fmla="*/ 2388908 w 4072299"/>
                <a:gd name="connsiteY37" fmla="*/ 2496503 h 4686300"/>
                <a:gd name="connsiteX38" fmla="*/ 2871807 w 4072299"/>
                <a:gd name="connsiteY38" fmla="*/ 2496503 h 4686300"/>
                <a:gd name="connsiteX39" fmla="*/ 2919432 w 4072299"/>
                <a:gd name="connsiteY39" fmla="*/ 2448878 h 4686300"/>
                <a:gd name="connsiteX40" fmla="*/ 2919432 w 4072299"/>
                <a:gd name="connsiteY40" fmla="*/ 1838630 h 4686300"/>
                <a:gd name="connsiteX41" fmla="*/ 2871807 w 4072299"/>
                <a:gd name="connsiteY41" fmla="*/ 1791005 h 4686300"/>
                <a:gd name="connsiteX42" fmla="*/ 2388908 w 4072299"/>
                <a:gd name="connsiteY42" fmla="*/ 1791005 h 4686300"/>
                <a:gd name="connsiteX43" fmla="*/ 2388908 w 4072299"/>
                <a:gd name="connsiteY43" fmla="*/ 1308097 h 4686300"/>
                <a:gd name="connsiteX44" fmla="*/ 2341283 w 4072299"/>
                <a:gd name="connsiteY44"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3596050 w 4072299"/>
                <a:gd name="connsiteY20" fmla="*/ 2340531 h 4686300"/>
                <a:gd name="connsiteX21" fmla="*/ 3115075 w 4072299"/>
                <a:gd name="connsiteY21" fmla="*/ 3442573 h 4686300"/>
                <a:gd name="connsiteX22" fmla="*/ 3596050 w 4072299"/>
                <a:gd name="connsiteY22" fmla="*/ 2340531 h 4686300"/>
                <a:gd name="connsiteX23" fmla="*/ 2341283 w 4072299"/>
                <a:gd name="connsiteY23" fmla="*/ 1260472 h 4686300"/>
                <a:gd name="connsiteX24" fmla="*/ 1731026 w 4072299"/>
                <a:gd name="connsiteY24" fmla="*/ 1260472 h 4686300"/>
                <a:gd name="connsiteX25" fmla="*/ 1683401 w 4072299"/>
                <a:gd name="connsiteY25" fmla="*/ 1308097 h 4686300"/>
                <a:gd name="connsiteX26" fmla="*/ 1683401 w 4072299"/>
                <a:gd name="connsiteY26" fmla="*/ 1791005 h 4686300"/>
                <a:gd name="connsiteX27" fmla="*/ 1200493 w 4072299"/>
                <a:gd name="connsiteY27" fmla="*/ 1791005 h 4686300"/>
                <a:gd name="connsiteX28" fmla="*/ 1152868 w 4072299"/>
                <a:gd name="connsiteY28" fmla="*/ 1838630 h 4686300"/>
                <a:gd name="connsiteX29" fmla="*/ 1152868 w 4072299"/>
                <a:gd name="connsiteY29" fmla="*/ 2448878 h 4686300"/>
                <a:gd name="connsiteX30" fmla="*/ 1200493 w 4072299"/>
                <a:gd name="connsiteY30" fmla="*/ 2496503 h 4686300"/>
                <a:gd name="connsiteX31" fmla="*/ 1683401 w 4072299"/>
                <a:gd name="connsiteY31" fmla="*/ 2496503 h 4686300"/>
                <a:gd name="connsiteX32" fmla="*/ 1683401 w 4072299"/>
                <a:gd name="connsiteY32" fmla="*/ 2979411 h 4686300"/>
                <a:gd name="connsiteX33" fmla="*/ 1731026 w 4072299"/>
                <a:gd name="connsiteY33" fmla="*/ 3027036 h 4686300"/>
                <a:gd name="connsiteX34" fmla="*/ 2341283 w 4072299"/>
                <a:gd name="connsiteY34" fmla="*/ 3027036 h 4686300"/>
                <a:gd name="connsiteX35" fmla="*/ 2388908 w 4072299"/>
                <a:gd name="connsiteY35" fmla="*/ 2979411 h 4686300"/>
                <a:gd name="connsiteX36" fmla="*/ 2388908 w 4072299"/>
                <a:gd name="connsiteY36" fmla="*/ 2496503 h 4686300"/>
                <a:gd name="connsiteX37" fmla="*/ 2871807 w 4072299"/>
                <a:gd name="connsiteY37" fmla="*/ 2496503 h 4686300"/>
                <a:gd name="connsiteX38" fmla="*/ 2919432 w 4072299"/>
                <a:gd name="connsiteY38" fmla="*/ 2448878 h 4686300"/>
                <a:gd name="connsiteX39" fmla="*/ 2919432 w 4072299"/>
                <a:gd name="connsiteY39" fmla="*/ 1838630 h 4686300"/>
                <a:gd name="connsiteX40" fmla="*/ 2871807 w 4072299"/>
                <a:gd name="connsiteY40" fmla="*/ 1791005 h 4686300"/>
                <a:gd name="connsiteX41" fmla="*/ 2388908 w 4072299"/>
                <a:gd name="connsiteY41" fmla="*/ 1791005 h 4686300"/>
                <a:gd name="connsiteX42" fmla="*/ 2388908 w 4072299"/>
                <a:gd name="connsiteY42" fmla="*/ 1308097 h 4686300"/>
                <a:gd name="connsiteX43" fmla="*/ 2341283 w 4072299"/>
                <a:gd name="connsiteY43"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41283 w 4072299"/>
                <a:gd name="connsiteY20" fmla="*/ 1260472 h 4686300"/>
                <a:gd name="connsiteX21" fmla="*/ 1731026 w 4072299"/>
                <a:gd name="connsiteY21" fmla="*/ 1260472 h 4686300"/>
                <a:gd name="connsiteX22" fmla="*/ 1683401 w 4072299"/>
                <a:gd name="connsiteY22" fmla="*/ 1308097 h 4686300"/>
                <a:gd name="connsiteX23" fmla="*/ 1683401 w 4072299"/>
                <a:gd name="connsiteY23" fmla="*/ 1791005 h 4686300"/>
                <a:gd name="connsiteX24" fmla="*/ 1200493 w 4072299"/>
                <a:gd name="connsiteY24" fmla="*/ 1791005 h 4686300"/>
                <a:gd name="connsiteX25" fmla="*/ 1152868 w 4072299"/>
                <a:gd name="connsiteY25" fmla="*/ 1838630 h 4686300"/>
                <a:gd name="connsiteX26" fmla="*/ 1152868 w 4072299"/>
                <a:gd name="connsiteY26" fmla="*/ 2448878 h 4686300"/>
                <a:gd name="connsiteX27" fmla="*/ 1200493 w 4072299"/>
                <a:gd name="connsiteY27" fmla="*/ 2496503 h 4686300"/>
                <a:gd name="connsiteX28" fmla="*/ 1683401 w 4072299"/>
                <a:gd name="connsiteY28" fmla="*/ 2496503 h 4686300"/>
                <a:gd name="connsiteX29" fmla="*/ 1683401 w 4072299"/>
                <a:gd name="connsiteY29" fmla="*/ 2979411 h 4686300"/>
                <a:gd name="connsiteX30" fmla="*/ 1731026 w 4072299"/>
                <a:gd name="connsiteY30" fmla="*/ 3027036 h 4686300"/>
                <a:gd name="connsiteX31" fmla="*/ 2341283 w 4072299"/>
                <a:gd name="connsiteY31" fmla="*/ 3027036 h 4686300"/>
                <a:gd name="connsiteX32" fmla="*/ 2388908 w 4072299"/>
                <a:gd name="connsiteY32" fmla="*/ 2979411 h 4686300"/>
                <a:gd name="connsiteX33" fmla="*/ 2388908 w 4072299"/>
                <a:gd name="connsiteY33" fmla="*/ 2496503 h 4686300"/>
                <a:gd name="connsiteX34" fmla="*/ 2871807 w 4072299"/>
                <a:gd name="connsiteY34" fmla="*/ 2496503 h 4686300"/>
                <a:gd name="connsiteX35" fmla="*/ 2919432 w 4072299"/>
                <a:gd name="connsiteY35" fmla="*/ 2448878 h 4686300"/>
                <a:gd name="connsiteX36" fmla="*/ 2919432 w 4072299"/>
                <a:gd name="connsiteY36" fmla="*/ 1838630 h 4686300"/>
                <a:gd name="connsiteX37" fmla="*/ 2871807 w 4072299"/>
                <a:gd name="connsiteY37" fmla="*/ 1791005 h 4686300"/>
                <a:gd name="connsiteX38" fmla="*/ 2388908 w 4072299"/>
                <a:gd name="connsiteY38" fmla="*/ 1791005 h 4686300"/>
                <a:gd name="connsiteX39" fmla="*/ 2388908 w 4072299"/>
                <a:gd name="connsiteY39" fmla="*/ 1308097 h 4686300"/>
                <a:gd name="connsiteX40" fmla="*/ 2341283 w 4072299"/>
                <a:gd name="connsiteY40"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1308097 h 4686300"/>
                <a:gd name="connsiteX21" fmla="*/ 1731026 w 4072299"/>
                <a:gd name="connsiteY21" fmla="*/ 1260472 h 4686300"/>
                <a:gd name="connsiteX22" fmla="*/ 1683401 w 4072299"/>
                <a:gd name="connsiteY22" fmla="*/ 1308097 h 4686300"/>
                <a:gd name="connsiteX23" fmla="*/ 1683401 w 4072299"/>
                <a:gd name="connsiteY23" fmla="*/ 1791005 h 4686300"/>
                <a:gd name="connsiteX24" fmla="*/ 1200493 w 4072299"/>
                <a:gd name="connsiteY24" fmla="*/ 1791005 h 4686300"/>
                <a:gd name="connsiteX25" fmla="*/ 1152868 w 4072299"/>
                <a:gd name="connsiteY25" fmla="*/ 1838630 h 4686300"/>
                <a:gd name="connsiteX26" fmla="*/ 1152868 w 4072299"/>
                <a:gd name="connsiteY26" fmla="*/ 2448878 h 4686300"/>
                <a:gd name="connsiteX27" fmla="*/ 1200493 w 4072299"/>
                <a:gd name="connsiteY27" fmla="*/ 2496503 h 4686300"/>
                <a:gd name="connsiteX28" fmla="*/ 1683401 w 4072299"/>
                <a:gd name="connsiteY28" fmla="*/ 2496503 h 4686300"/>
                <a:gd name="connsiteX29" fmla="*/ 1683401 w 4072299"/>
                <a:gd name="connsiteY29" fmla="*/ 2979411 h 4686300"/>
                <a:gd name="connsiteX30" fmla="*/ 1731026 w 4072299"/>
                <a:gd name="connsiteY30" fmla="*/ 3027036 h 4686300"/>
                <a:gd name="connsiteX31" fmla="*/ 2341283 w 4072299"/>
                <a:gd name="connsiteY31" fmla="*/ 3027036 h 4686300"/>
                <a:gd name="connsiteX32" fmla="*/ 2388908 w 4072299"/>
                <a:gd name="connsiteY32" fmla="*/ 2979411 h 4686300"/>
                <a:gd name="connsiteX33" fmla="*/ 2388908 w 4072299"/>
                <a:gd name="connsiteY33" fmla="*/ 2496503 h 4686300"/>
                <a:gd name="connsiteX34" fmla="*/ 2871807 w 4072299"/>
                <a:gd name="connsiteY34" fmla="*/ 2496503 h 4686300"/>
                <a:gd name="connsiteX35" fmla="*/ 2919432 w 4072299"/>
                <a:gd name="connsiteY35" fmla="*/ 2448878 h 4686300"/>
                <a:gd name="connsiteX36" fmla="*/ 2919432 w 4072299"/>
                <a:gd name="connsiteY36" fmla="*/ 1838630 h 4686300"/>
                <a:gd name="connsiteX37" fmla="*/ 2871807 w 4072299"/>
                <a:gd name="connsiteY37" fmla="*/ 1791005 h 4686300"/>
                <a:gd name="connsiteX38" fmla="*/ 2388908 w 4072299"/>
                <a:gd name="connsiteY38" fmla="*/ 1791005 h 4686300"/>
                <a:gd name="connsiteX39" fmla="*/ 2388908 w 4072299"/>
                <a:gd name="connsiteY39" fmla="*/ 1308097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1308097 h 4686300"/>
                <a:gd name="connsiteX21" fmla="*/ 1731026 w 4072299"/>
                <a:gd name="connsiteY21" fmla="*/ 1260472 h 4686300"/>
                <a:gd name="connsiteX22" fmla="*/ 1683401 w 4072299"/>
                <a:gd name="connsiteY22" fmla="*/ 1791005 h 4686300"/>
                <a:gd name="connsiteX23" fmla="*/ 1200493 w 4072299"/>
                <a:gd name="connsiteY23" fmla="*/ 1791005 h 4686300"/>
                <a:gd name="connsiteX24" fmla="*/ 1152868 w 4072299"/>
                <a:gd name="connsiteY24" fmla="*/ 1838630 h 4686300"/>
                <a:gd name="connsiteX25" fmla="*/ 1152868 w 4072299"/>
                <a:gd name="connsiteY25" fmla="*/ 2448878 h 4686300"/>
                <a:gd name="connsiteX26" fmla="*/ 1200493 w 4072299"/>
                <a:gd name="connsiteY26" fmla="*/ 2496503 h 4686300"/>
                <a:gd name="connsiteX27" fmla="*/ 1683401 w 4072299"/>
                <a:gd name="connsiteY27" fmla="*/ 2496503 h 4686300"/>
                <a:gd name="connsiteX28" fmla="*/ 1683401 w 4072299"/>
                <a:gd name="connsiteY28" fmla="*/ 2979411 h 4686300"/>
                <a:gd name="connsiteX29" fmla="*/ 1731026 w 4072299"/>
                <a:gd name="connsiteY29" fmla="*/ 3027036 h 4686300"/>
                <a:gd name="connsiteX30" fmla="*/ 2341283 w 4072299"/>
                <a:gd name="connsiteY30" fmla="*/ 3027036 h 4686300"/>
                <a:gd name="connsiteX31" fmla="*/ 2388908 w 4072299"/>
                <a:gd name="connsiteY31" fmla="*/ 2979411 h 4686300"/>
                <a:gd name="connsiteX32" fmla="*/ 2388908 w 4072299"/>
                <a:gd name="connsiteY32" fmla="*/ 2496503 h 4686300"/>
                <a:gd name="connsiteX33" fmla="*/ 2871807 w 4072299"/>
                <a:gd name="connsiteY33" fmla="*/ 2496503 h 4686300"/>
                <a:gd name="connsiteX34" fmla="*/ 2919432 w 4072299"/>
                <a:gd name="connsiteY34" fmla="*/ 2448878 h 4686300"/>
                <a:gd name="connsiteX35" fmla="*/ 2919432 w 4072299"/>
                <a:gd name="connsiteY35" fmla="*/ 1838630 h 4686300"/>
                <a:gd name="connsiteX36" fmla="*/ 2871807 w 4072299"/>
                <a:gd name="connsiteY36" fmla="*/ 1791005 h 4686300"/>
                <a:gd name="connsiteX37" fmla="*/ 2388908 w 4072299"/>
                <a:gd name="connsiteY37" fmla="*/ 1791005 h 4686300"/>
                <a:gd name="connsiteX38" fmla="*/ 2388908 w 4072299"/>
                <a:gd name="connsiteY38" fmla="*/ 1308097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1791005 h 4686300"/>
                <a:gd name="connsiteX21" fmla="*/ 1731026 w 4072299"/>
                <a:gd name="connsiteY21" fmla="*/ 1260472 h 4686300"/>
                <a:gd name="connsiteX22" fmla="*/ 1683401 w 4072299"/>
                <a:gd name="connsiteY22" fmla="*/ 1791005 h 4686300"/>
                <a:gd name="connsiteX23" fmla="*/ 1200493 w 4072299"/>
                <a:gd name="connsiteY23" fmla="*/ 1791005 h 4686300"/>
                <a:gd name="connsiteX24" fmla="*/ 1152868 w 4072299"/>
                <a:gd name="connsiteY24" fmla="*/ 1838630 h 4686300"/>
                <a:gd name="connsiteX25" fmla="*/ 1152868 w 4072299"/>
                <a:gd name="connsiteY25" fmla="*/ 2448878 h 4686300"/>
                <a:gd name="connsiteX26" fmla="*/ 1200493 w 4072299"/>
                <a:gd name="connsiteY26" fmla="*/ 2496503 h 4686300"/>
                <a:gd name="connsiteX27" fmla="*/ 1683401 w 4072299"/>
                <a:gd name="connsiteY27" fmla="*/ 2496503 h 4686300"/>
                <a:gd name="connsiteX28" fmla="*/ 1683401 w 4072299"/>
                <a:gd name="connsiteY28" fmla="*/ 2979411 h 4686300"/>
                <a:gd name="connsiteX29" fmla="*/ 1731026 w 4072299"/>
                <a:gd name="connsiteY29" fmla="*/ 3027036 h 4686300"/>
                <a:gd name="connsiteX30" fmla="*/ 2341283 w 4072299"/>
                <a:gd name="connsiteY30" fmla="*/ 3027036 h 4686300"/>
                <a:gd name="connsiteX31" fmla="*/ 2388908 w 4072299"/>
                <a:gd name="connsiteY31" fmla="*/ 2979411 h 4686300"/>
                <a:gd name="connsiteX32" fmla="*/ 2388908 w 4072299"/>
                <a:gd name="connsiteY32" fmla="*/ 2496503 h 4686300"/>
                <a:gd name="connsiteX33" fmla="*/ 2871807 w 4072299"/>
                <a:gd name="connsiteY33" fmla="*/ 2496503 h 4686300"/>
                <a:gd name="connsiteX34" fmla="*/ 2919432 w 4072299"/>
                <a:gd name="connsiteY34" fmla="*/ 2448878 h 4686300"/>
                <a:gd name="connsiteX35" fmla="*/ 2919432 w 4072299"/>
                <a:gd name="connsiteY35" fmla="*/ 1838630 h 4686300"/>
                <a:gd name="connsiteX36" fmla="*/ 2871807 w 4072299"/>
                <a:gd name="connsiteY36" fmla="*/ 1791005 h 4686300"/>
                <a:gd name="connsiteX37" fmla="*/ 2388908 w 4072299"/>
                <a:gd name="connsiteY37" fmla="*/ 1791005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1791005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32" fmla="*/ 2871807 w 4072299"/>
                <a:gd name="connsiteY32" fmla="*/ 2496503 h 4686300"/>
                <a:gd name="connsiteX33" fmla="*/ 2919432 w 4072299"/>
                <a:gd name="connsiteY33" fmla="*/ 2448878 h 4686300"/>
                <a:gd name="connsiteX34" fmla="*/ 2919432 w 4072299"/>
                <a:gd name="connsiteY34" fmla="*/ 1838630 h 4686300"/>
                <a:gd name="connsiteX35" fmla="*/ 2871807 w 4072299"/>
                <a:gd name="connsiteY35" fmla="*/ 1791005 h 4686300"/>
                <a:gd name="connsiteX36" fmla="*/ 2388908 w 4072299"/>
                <a:gd name="connsiteY36" fmla="*/ 1791005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871807 w 4072299"/>
                <a:gd name="connsiteY20" fmla="*/ 1791005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32" fmla="*/ 2871807 w 4072299"/>
                <a:gd name="connsiteY32" fmla="*/ 2496503 h 4686300"/>
                <a:gd name="connsiteX33" fmla="*/ 2919432 w 4072299"/>
                <a:gd name="connsiteY33" fmla="*/ 2448878 h 4686300"/>
                <a:gd name="connsiteX34" fmla="*/ 2919432 w 4072299"/>
                <a:gd name="connsiteY34" fmla="*/ 1838630 h 4686300"/>
                <a:gd name="connsiteX35" fmla="*/ 2871807 w 4072299"/>
                <a:gd name="connsiteY35" fmla="*/ 1791005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919432 w 4072299"/>
                <a:gd name="connsiteY20" fmla="*/ 1838630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32" fmla="*/ 2871807 w 4072299"/>
                <a:gd name="connsiteY32" fmla="*/ 2496503 h 4686300"/>
                <a:gd name="connsiteX33" fmla="*/ 2919432 w 4072299"/>
                <a:gd name="connsiteY33" fmla="*/ 2448878 h 4686300"/>
                <a:gd name="connsiteX34" fmla="*/ 2919432 w 4072299"/>
                <a:gd name="connsiteY34" fmla="*/ 183863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919432 w 4072299"/>
                <a:gd name="connsiteY20" fmla="*/ 2448878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32" fmla="*/ 2871807 w 4072299"/>
                <a:gd name="connsiteY32" fmla="*/ 2496503 h 4686300"/>
                <a:gd name="connsiteX33" fmla="*/ 2919432 w 4072299"/>
                <a:gd name="connsiteY33" fmla="*/ 2448878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871807 w 4072299"/>
                <a:gd name="connsiteY20" fmla="*/ 2496503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32" fmla="*/ 2871807 w 4072299"/>
                <a:gd name="connsiteY32" fmla="*/ 2496503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2496503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2979411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41283 w 4072299"/>
                <a:gd name="connsiteY20" fmla="*/ 3027036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731026 w 4072299"/>
                <a:gd name="connsiteY20" fmla="*/ 3027036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683401 w 4072299"/>
                <a:gd name="connsiteY20" fmla="*/ 2979411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683401 w 4072299"/>
                <a:gd name="connsiteY20" fmla="*/ 2496503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683401 w 4072299"/>
                <a:gd name="connsiteY20" fmla="*/ 2496503 h 4686300"/>
                <a:gd name="connsiteX21" fmla="*/ 1200493 w 4072299"/>
                <a:gd name="connsiteY21" fmla="*/ 1791005 h 4686300"/>
                <a:gd name="connsiteX22" fmla="*/ 1152868 w 4072299"/>
                <a:gd name="connsiteY22" fmla="*/ 1838630 h 4686300"/>
                <a:gd name="connsiteX23" fmla="*/ 1152868 w 4072299"/>
                <a:gd name="connsiteY23" fmla="*/ 2448878 h 4686300"/>
                <a:gd name="connsiteX24" fmla="*/ 1200493 w 4072299"/>
                <a:gd name="connsiteY24" fmla="*/ 2496503 h 4686300"/>
                <a:gd name="connsiteX25" fmla="*/ 1683401 w 4072299"/>
                <a:gd name="connsiteY25" fmla="*/ 2496503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200493 w 4072299"/>
                <a:gd name="connsiteY20" fmla="*/ 2496503 h 4686300"/>
                <a:gd name="connsiteX21" fmla="*/ 1200493 w 4072299"/>
                <a:gd name="connsiteY21" fmla="*/ 1791005 h 4686300"/>
                <a:gd name="connsiteX22" fmla="*/ 1152868 w 4072299"/>
                <a:gd name="connsiteY22" fmla="*/ 1838630 h 4686300"/>
                <a:gd name="connsiteX23" fmla="*/ 1152868 w 4072299"/>
                <a:gd name="connsiteY23" fmla="*/ 2448878 h 4686300"/>
                <a:gd name="connsiteX24" fmla="*/ 1200493 w 4072299"/>
                <a:gd name="connsiteY24" fmla="*/ 2496503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152868 w 4072299"/>
                <a:gd name="connsiteY20" fmla="*/ 2448878 h 4686300"/>
                <a:gd name="connsiteX21" fmla="*/ 1200493 w 4072299"/>
                <a:gd name="connsiteY21" fmla="*/ 1791005 h 4686300"/>
                <a:gd name="connsiteX22" fmla="*/ 1152868 w 4072299"/>
                <a:gd name="connsiteY22" fmla="*/ 1838630 h 4686300"/>
                <a:gd name="connsiteX23" fmla="*/ 1152868 w 4072299"/>
                <a:gd name="connsiteY23" fmla="*/ 2448878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152868 w 4072299"/>
                <a:gd name="connsiteY20" fmla="*/ 2448878 h 4686300"/>
                <a:gd name="connsiteX21" fmla="*/ 1200493 w 4072299"/>
                <a:gd name="connsiteY21" fmla="*/ 1791005 h 4686300"/>
                <a:gd name="connsiteX22" fmla="*/ 1152868 w 4072299"/>
                <a:gd name="connsiteY22" fmla="*/ 2448878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285741 w 4072299"/>
                <a:gd name="connsiteY18" fmla="*/ 812159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337204 w 4072299"/>
                <a:gd name="connsiteY11" fmla="*/ 2724150 h 4686300"/>
                <a:gd name="connsiteX12" fmla="*/ 2036045 w 4072299"/>
                <a:gd name="connsiteY12" fmla="*/ 4388816 h 4686300"/>
                <a:gd name="connsiteX13" fmla="*/ 3257598 w 4072299"/>
                <a:gd name="connsiteY13" fmla="*/ 3568980 h 4686300"/>
                <a:gd name="connsiteX14" fmla="*/ 3786550 w 4072299"/>
                <a:gd name="connsiteY14" fmla="*/ 2340531 h 4686300"/>
                <a:gd name="connsiteX15" fmla="*/ 3786550 w 4072299"/>
                <a:gd name="connsiteY15" fmla="*/ 812159 h 4686300"/>
                <a:gd name="connsiteX16" fmla="*/ 2543013 w 4072299"/>
                <a:gd name="connsiteY16"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2036045 w 4072299"/>
                <a:gd name="connsiteY11" fmla="*/ 4388816 h 4686300"/>
                <a:gd name="connsiteX12" fmla="*/ 3257598 w 4072299"/>
                <a:gd name="connsiteY12" fmla="*/ 3568980 h 4686300"/>
                <a:gd name="connsiteX13" fmla="*/ 3786550 w 4072299"/>
                <a:gd name="connsiteY13" fmla="*/ 2340531 h 4686300"/>
                <a:gd name="connsiteX14" fmla="*/ 3786550 w 4072299"/>
                <a:gd name="connsiteY14" fmla="*/ 812159 h 4686300"/>
                <a:gd name="connsiteX15" fmla="*/ 2543013 w 4072299"/>
                <a:gd name="connsiteY15"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3257598 w 4072299"/>
                <a:gd name="connsiteY11" fmla="*/ 3568980 h 4686300"/>
                <a:gd name="connsiteX12" fmla="*/ 3786550 w 4072299"/>
                <a:gd name="connsiteY12" fmla="*/ 2340531 h 4686300"/>
                <a:gd name="connsiteX13" fmla="*/ 3786550 w 4072299"/>
                <a:gd name="connsiteY13" fmla="*/ 812159 h 4686300"/>
                <a:gd name="connsiteX14" fmla="*/ 2543013 w 4072299"/>
                <a:gd name="connsiteY14"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3786550 w 4072299"/>
                <a:gd name="connsiteY11" fmla="*/ 2340531 h 4686300"/>
                <a:gd name="connsiteX12" fmla="*/ 3786550 w 4072299"/>
                <a:gd name="connsiteY12" fmla="*/ 812159 h 4686300"/>
                <a:gd name="connsiteX13" fmla="*/ 2543013 w 4072299"/>
                <a:gd name="connsiteY13"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3786550 w 4072299"/>
                <a:gd name="connsiteY11" fmla="*/ 812159 h 4686300"/>
                <a:gd name="connsiteX12" fmla="*/ 2543013 w 4072299"/>
                <a:gd name="connsiteY12"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2299" h="4686300">
                  <a:moveTo>
                    <a:pt x="84296" y="553288"/>
                  </a:moveTo>
                  <a:cubicBezTo>
                    <a:pt x="618125" y="491480"/>
                    <a:pt x="1083545" y="254146"/>
                    <a:pt x="1439637" y="0"/>
                  </a:cubicBezTo>
                  <a:lnTo>
                    <a:pt x="2632653" y="0"/>
                  </a:lnTo>
                  <a:cubicBezTo>
                    <a:pt x="2988755" y="254146"/>
                    <a:pt x="3454165" y="491480"/>
                    <a:pt x="3988003" y="553288"/>
                  </a:cubicBezTo>
                  <a:cubicBezTo>
                    <a:pt x="4036286" y="558879"/>
                    <a:pt x="4072300" y="599284"/>
                    <a:pt x="4072300" y="647890"/>
                  </a:cubicBezTo>
                  <a:lnTo>
                    <a:pt x="4072300" y="2340521"/>
                  </a:lnTo>
                  <a:cubicBezTo>
                    <a:pt x="4072300" y="3488408"/>
                    <a:pt x="2906954" y="4452966"/>
                    <a:pt x="2036150" y="4686300"/>
                  </a:cubicBezTo>
                  <a:cubicBezTo>
                    <a:pt x="1165346" y="4452966"/>
                    <a:pt x="0" y="3488408"/>
                    <a:pt x="0" y="2340531"/>
                  </a:cubicBezTo>
                  <a:lnTo>
                    <a:pt x="0" y="647890"/>
                  </a:lnTo>
                  <a:cubicBezTo>
                    <a:pt x="0" y="599284"/>
                    <a:pt x="36005" y="558879"/>
                    <a:pt x="84296" y="553288"/>
                  </a:cubicBezTo>
                  <a:close/>
                </a:path>
              </a:pathLst>
            </a:custGeom>
            <a:noFill/>
            <a:ln w="12700" cap="flat">
              <a:solidFill>
                <a:schemeClr val="accent1"/>
              </a:solidFill>
              <a:prstDash val="solid"/>
              <a:miter/>
            </a:ln>
          </p:spPr>
          <p:txBody>
            <a:bodyPr rtlCol="0" anchor="ctr"/>
            <a:lstStyle/>
            <a:p>
              <a:endParaRPr lang="en-US" noProof="0"/>
            </a:p>
          </p:txBody>
        </p:sp>
      </p:grpSp>
      <p:graphicFrame>
        <p:nvGraphicFramePr>
          <p:cNvPr id="9" name="Content Placeholder 5">
            <a:extLst>
              <a:ext uri="{FF2B5EF4-FFF2-40B4-BE49-F238E27FC236}">
                <a16:creationId xmlns:a16="http://schemas.microsoft.com/office/drawing/2014/main" id="{A135974B-92C7-447D-BAF1-894273CD78F7}"/>
              </a:ext>
            </a:extLst>
          </p:cNvPr>
          <p:cNvGraphicFramePr>
            <a:graphicFrameLocks/>
          </p:cNvGraphicFramePr>
          <p:nvPr>
            <p:extLst>
              <p:ext uri="{D42A27DB-BD31-4B8C-83A1-F6EECF244321}">
                <p14:modId xmlns:p14="http://schemas.microsoft.com/office/powerpoint/2010/main" val="3383340858"/>
              </p:ext>
            </p:extLst>
          </p:nvPr>
        </p:nvGraphicFramePr>
        <p:xfrm>
          <a:off x="1162831" y="1021049"/>
          <a:ext cx="10698480" cy="4807727"/>
        </p:xfrm>
        <a:graphic>
          <a:graphicData uri="http://schemas.openxmlformats.org/drawingml/2006/table">
            <a:tbl>
              <a:tblPr firstRow="1" bandRow="1"/>
              <a:tblGrid>
                <a:gridCol w="4114800">
                  <a:extLst>
                    <a:ext uri="{9D8B030D-6E8A-4147-A177-3AD203B41FA5}">
                      <a16:colId xmlns:a16="http://schemas.microsoft.com/office/drawing/2014/main" val="512067602"/>
                    </a:ext>
                  </a:extLst>
                </a:gridCol>
                <a:gridCol w="1097280">
                  <a:extLst>
                    <a:ext uri="{9D8B030D-6E8A-4147-A177-3AD203B41FA5}">
                      <a16:colId xmlns:a16="http://schemas.microsoft.com/office/drawing/2014/main" val="2646948270"/>
                    </a:ext>
                  </a:extLst>
                </a:gridCol>
                <a:gridCol w="1097280">
                  <a:extLst>
                    <a:ext uri="{9D8B030D-6E8A-4147-A177-3AD203B41FA5}">
                      <a16:colId xmlns:a16="http://schemas.microsoft.com/office/drawing/2014/main" val="2320680084"/>
                    </a:ext>
                  </a:extLst>
                </a:gridCol>
                <a:gridCol w="1097280">
                  <a:extLst>
                    <a:ext uri="{9D8B030D-6E8A-4147-A177-3AD203B41FA5}">
                      <a16:colId xmlns:a16="http://schemas.microsoft.com/office/drawing/2014/main" val="4288093804"/>
                    </a:ext>
                  </a:extLst>
                </a:gridCol>
                <a:gridCol w="1097280">
                  <a:extLst>
                    <a:ext uri="{9D8B030D-6E8A-4147-A177-3AD203B41FA5}">
                      <a16:colId xmlns:a16="http://schemas.microsoft.com/office/drawing/2014/main" val="637731394"/>
                    </a:ext>
                  </a:extLst>
                </a:gridCol>
                <a:gridCol w="1097280">
                  <a:extLst>
                    <a:ext uri="{9D8B030D-6E8A-4147-A177-3AD203B41FA5}">
                      <a16:colId xmlns:a16="http://schemas.microsoft.com/office/drawing/2014/main" val="1020099031"/>
                    </a:ext>
                  </a:extLst>
                </a:gridCol>
                <a:gridCol w="1097280">
                  <a:extLst>
                    <a:ext uri="{9D8B030D-6E8A-4147-A177-3AD203B41FA5}">
                      <a16:colId xmlns:a16="http://schemas.microsoft.com/office/drawing/2014/main" val="1233969800"/>
                    </a:ext>
                  </a:extLst>
                </a:gridCol>
              </a:tblGrid>
              <a:tr h="416441">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lvl="0" indent="0" algn="l" defTabSz="914400" rtl="0" eaLnBrk="1" fontAlgn="auto" latinLnBrk="0" hangingPunct="1">
                        <a:lnSpc>
                          <a:spcPct val="90000"/>
                        </a:lnSpc>
                        <a:spcBef>
                          <a:spcPts val="200"/>
                        </a:spcBef>
                        <a:spcAft>
                          <a:spcPts val="0"/>
                        </a:spcAft>
                        <a:buClrTx/>
                        <a:buSzTx/>
                        <a:buFontTx/>
                        <a:buNone/>
                        <a:tabLst/>
                        <a:defRPr/>
                      </a:pPr>
                      <a:endParaRPr kumimoji="0" lang="en-US" sz="1300" b="0" i="0" u="none" strike="noStrike" kern="1200" cap="none" spc="0" normalizeH="0" baseline="0" noProof="0">
                        <a:ln>
                          <a:noFill/>
                        </a:ln>
                        <a:solidFill>
                          <a:schemeClr val="tx2"/>
                        </a:solidFill>
                        <a:effectLst/>
                        <a:uLnTx/>
                        <a:uFillTx/>
                        <a:latin typeface="+mn-lt"/>
                        <a:ea typeface="+mn-ea"/>
                        <a:cs typeface="+mn-cs"/>
                      </a:endParaRPr>
                    </a:p>
                  </a:txBody>
                  <a:tcPr marT="18000" marB="18000" anchor="ctr">
                    <a:lnL w="127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algn="ctr"/>
                      <a:r>
                        <a:rPr kumimoji="0" lang="en-US" sz="1300" b="1" i="0" u="none" strike="noStrike" kern="1200" cap="none" spc="0" normalizeH="0" baseline="0" noProof="0">
                          <a:ln>
                            <a:noFill/>
                          </a:ln>
                          <a:solidFill>
                            <a:schemeClr val="bg1"/>
                          </a:solidFill>
                          <a:effectLst/>
                          <a:uLnTx/>
                          <a:uFillTx/>
                          <a:latin typeface="+mn-lt"/>
                          <a:ea typeface="+mn-ea"/>
                          <a:cs typeface="+mn-cs"/>
                        </a:rPr>
                        <a:t>Efgartigimod PH20 SC </a:t>
                      </a:r>
                      <a:br>
                        <a:rPr kumimoji="0" lang="en-US" sz="1300" b="0" i="0" u="none" strike="noStrike" kern="1200" cap="none" spc="0" normalizeH="0" baseline="0" noProof="0">
                          <a:ln>
                            <a:noFill/>
                          </a:ln>
                          <a:solidFill>
                            <a:schemeClr val="bg1"/>
                          </a:solidFill>
                          <a:effectLst/>
                          <a:uLnTx/>
                          <a:uFillTx/>
                          <a:latin typeface="+mn-lt"/>
                          <a:ea typeface="+mn-ea"/>
                          <a:cs typeface="+mn-cs"/>
                        </a:rPr>
                      </a:br>
                      <a:r>
                        <a:rPr kumimoji="0" lang="en-US" sz="1300" b="0" i="0" u="none" strike="noStrike" kern="1200" cap="none" spc="0" normalizeH="0" baseline="0" noProof="0">
                          <a:ln>
                            <a:noFill/>
                          </a:ln>
                          <a:solidFill>
                            <a:schemeClr val="bg1"/>
                          </a:solidFill>
                          <a:effectLst/>
                          <a:uLnTx/>
                          <a:uFillTx/>
                          <a:latin typeface="+mn-lt"/>
                          <a:ea typeface="+mn-ea"/>
                          <a:cs typeface="+mn-cs"/>
                        </a:rPr>
                        <a:t>(N=47; PYFU=21.7)</a:t>
                      </a:r>
                    </a:p>
                  </a:txBody>
                  <a:tcPr marT="18000" marB="18000" anchor="ctr">
                    <a:lnL>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B436E"/>
                    </a:solidFill>
                  </a:tcPr>
                </a:tc>
                <a:tc hMerge="1">
                  <a:txBody>
                    <a:bodyPr/>
                    <a:lstStyle/>
                    <a:p>
                      <a:endParaRPr lang="en-GB"/>
                    </a:p>
                  </a:txBody>
                  <a:tcPr/>
                </a:tc>
                <a:tc hMerge="1">
                  <a:txBody>
                    <a:bodyPr/>
                    <a:lstStyle/>
                    <a:p>
                      <a:endParaRPr lang="en-GB"/>
                    </a:p>
                  </a:txBody>
                  <a:tcPr/>
                </a:tc>
                <a:tc gridSpan="3">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algn="ctr"/>
                      <a:r>
                        <a:rPr kumimoji="0" lang="en-US" sz="1300" b="1" i="0" u="none" strike="noStrike" kern="1200" cap="none" spc="0" normalizeH="0" baseline="0" noProof="0" dirty="0">
                          <a:ln>
                            <a:noFill/>
                          </a:ln>
                          <a:solidFill>
                            <a:schemeClr val="bg1"/>
                          </a:solidFill>
                          <a:effectLst/>
                          <a:uLnTx/>
                          <a:uFillTx/>
                          <a:latin typeface="+mn-lt"/>
                          <a:ea typeface="+mn-ea"/>
                          <a:cs typeface="+mn-cs"/>
                        </a:rPr>
                        <a:t>Placebo PH20 SC </a:t>
                      </a:r>
                    </a:p>
                    <a:p>
                      <a:pPr algn="ctr"/>
                      <a:r>
                        <a:rPr kumimoji="0" lang="en-US" sz="1300" b="0" i="0" u="none" strike="noStrike" kern="1200" cap="none" spc="0" normalizeH="0" baseline="0" noProof="0" dirty="0">
                          <a:ln>
                            <a:noFill/>
                          </a:ln>
                          <a:solidFill>
                            <a:schemeClr val="bg1"/>
                          </a:solidFill>
                          <a:effectLst/>
                          <a:uLnTx/>
                          <a:uFillTx/>
                          <a:latin typeface="+mn-lt"/>
                          <a:ea typeface="+mn-ea"/>
                          <a:cs typeface="+mn-cs"/>
                        </a:rPr>
                        <a:t>(N=42; PYFU=18.3)</a:t>
                      </a:r>
                    </a:p>
                  </a:txBody>
                  <a:tcPr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06852513"/>
                  </a:ext>
                </a:extLst>
              </a:tr>
              <a:tr h="22984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Aft>
                          <a:spcPts val="800"/>
                        </a:spcAft>
                        <a:buNone/>
                      </a:pPr>
                      <a:endParaRPr kumimoji="0" lang="en-US" sz="1300" b="0" i="0" u="none" strike="noStrike" kern="1200" cap="none" spc="0" normalizeH="0" baseline="0" noProof="0">
                        <a:ln>
                          <a:noFill/>
                        </a:ln>
                        <a:solidFill>
                          <a:schemeClr val="tx2"/>
                        </a:solidFill>
                        <a:effectLst/>
                        <a:uLnTx/>
                        <a:uFillTx/>
                        <a:latin typeface="+mn-lt"/>
                        <a:ea typeface="+mn-ea"/>
                        <a:cs typeface="+mn-cs"/>
                      </a:endParaRPr>
                    </a:p>
                  </a:txBody>
                  <a:tcPr marT="18000" marB="18000" anchor="ctr">
                    <a:lnL>
                      <a:noFill/>
                    </a:lnL>
                    <a:lnR>
                      <a:noFill/>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300" b="1" i="0" u="none" strike="noStrike" kern="1200" noProof="0">
                          <a:solidFill>
                            <a:schemeClr val="bg1"/>
                          </a:solidFill>
                          <a:effectLst/>
                          <a:latin typeface="+mn-lt"/>
                          <a:ea typeface="+mn-ea"/>
                          <a:cs typeface="+mn-cs"/>
                        </a:rPr>
                        <a:t>n (%)</a:t>
                      </a:r>
                    </a:p>
                  </a:txBody>
                  <a:tcPr marT="18000" marB="18000" anchor="ctr">
                    <a:lnL>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0B436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300" b="1" i="0" u="none" strike="noStrike" kern="1200" noProof="0">
                          <a:solidFill>
                            <a:schemeClr val="bg1"/>
                          </a:solidFill>
                          <a:effectLst/>
                          <a:latin typeface="+mn-lt"/>
                          <a:ea typeface="+mn-ea"/>
                          <a:cs typeface="+mn-cs"/>
                        </a:rPr>
                        <a:t>m</a:t>
                      </a:r>
                    </a:p>
                  </a:txBody>
                  <a:tcPr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0B436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300" b="1" i="0" u="none" strike="noStrike" kern="1200" noProof="0">
                          <a:solidFill>
                            <a:schemeClr val="bg1"/>
                          </a:solidFill>
                          <a:effectLst/>
                          <a:latin typeface="+mn-lt"/>
                          <a:ea typeface="+mn-ea"/>
                          <a:cs typeface="+mn-cs"/>
                        </a:rPr>
                        <a:t>ER</a:t>
                      </a:r>
                    </a:p>
                  </a:txBody>
                  <a:tcPr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0B436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300" b="1" i="0" u="none" strike="noStrike" kern="1200" noProof="0">
                          <a:solidFill>
                            <a:schemeClr val="bg1"/>
                          </a:solidFill>
                          <a:effectLst/>
                          <a:latin typeface="+mn-lt"/>
                          <a:ea typeface="+mn-ea"/>
                          <a:cs typeface="+mn-cs"/>
                        </a:rPr>
                        <a:t>n (%)</a:t>
                      </a:r>
                    </a:p>
                  </a:txBody>
                  <a:tcPr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300" b="1" i="0" u="none" strike="noStrike" kern="1200" noProof="0">
                          <a:solidFill>
                            <a:schemeClr val="bg1"/>
                          </a:solidFill>
                          <a:effectLst/>
                          <a:latin typeface="+mn-lt"/>
                          <a:ea typeface="+mn-ea"/>
                          <a:cs typeface="+mn-cs"/>
                        </a:rPr>
                        <a:t>m</a:t>
                      </a:r>
                    </a:p>
                  </a:txBody>
                  <a:tcPr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300" b="1" i="0" u="none" strike="noStrike" kern="1200" noProof="0">
                          <a:solidFill>
                            <a:schemeClr val="bg1"/>
                          </a:solidFill>
                          <a:effectLst/>
                          <a:latin typeface="+mn-lt"/>
                          <a:ea typeface="+mn-ea"/>
                          <a:cs typeface="+mn-cs"/>
                        </a:rPr>
                        <a:t>ER</a:t>
                      </a:r>
                    </a:p>
                  </a:txBody>
                  <a:tcPr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solidFill>
                  </a:tcPr>
                </a:tc>
                <a:extLst>
                  <a:ext uri="{0D108BD9-81ED-4DB2-BD59-A6C34878D82A}">
                    <a16:rowId xmlns:a16="http://schemas.microsoft.com/office/drawing/2014/main" val="2602533043"/>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schemeClr val="tx2"/>
                          </a:solidFill>
                          <a:effectLst/>
                          <a:uLnTx/>
                          <a:uFillTx/>
                          <a:latin typeface="+mn-lt"/>
                          <a:ea typeface="+mn-ea"/>
                          <a:cs typeface="+mn-cs"/>
                        </a:rPr>
                        <a:t>≥1 TEAE</a:t>
                      </a:r>
                    </a:p>
                  </a:txBody>
                  <a:tcPr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41 (87.2)</a:t>
                      </a:r>
                    </a:p>
                  </a:txBody>
                  <a:tcPr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32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14.7</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37 (88.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16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9.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429160280"/>
                  </a:ext>
                </a:extLst>
              </a:tr>
              <a:tr h="214918">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schemeClr val="tx2"/>
                          </a:solidFill>
                          <a:effectLst/>
                          <a:uLnTx/>
                          <a:uFillTx/>
                          <a:latin typeface="+mn-lt"/>
                          <a:ea typeface="+mn-ea"/>
                          <a:cs typeface="+mn-cs"/>
                        </a:rPr>
                        <a:t>≥1 study drug-related TEAE</a:t>
                      </a:r>
                    </a:p>
                  </a:txBody>
                  <a:tcPr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21 (44.7)</a:t>
                      </a:r>
                    </a:p>
                  </a:txBody>
                  <a:tcPr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147</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6.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14 (33.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p>
                      <a:pPr marL="38100" marR="38100" algn="ctr">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5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2.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1105123914"/>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Aft>
                          <a:spcPts val="800"/>
                        </a:spcAft>
                        <a:buNone/>
                      </a:pPr>
                      <a:r>
                        <a:rPr kumimoji="0" lang="en-US" sz="1200" b="1" i="0" u="none" strike="noStrike" kern="1200" cap="none" spc="0" normalizeH="0" baseline="0" noProof="0">
                          <a:ln>
                            <a:noFill/>
                          </a:ln>
                          <a:solidFill>
                            <a:schemeClr val="tx2"/>
                          </a:solidFill>
                          <a:effectLst/>
                          <a:uLnTx/>
                          <a:uFillTx/>
                          <a:latin typeface="+mn-lt"/>
                          <a:ea typeface="+mn-ea"/>
                          <a:cs typeface="+mn-cs"/>
                        </a:rPr>
                        <a:t>≥1 SAE</a:t>
                      </a:r>
                    </a:p>
                  </a:txBody>
                  <a:tcPr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8 (17.0)</a:t>
                      </a:r>
                    </a:p>
                  </a:txBody>
                  <a:tcPr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1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9 (21.4)</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1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1051354421"/>
                  </a:ext>
                </a:extLst>
              </a:tr>
              <a:tr h="214918">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schemeClr val="tx2"/>
                          </a:solidFill>
                          <a:effectLst/>
                          <a:uLnTx/>
                          <a:uFillTx/>
                          <a:latin typeface="+mn-lt"/>
                          <a:ea typeface="+mn-ea"/>
                          <a:cs typeface="+mn-cs"/>
                        </a:rPr>
                        <a:t>≥1 study drug-related SAE</a:t>
                      </a:r>
                    </a:p>
                  </a:txBody>
                  <a:tcPr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a:t>
                      </a:r>
                    </a:p>
                  </a:txBody>
                  <a:tcPr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2 (4.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1922686768"/>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Aft>
                          <a:spcPts val="800"/>
                        </a:spcAft>
                        <a:buNone/>
                      </a:pPr>
                      <a:r>
                        <a:rPr kumimoji="0" lang="en-US" sz="1200" b="1" i="0" u="none" strike="noStrike" kern="1200" cap="none" spc="0" normalizeH="0" baseline="0" noProof="0">
                          <a:ln>
                            <a:noFill/>
                          </a:ln>
                          <a:solidFill>
                            <a:schemeClr val="tx2"/>
                          </a:solidFill>
                          <a:effectLst/>
                          <a:uLnTx/>
                          <a:uFillTx/>
                          <a:latin typeface="+mn-lt"/>
                          <a:ea typeface="+mn-ea"/>
                          <a:cs typeface="+mn-cs"/>
                        </a:rPr>
                        <a:t>≥1 severe (grade ≥3) TEAE</a:t>
                      </a:r>
                    </a:p>
                  </a:txBody>
                  <a:tcPr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7 (14.9)</a:t>
                      </a:r>
                    </a:p>
                  </a:txBody>
                  <a:tcPr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1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12 (28.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1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7</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2297451155"/>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Aft>
                          <a:spcPts val="800"/>
                        </a:spcAft>
                        <a:buNone/>
                      </a:pPr>
                      <a:r>
                        <a:rPr kumimoji="0" lang="en-US" sz="1200" b="1" i="0" u="none" strike="noStrike" kern="1200" cap="none" spc="0" normalizeH="0" baseline="0" noProof="0">
                          <a:ln>
                            <a:noFill/>
                          </a:ln>
                          <a:solidFill>
                            <a:schemeClr val="tx2"/>
                          </a:solidFill>
                          <a:effectLst/>
                          <a:uLnTx/>
                          <a:uFillTx/>
                          <a:latin typeface="+mn-lt"/>
                          <a:ea typeface="+mn-ea"/>
                          <a:cs typeface="+mn-cs"/>
                        </a:rPr>
                        <a:t>≥1 AE leading to study drug discontinuation</a:t>
                      </a:r>
                    </a:p>
                  </a:txBody>
                  <a:tcPr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3 (6.4)</a:t>
                      </a:r>
                    </a:p>
                  </a:txBody>
                  <a:tcPr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4 (9.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4</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2173568713"/>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Aft>
                          <a:spcPts val="800"/>
                        </a:spcAft>
                        <a:buNone/>
                      </a:pPr>
                      <a:r>
                        <a:rPr kumimoji="0" lang="en-US" sz="1200" b="1" i="0" u="none" strike="noStrike" kern="1200" cap="none" spc="0" normalizeH="0" baseline="0" noProof="0">
                          <a:ln>
                            <a:noFill/>
                          </a:ln>
                          <a:solidFill>
                            <a:schemeClr val="tx2"/>
                          </a:solidFill>
                          <a:effectLst/>
                          <a:uLnTx/>
                          <a:uFillTx/>
                          <a:latin typeface="+mn-lt"/>
                          <a:ea typeface="+mn-ea"/>
                          <a:cs typeface="+mn-cs"/>
                        </a:rPr>
                        <a:t>≥1 AESI </a:t>
                      </a:r>
                      <a:r>
                        <a:rPr kumimoji="0" lang="en-US" sz="1200" b="0" i="0" u="none" strike="noStrike" kern="1200" cap="none" spc="0" normalizeH="0" baseline="0" noProof="0">
                          <a:ln>
                            <a:noFill/>
                          </a:ln>
                          <a:solidFill>
                            <a:schemeClr val="tx2"/>
                          </a:solidFill>
                          <a:effectLst/>
                          <a:uLnTx/>
                          <a:uFillTx/>
                          <a:latin typeface="+mn-lt"/>
                          <a:ea typeface="+mn-ea"/>
                          <a:cs typeface="+mn-cs"/>
                        </a:rPr>
                        <a:t>(infection)</a:t>
                      </a:r>
                    </a:p>
                  </a:txBody>
                  <a:tcPr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20 (42.6)</a:t>
                      </a:r>
                    </a:p>
                  </a:txBody>
                  <a:tcPr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24</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1.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20 (47.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3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1.7</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2242215527"/>
                  </a:ext>
                </a:extLst>
              </a:tr>
              <a:tr h="214918">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schemeClr val="tx2"/>
                          </a:solidFill>
                          <a:effectLst/>
                          <a:uLnTx/>
                          <a:uFillTx/>
                          <a:latin typeface="+mn-lt"/>
                          <a:ea typeface="+mn-ea"/>
                          <a:cs typeface="+mn-cs"/>
                        </a:rPr>
                        <a:t>≥1 severe (grade ≥3) AESI </a:t>
                      </a:r>
                      <a:r>
                        <a:rPr kumimoji="0" lang="en-US" sz="1200" b="0" i="0" u="none" strike="noStrike" kern="1200" cap="none" spc="0" normalizeH="0" baseline="0" noProof="0">
                          <a:ln>
                            <a:noFill/>
                          </a:ln>
                          <a:solidFill>
                            <a:schemeClr val="tx2"/>
                          </a:solidFill>
                          <a:effectLst/>
                          <a:uLnTx/>
                          <a:uFillTx/>
                          <a:latin typeface="+mn-lt"/>
                          <a:ea typeface="+mn-ea"/>
                          <a:cs typeface="+mn-cs"/>
                        </a:rPr>
                        <a:t>(infection)</a:t>
                      </a:r>
                    </a:p>
                  </a:txBody>
                  <a:tcPr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3 (6.4)</a:t>
                      </a:r>
                    </a:p>
                  </a:txBody>
                  <a:tcPr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p>
                      <a:pPr marL="38100" marR="38100" algn="ctr">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3589583412"/>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Aft>
                          <a:spcPts val="800"/>
                        </a:spcAft>
                        <a:buNone/>
                      </a:pPr>
                      <a:r>
                        <a:rPr kumimoji="0" lang="en-US" sz="1200" b="1" i="0" u="none" strike="noStrike" kern="1200" cap="none" spc="0" normalizeH="0" baseline="0" noProof="0">
                          <a:ln>
                            <a:noFill/>
                          </a:ln>
                          <a:solidFill>
                            <a:schemeClr val="tx2"/>
                          </a:solidFill>
                          <a:effectLst/>
                          <a:uLnTx/>
                          <a:uFillTx/>
                          <a:latin typeface="+mn-lt"/>
                          <a:ea typeface="+mn-ea"/>
                          <a:cs typeface="+mn-cs"/>
                        </a:rPr>
                        <a:t>≥1 injection site reaction*</a:t>
                      </a:r>
                    </a:p>
                  </a:txBody>
                  <a:tcPr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21 (44.7)</a:t>
                      </a:r>
                    </a:p>
                  </a:txBody>
                  <a:tcPr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15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7.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9 (21.4)</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4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2.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3557040713"/>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Aft>
                          <a:spcPts val="800"/>
                        </a:spcAft>
                        <a:buNone/>
                      </a:pPr>
                      <a:r>
                        <a:rPr kumimoji="0" lang="en-US" sz="1200" b="1" i="0" u="none" strike="noStrike" kern="1200" cap="none" spc="0" normalizeH="0" baseline="0" noProof="0">
                          <a:ln>
                            <a:noFill/>
                          </a:ln>
                          <a:solidFill>
                            <a:schemeClr val="tx2"/>
                          </a:solidFill>
                          <a:effectLst/>
                          <a:uLnTx/>
                          <a:uFillTx/>
                          <a:latin typeface="+mn-lt"/>
                          <a:ea typeface="+mn-ea"/>
                          <a:cs typeface="+mn-cs"/>
                        </a:rPr>
                        <a:t>≥1 fatal AE</a:t>
                      </a:r>
                    </a:p>
                  </a:txBody>
                  <a:tcPr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2 (4.3)</a:t>
                      </a:r>
                      <a:r>
                        <a:rPr lang="en-US" sz="1200" b="0" i="0" u="none" strike="noStrike" kern="1200" baseline="30000" noProof="0">
                          <a:solidFill>
                            <a:schemeClr val="tx2"/>
                          </a:solidFill>
                          <a:effectLst/>
                          <a:latin typeface="+mn-lt"/>
                          <a:ea typeface="+mn-ea"/>
                          <a:cs typeface="+mn-cs"/>
                        </a:rPr>
                        <a:t>†</a:t>
                      </a:r>
                    </a:p>
                  </a:txBody>
                  <a:tcPr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lang="en-US" sz="1200" b="0" i="0" u="none" strike="noStrike" kern="1200" noProof="0">
                          <a:solidFill>
                            <a:schemeClr val="tx2"/>
                          </a:solidFill>
                          <a:effectLst/>
                          <a:latin typeface="+mn-lt"/>
                          <a:ea typeface="+mn-ea"/>
                          <a:cs typeface="+mn-cs"/>
                        </a:rPr>
                        <a:t>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2176693466"/>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7000"/>
                        </a:lnSpc>
                        <a:spcAft>
                          <a:spcPts val="800"/>
                        </a:spcAft>
                        <a:buNone/>
                      </a:pPr>
                      <a:r>
                        <a:rPr kumimoji="0" lang="en-US" sz="1200" b="1" i="0" u="none" strike="noStrike" kern="1200" cap="none" spc="0" normalizeH="0" baseline="0" noProof="0">
                          <a:ln>
                            <a:noFill/>
                          </a:ln>
                          <a:solidFill>
                            <a:schemeClr val="tx2"/>
                          </a:solidFill>
                          <a:effectLst/>
                          <a:uLnTx/>
                          <a:uFillTx/>
                          <a:latin typeface="+mn-lt"/>
                          <a:ea typeface="+mn-ea"/>
                          <a:cs typeface="+mn-cs"/>
                        </a:rPr>
                        <a:t>Most common AEs </a:t>
                      </a:r>
                      <a:r>
                        <a:rPr kumimoji="0" lang="en-US" sz="1200" b="0" i="0" u="none" strike="noStrike" kern="1200" cap="none" spc="0" normalizeH="0" baseline="0" noProof="0">
                          <a:ln>
                            <a:noFill/>
                          </a:ln>
                          <a:solidFill>
                            <a:schemeClr val="tx2"/>
                          </a:solidFill>
                          <a:effectLst/>
                          <a:uLnTx/>
                          <a:uFillTx/>
                          <a:latin typeface="+mn-lt"/>
                          <a:ea typeface="+mn-ea"/>
                          <a:cs typeface="+mn-cs"/>
                        </a:rPr>
                        <a:t>(occurring in &gt;10% of participants)</a:t>
                      </a:r>
                    </a:p>
                  </a:txBody>
                  <a:tcPr marT="0" marB="0" anchor="ctr">
                    <a:lnL>
                      <a:noFill/>
                    </a:lnL>
                    <a:lnR>
                      <a:noFill/>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endParaRPr lang="en-US" sz="1200" b="0" i="0" u="none" strike="noStrike" kern="1200" noProof="0">
                        <a:solidFill>
                          <a:schemeClr val="tx2"/>
                        </a:solidFill>
                        <a:effectLst/>
                        <a:latin typeface="+mn-lt"/>
                        <a:ea typeface="+mn-ea"/>
                        <a:cs typeface="+mn-cs"/>
                      </a:endParaRPr>
                    </a:p>
                  </a:txBody>
                  <a:tcPr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endParaRPr lang="en-US" sz="1200" b="0" i="0" u="none" strike="noStrike" kern="1200" noProof="0">
                        <a:solidFill>
                          <a:schemeClr val="tx2"/>
                        </a:solidFill>
                        <a:effectLst/>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endParaRPr lang="en-US" sz="1200" b="0" i="0" u="none" strike="noStrike" kern="1200" noProof="0">
                        <a:solidFill>
                          <a:schemeClr val="tx2"/>
                        </a:solidFill>
                        <a:effectLst/>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endParaRPr lang="en-US" sz="1200" b="0" i="0" u="none" strike="noStrike" kern="1200" noProof="0">
                        <a:solidFill>
                          <a:schemeClr val="tx2"/>
                        </a:solidFill>
                        <a:effectLst/>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endParaRPr lang="en-US" sz="1200" b="0" i="0" u="none" strike="noStrike" kern="1200" noProof="0">
                        <a:solidFill>
                          <a:schemeClr val="tx2"/>
                        </a:solidFill>
                        <a:effectLst/>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endParaRPr lang="en-US" sz="1200" b="0" i="0" u="none" strike="noStrike" kern="1200" noProof="0" dirty="0">
                        <a:solidFill>
                          <a:schemeClr val="tx2"/>
                        </a:solidFill>
                        <a:effectLst/>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4222374187"/>
                  </a:ext>
                </a:extLst>
              </a:tr>
              <a:tr h="2683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65100" marR="38100">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COVID-19</a:t>
                      </a:r>
                    </a:p>
                  </a:txBody>
                  <a:tcPr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4 (8.5)</a:t>
                      </a: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4</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a:ln>
                            <a:noFill/>
                          </a:ln>
                          <a:solidFill>
                            <a:schemeClr val="tx2"/>
                          </a:solidFill>
                          <a:effectLst/>
                          <a:uLnTx/>
                          <a:uFillTx/>
                          <a:latin typeface="+mn-lt"/>
                          <a:ea typeface="+mn-ea"/>
                          <a:cs typeface="+mn-cs"/>
                        </a:rPr>
                        <a:t>0.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5 (11.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dirty="0">
                          <a:ln>
                            <a:noFill/>
                          </a:ln>
                          <a:solidFill>
                            <a:schemeClr val="tx2"/>
                          </a:solidFill>
                          <a:effectLst/>
                          <a:uLnTx/>
                          <a:uFillTx/>
                          <a:latin typeface="+mn-lt"/>
                          <a:ea typeface="+mn-ea"/>
                          <a:cs typeface="+mn-cs"/>
                        </a:rPr>
                        <a:t>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a:ln>
                            <a:noFill/>
                          </a:ln>
                          <a:solidFill>
                            <a:schemeClr val="tx2"/>
                          </a:solidFill>
                          <a:effectLst/>
                          <a:uLnTx/>
                          <a:uFillTx/>
                          <a:latin typeface="+mn-lt"/>
                          <a:ea typeface="+mn-ea"/>
                          <a:cs typeface="+mn-cs"/>
                        </a:rPr>
                        <a:t>0.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729827367"/>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65100" marR="38100">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Diarrhea</a:t>
                      </a:r>
                    </a:p>
                  </a:txBody>
                  <a:tcPr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6 (12.8)</a:t>
                      </a: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a:ln>
                            <a:noFill/>
                          </a:ln>
                          <a:solidFill>
                            <a:schemeClr val="tx2"/>
                          </a:solidFill>
                          <a:effectLst/>
                          <a:uLnTx/>
                          <a:uFillTx/>
                          <a:latin typeface="+mn-lt"/>
                          <a:ea typeface="+mn-ea"/>
                          <a:cs typeface="+mn-cs"/>
                        </a:rPr>
                        <a:t>0.4</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2 (4.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dirty="0">
                          <a:ln>
                            <a:noFill/>
                          </a:ln>
                          <a:solidFill>
                            <a:schemeClr val="tx2"/>
                          </a:solidFill>
                          <a:effectLst/>
                          <a:uLnTx/>
                          <a:uFillTx/>
                          <a:latin typeface="+mn-lt"/>
                          <a:ea typeface="+mn-ea"/>
                          <a:cs typeface="+mn-cs"/>
                        </a:rPr>
                        <a:t>0.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427311634"/>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65100" marR="38100">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Injection site bruising</a:t>
                      </a:r>
                    </a:p>
                  </a:txBody>
                  <a:tcPr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5 (10.6)</a:t>
                      </a: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7</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a:ln>
                            <a:noFill/>
                          </a:ln>
                          <a:solidFill>
                            <a:schemeClr val="tx2"/>
                          </a:solidFill>
                          <a:effectLst/>
                          <a:uLnTx/>
                          <a:uFillTx/>
                          <a:latin typeface="+mn-lt"/>
                          <a:ea typeface="+mn-ea"/>
                          <a:cs typeface="+mn-cs"/>
                        </a:rPr>
                        <a:t>0.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4 (9.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dirty="0">
                          <a:ln>
                            <a:noFill/>
                          </a:ln>
                          <a:solidFill>
                            <a:schemeClr val="tx2"/>
                          </a:solidFill>
                          <a:effectLst/>
                          <a:uLnTx/>
                          <a:uFillTx/>
                          <a:latin typeface="+mn-lt"/>
                          <a:ea typeface="+mn-ea"/>
                          <a:cs typeface="+mn-cs"/>
                        </a:rPr>
                        <a:t>0.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1711173374"/>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65100" marR="38100">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Injection site erythema</a:t>
                      </a:r>
                    </a:p>
                  </a:txBody>
                  <a:tcPr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11 (23.4)</a:t>
                      </a: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3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a:ln>
                            <a:noFill/>
                          </a:ln>
                          <a:solidFill>
                            <a:schemeClr val="tx2"/>
                          </a:solidFill>
                          <a:effectLst/>
                          <a:uLnTx/>
                          <a:uFillTx/>
                          <a:latin typeface="+mn-lt"/>
                          <a:ea typeface="+mn-ea"/>
                          <a:cs typeface="+mn-cs"/>
                        </a:rPr>
                        <a:t>1.7</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2 (4.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dirty="0">
                          <a:ln>
                            <a:noFill/>
                          </a:ln>
                          <a:solidFill>
                            <a:schemeClr val="tx2"/>
                          </a:solidFill>
                          <a:effectLst/>
                          <a:uLnTx/>
                          <a:uFillTx/>
                          <a:latin typeface="+mn-lt"/>
                          <a:ea typeface="+mn-ea"/>
                          <a:cs typeface="+mn-cs"/>
                        </a:rPr>
                        <a:t>0.4</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188845689"/>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65100" marR="38100">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Injection site pain</a:t>
                      </a:r>
                    </a:p>
                  </a:txBody>
                  <a:tcPr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3 (6.4)</a:t>
                      </a: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2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a:ln>
                            <a:noFill/>
                          </a:ln>
                          <a:solidFill>
                            <a:schemeClr val="tx2"/>
                          </a:solidFill>
                          <a:effectLst/>
                          <a:uLnTx/>
                          <a:uFillTx/>
                          <a:latin typeface="+mn-lt"/>
                          <a:ea typeface="+mn-ea"/>
                          <a:cs typeface="+mn-cs"/>
                        </a:rPr>
                        <a:t>1.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5 (11.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14</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dirty="0">
                          <a:ln>
                            <a:noFill/>
                          </a:ln>
                          <a:solidFill>
                            <a:schemeClr val="tx2"/>
                          </a:solidFill>
                          <a:effectLst/>
                          <a:uLnTx/>
                          <a:uFillTx/>
                          <a:latin typeface="+mn-lt"/>
                          <a:ea typeface="+mn-ea"/>
                          <a:cs typeface="+mn-cs"/>
                        </a:rPr>
                        <a:t>0.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2192610378"/>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65100" marR="38100">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Injection site rash</a:t>
                      </a:r>
                    </a:p>
                  </a:txBody>
                  <a:tcPr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8 (17.0)</a:t>
                      </a: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4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a:ln>
                            <a:noFill/>
                          </a:ln>
                          <a:solidFill>
                            <a:schemeClr val="tx2"/>
                          </a:solidFill>
                          <a:effectLst/>
                          <a:uLnTx/>
                          <a:uFillTx/>
                          <a:latin typeface="+mn-lt"/>
                          <a:ea typeface="+mn-ea"/>
                          <a:cs typeface="+mn-cs"/>
                        </a:rPr>
                        <a:t>1.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a:ln>
                            <a:noFill/>
                          </a:ln>
                          <a:solidFill>
                            <a:schemeClr val="tx2"/>
                          </a:solidFill>
                          <a:effectLst/>
                          <a:uLnTx/>
                          <a:uFillTx/>
                          <a:latin typeface="+mn-lt"/>
                          <a:ea typeface="+mn-ea"/>
                          <a:cs typeface="+mn-cs"/>
                        </a:rPr>
                        <a:t>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1450996704"/>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65100" marR="38100">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Injection site reaction</a:t>
                      </a:r>
                      <a:r>
                        <a:rPr kumimoji="0" lang="en-US" sz="1200" b="0" i="0" u="none" strike="noStrike" kern="1200" cap="none" spc="0" normalizeH="0" baseline="30000" noProof="0">
                          <a:ln>
                            <a:noFill/>
                          </a:ln>
                          <a:solidFill>
                            <a:schemeClr val="tx2"/>
                          </a:solidFill>
                          <a:effectLst/>
                          <a:uLnTx/>
                          <a:uFillTx/>
                          <a:latin typeface="+mn-lt"/>
                          <a:ea typeface="+mn-ea"/>
                          <a:cs typeface="+mn-cs"/>
                        </a:rPr>
                        <a:t>‡</a:t>
                      </a:r>
                    </a:p>
                  </a:txBody>
                  <a:tcPr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5 (10.6)</a:t>
                      </a: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a:ln>
                            <a:noFill/>
                          </a:ln>
                          <a:solidFill>
                            <a:schemeClr val="tx2"/>
                          </a:solidFill>
                          <a:effectLst/>
                          <a:uLnTx/>
                          <a:uFillTx/>
                          <a:latin typeface="+mn-lt"/>
                          <a:ea typeface="+mn-ea"/>
                          <a:cs typeface="+mn-cs"/>
                        </a:rPr>
                        <a:t>0.4</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1 (2.4)</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dirty="0">
                          <a:ln>
                            <a:noFill/>
                          </a:ln>
                          <a:solidFill>
                            <a:schemeClr val="tx2"/>
                          </a:solidFill>
                          <a:effectLst/>
                          <a:uLnTx/>
                          <a:uFillTx/>
                          <a:latin typeface="+mn-lt"/>
                          <a:ea typeface="+mn-ea"/>
                          <a:cs typeface="+mn-cs"/>
                        </a:rPr>
                        <a:t>0.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3106122369"/>
                  </a:ext>
                </a:extLst>
              </a:tr>
              <a:tr h="2149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65100" marR="38100">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Urinary tract infection</a:t>
                      </a:r>
                    </a:p>
                  </a:txBody>
                  <a:tcPr marT="0" marB="0" anchor="ctr">
                    <a:lnL>
                      <a:noFill/>
                    </a:lnL>
                    <a:lnR>
                      <a:noFill/>
                    </a:lnR>
                    <a:lnT w="63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1 (2.1)</a:t>
                      </a: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a:ln>
                            <a:noFill/>
                          </a:ln>
                          <a:solidFill>
                            <a:schemeClr val="tx2"/>
                          </a:solidFill>
                          <a:effectLst/>
                          <a:uLnTx/>
                          <a:uFillTx/>
                          <a:latin typeface="+mn-lt"/>
                          <a:ea typeface="+mn-ea"/>
                          <a:cs typeface="+mn-cs"/>
                        </a:rPr>
                        <a:t>&lt;0.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5 (11.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6000"/>
                        </a:lnSpc>
                        <a:spcBef>
                          <a:spcPts val="300"/>
                        </a:spcBef>
                        <a:spcAft>
                          <a:spcPts val="300"/>
                        </a:spcAft>
                        <a:buNone/>
                      </a:pPr>
                      <a:r>
                        <a:rPr kumimoji="0" lang="en-US" sz="1200" b="0" i="0" u="none" strike="noStrike" kern="1200" cap="none" spc="0" normalizeH="0" baseline="0" noProof="0">
                          <a:ln>
                            <a:noFill/>
                          </a:ln>
                          <a:solidFill>
                            <a:schemeClr val="tx2"/>
                          </a:solidFill>
                          <a:effectLst/>
                          <a:uLnTx/>
                          <a:uFillTx/>
                          <a:latin typeface="+mn-lt"/>
                          <a:ea typeface="+mn-ea"/>
                          <a:cs typeface="+mn-cs"/>
                        </a:rPr>
                        <a:t>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38100" marR="38100" algn="ctr">
                        <a:lnSpc>
                          <a:spcPct val="107000"/>
                        </a:lnSpc>
                        <a:spcBef>
                          <a:spcPts val="300"/>
                        </a:spcBef>
                        <a:spcAft>
                          <a:spcPts val="300"/>
                        </a:spcAft>
                      </a:pPr>
                      <a:r>
                        <a:rPr kumimoji="0" lang="en-US" sz="1200" b="0" i="0" u="none" strike="noStrike" kern="1200" cap="none" spc="0" normalizeH="0" baseline="0" noProof="0" dirty="0">
                          <a:ln>
                            <a:noFill/>
                          </a:ln>
                          <a:solidFill>
                            <a:schemeClr val="tx2"/>
                          </a:solidFill>
                          <a:effectLst/>
                          <a:uLnTx/>
                          <a:uFillTx/>
                          <a:latin typeface="+mn-lt"/>
                          <a:ea typeface="+mn-ea"/>
                          <a:cs typeface="+mn-cs"/>
                        </a:rPr>
                        <a:t>0.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10196"/>
                      </a:srgbClr>
                    </a:solidFill>
                  </a:tcPr>
                </a:tc>
                <a:extLst>
                  <a:ext uri="{0D108BD9-81ED-4DB2-BD59-A6C34878D82A}">
                    <a16:rowId xmlns:a16="http://schemas.microsoft.com/office/drawing/2014/main" val="560905294"/>
                  </a:ext>
                </a:extLst>
              </a:tr>
            </a:tbl>
          </a:graphicData>
        </a:graphic>
      </p:graphicFrame>
      <p:sp>
        <p:nvSpPr>
          <p:cNvPr id="3" name="TextBox 2">
            <a:extLst>
              <a:ext uri="{FF2B5EF4-FFF2-40B4-BE49-F238E27FC236}">
                <a16:creationId xmlns:a16="http://schemas.microsoft.com/office/drawing/2014/main" id="{CF6ABC86-FAF9-4CFC-112E-FC758956B7A0}"/>
              </a:ext>
            </a:extLst>
          </p:cNvPr>
          <p:cNvSpPr txBox="1"/>
          <p:nvPr/>
        </p:nvSpPr>
        <p:spPr>
          <a:xfrm>
            <a:off x="1934169" y="5764813"/>
            <a:ext cx="880340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B436E"/>
                </a:solidFill>
                <a:effectLst/>
                <a:uLnTx/>
                <a:uFillTx/>
                <a:latin typeface="Calibri" panose="020F0502020204030204"/>
                <a:ea typeface="+mn-ea"/>
                <a:cs typeface="+mn-cs"/>
              </a:rPr>
              <a:t>Participants treated with efgartigimod PH20 SC demonstrated a mean maximum IgG reduction of 72% from baseline</a:t>
            </a:r>
          </a:p>
        </p:txBody>
      </p:sp>
      <p:sp>
        <p:nvSpPr>
          <p:cNvPr id="2" name="Footer Placeholder 12">
            <a:extLst>
              <a:ext uri="{FF2B5EF4-FFF2-40B4-BE49-F238E27FC236}">
                <a16:creationId xmlns:a16="http://schemas.microsoft.com/office/drawing/2014/main" id="{2778709D-ED14-742D-6839-B419A6DEB883}"/>
              </a:ext>
            </a:extLst>
          </p:cNvPr>
          <p:cNvSpPr txBox="1">
            <a:spLocks/>
          </p:cNvSpPr>
          <p:nvPr/>
        </p:nvSpPr>
        <p:spPr>
          <a:xfrm>
            <a:off x="904875" y="6099085"/>
            <a:ext cx="10925176" cy="584775"/>
          </a:xfrm>
          <a:prstGeom prst="rect">
            <a:avLst/>
          </a:prstGeom>
          <a:noFill/>
        </p:spPr>
        <p:txBody>
          <a:bodyPr vert="horz" wrap="square" lIns="0" tIns="0" rIns="0" bIns="0" rtlCol="0" anchor="b">
            <a:spAutoFit/>
          </a:bodyPr>
          <a:lstStyle>
            <a:defPPr>
              <a:defRPr lang="en-US"/>
            </a:defPPr>
            <a:lvl1pPr marL="0" algn="l" defTabSz="914400" rtl="0" eaLnBrk="1" latinLnBrk="0" hangingPunct="1">
              <a:lnSpc>
                <a:spcPct val="95000"/>
              </a:lnSpc>
              <a:spcBef>
                <a:spcPts val="400"/>
              </a:spcBef>
              <a:defRPr lang="en-US" sz="800" b="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5A5A5A"/>
                </a:solidFill>
              </a:rPr>
              <a:t>AE, adverse event; AESI, adverse event of special interest; COVID-19, coronavirus disease 2019; ER, event rate; IgG, immunoglobulin G; m, number of events; MedDRA, </a:t>
            </a:r>
            <a:r>
              <a:rPr lang="en-GB">
                <a:solidFill>
                  <a:srgbClr val="5A5A5A"/>
                </a:solidFill>
              </a:rPr>
              <a:t>Medical Dictionary for Regulatory Activities; </a:t>
            </a:r>
            <a:r>
              <a:rPr lang="en-US">
                <a:solidFill>
                  <a:srgbClr val="5A5A5A"/>
                </a:solidFill>
              </a:rPr>
              <a:t>PH20, recombinant human hyaluronidase PH20; PYFU, participant-years of follow-up; SAE, serious AE; SC, subcutaneous.</a:t>
            </a:r>
            <a:br>
              <a:rPr lang="en-US">
                <a:solidFill>
                  <a:srgbClr val="5A5A5A"/>
                </a:solidFill>
              </a:rPr>
            </a:br>
            <a:r>
              <a:rPr lang="en-GB">
                <a:solidFill>
                  <a:srgbClr val="5A5A5A"/>
                </a:solidFill>
              </a:rPr>
              <a:t>*Defined by MedDRA System Organ Class of Injection site reaction, regardless of the time of onset. </a:t>
            </a:r>
            <a:r>
              <a:rPr lang="en-GB" baseline="30000">
                <a:solidFill>
                  <a:srgbClr val="5A5A5A"/>
                </a:solidFill>
              </a:rPr>
              <a:t>†</a:t>
            </a:r>
            <a:r>
              <a:rPr lang="en-US">
                <a:solidFill>
                  <a:srgbClr val="5A5A5A"/>
                </a:solidFill>
              </a:rPr>
              <a:t>Both deaths (road traffic accident and septic shock) were considered unrelated to the study drug.</a:t>
            </a:r>
            <a:r>
              <a:rPr lang="en-GB" baseline="30000">
                <a:solidFill>
                  <a:srgbClr val="5A5A5A"/>
                </a:solidFill>
              </a:rPr>
              <a:t> ‡</a:t>
            </a:r>
            <a:r>
              <a:rPr lang="en-GB">
                <a:solidFill>
                  <a:srgbClr val="5A5A5A"/>
                </a:solidFill>
              </a:rPr>
              <a:t>Defined by MedDRA Preferred Term of Injection site reaction, regardless of the time of onset. </a:t>
            </a:r>
            <a:br>
              <a:rPr lang="en-GB">
                <a:solidFill>
                  <a:srgbClr val="5A5A5A"/>
                </a:solidFill>
              </a:rPr>
            </a:br>
            <a:r>
              <a:rPr lang="en-US">
                <a:solidFill>
                  <a:srgbClr val="5A5A5A"/>
                </a:solidFill>
              </a:rPr>
              <a:t>ER is calculated as number of events divided by PYFU.</a:t>
            </a:r>
          </a:p>
        </p:txBody>
      </p:sp>
      <p:grpSp>
        <p:nvGrpSpPr>
          <p:cNvPr id="4" name="Group 3">
            <a:extLst>
              <a:ext uri="{FF2B5EF4-FFF2-40B4-BE49-F238E27FC236}">
                <a16:creationId xmlns:a16="http://schemas.microsoft.com/office/drawing/2014/main" id="{DF3465A2-C0F5-1AA3-63E4-84EC9BA67F73}"/>
              </a:ext>
            </a:extLst>
          </p:cNvPr>
          <p:cNvGrpSpPr/>
          <p:nvPr/>
        </p:nvGrpSpPr>
        <p:grpSpPr>
          <a:xfrm>
            <a:off x="4661458" y="1083562"/>
            <a:ext cx="413891" cy="504763"/>
            <a:chOff x="5072744" y="2150914"/>
            <a:chExt cx="768543" cy="937282"/>
          </a:xfrm>
        </p:grpSpPr>
        <p:grpSp>
          <p:nvGrpSpPr>
            <p:cNvPr id="6" name="Group 5">
              <a:extLst>
                <a:ext uri="{FF2B5EF4-FFF2-40B4-BE49-F238E27FC236}">
                  <a16:creationId xmlns:a16="http://schemas.microsoft.com/office/drawing/2014/main" id="{DCAB7489-91C4-EFF9-C22B-8340CAD8DC9A}"/>
                </a:ext>
              </a:extLst>
            </p:cNvPr>
            <p:cNvGrpSpPr/>
            <p:nvPr/>
          </p:nvGrpSpPr>
          <p:grpSpPr>
            <a:xfrm>
              <a:off x="5072744" y="2150914"/>
              <a:ext cx="768543" cy="937282"/>
              <a:chOff x="5072744" y="2150914"/>
              <a:chExt cx="768543" cy="937282"/>
            </a:xfrm>
          </p:grpSpPr>
          <p:grpSp>
            <p:nvGrpSpPr>
              <p:cNvPr id="13" name="Graphic 267">
                <a:extLst>
                  <a:ext uri="{FF2B5EF4-FFF2-40B4-BE49-F238E27FC236}">
                    <a16:creationId xmlns:a16="http://schemas.microsoft.com/office/drawing/2014/main" id="{7B95FEEA-197B-6486-EFB8-1A7BA4F767C7}"/>
                  </a:ext>
                </a:extLst>
              </p:cNvPr>
              <p:cNvGrpSpPr/>
              <p:nvPr/>
            </p:nvGrpSpPr>
            <p:grpSpPr>
              <a:xfrm>
                <a:off x="5072744" y="2304764"/>
                <a:ext cx="637079" cy="783432"/>
                <a:chOff x="6720861" y="4165104"/>
                <a:chExt cx="1018580" cy="1252573"/>
              </a:xfrm>
              <a:solidFill>
                <a:schemeClr val="accent1"/>
              </a:solidFill>
            </p:grpSpPr>
            <p:sp>
              <p:nvSpPr>
                <p:cNvPr id="16" name="Freeform 15">
                  <a:extLst>
                    <a:ext uri="{FF2B5EF4-FFF2-40B4-BE49-F238E27FC236}">
                      <a16:creationId xmlns:a16="http://schemas.microsoft.com/office/drawing/2014/main" id="{1753370B-D223-77C1-EE17-07FF24C326BD}"/>
                    </a:ext>
                  </a:extLst>
                </p:cNvPr>
                <p:cNvSpPr/>
                <p:nvPr/>
              </p:nvSpPr>
              <p:spPr>
                <a:xfrm>
                  <a:off x="6720861" y="5109076"/>
                  <a:ext cx="248179" cy="308601"/>
                </a:xfrm>
                <a:custGeom>
                  <a:avLst/>
                  <a:gdLst>
                    <a:gd name="connsiteX0" fmla="*/ 234128 w 248179"/>
                    <a:gd name="connsiteY0" fmla="*/ 0 h 308601"/>
                    <a:gd name="connsiteX1" fmla="*/ 1807 w 248179"/>
                    <a:gd name="connsiteY1" fmla="*/ 295086 h 308601"/>
                    <a:gd name="connsiteX2" fmla="*/ 3212 w 248179"/>
                    <a:gd name="connsiteY2" fmla="*/ 306795 h 308601"/>
                    <a:gd name="connsiteX3" fmla="*/ 14922 w 248179"/>
                    <a:gd name="connsiteY3" fmla="*/ 305390 h 308601"/>
                    <a:gd name="connsiteX4" fmla="*/ 248180 w 248179"/>
                    <a:gd name="connsiteY4" fmla="*/ 8899 h 308601"/>
                    <a:gd name="connsiteX5" fmla="*/ 234128 w 248179"/>
                    <a:gd name="connsiteY5" fmla="*/ 0 h 30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79" h="308601">
                      <a:moveTo>
                        <a:pt x="234128" y="0"/>
                      </a:moveTo>
                      <a:lnTo>
                        <a:pt x="1807" y="295086"/>
                      </a:lnTo>
                      <a:cubicBezTo>
                        <a:pt x="-1004" y="298833"/>
                        <a:pt x="-535" y="303985"/>
                        <a:pt x="3212" y="306795"/>
                      </a:cubicBezTo>
                      <a:cubicBezTo>
                        <a:pt x="6959" y="309606"/>
                        <a:pt x="12111" y="309137"/>
                        <a:pt x="14922" y="305390"/>
                      </a:cubicBezTo>
                      <a:lnTo>
                        <a:pt x="248180" y="8899"/>
                      </a:lnTo>
                      <a:cubicBezTo>
                        <a:pt x="243027" y="7026"/>
                        <a:pt x="237875" y="3747"/>
                        <a:pt x="234128" y="0"/>
                      </a:cubicBezTo>
                      <a:close/>
                    </a:path>
                  </a:pathLst>
                </a:custGeom>
                <a:solidFill>
                  <a:schemeClr val="tx2"/>
                </a:solidFill>
                <a:ln w="9525" cap="flat">
                  <a:solidFill>
                    <a:schemeClr val="tx2"/>
                  </a:solid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A5DA566-B6F2-3551-50D1-3A6193EB4B22}"/>
                    </a:ext>
                  </a:extLst>
                </p:cNvPr>
                <p:cNvSpPr/>
                <p:nvPr/>
              </p:nvSpPr>
              <p:spPr>
                <a:xfrm>
                  <a:off x="6887369" y="4165104"/>
                  <a:ext cx="852072" cy="1003638"/>
                </a:xfrm>
                <a:custGeom>
                  <a:avLst/>
                  <a:gdLst>
                    <a:gd name="connsiteX0" fmla="*/ 819855 w 852075"/>
                    <a:gd name="connsiteY0" fmla="*/ 74178 h 1003635"/>
                    <a:gd name="connsiteX1" fmla="*/ 748659 w 852075"/>
                    <a:gd name="connsiteY1" fmla="*/ 17971 h 1003635"/>
                    <a:gd name="connsiteX2" fmla="*/ 630625 w 852075"/>
                    <a:gd name="connsiteY2" fmla="*/ 32023 h 1003635"/>
                    <a:gd name="connsiteX3" fmla="*/ 17971 w 852075"/>
                    <a:gd name="connsiteY3" fmla="*/ 811424 h 1003635"/>
                    <a:gd name="connsiteX4" fmla="*/ 32023 w 852075"/>
                    <a:gd name="connsiteY4" fmla="*/ 929458 h 1003635"/>
                    <a:gd name="connsiteX5" fmla="*/ 103218 w 852075"/>
                    <a:gd name="connsiteY5" fmla="*/ 985665 h 1003635"/>
                    <a:gd name="connsiteX6" fmla="*/ 221252 w 852075"/>
                    <a:gd name="connsiteY6" fmla="*/ 971613 h 1003635"/>
                    <a:gd name="connsiteX7" fmla="*/ 833906 w 852075"/>
                    <a:gd name="connsiteY7" fmla="*/ 192681 h 1003635"/>
                    <a:gd name="connsiteX8" fmla="*/ 819855 w 852075"/>
                    <a:gd name="connsiteY8" fmla="*/ 74178 h 1003635"/>
                    <a:gd name="connsiteX9" fmla="*/ 201580 w 852075"/>
                    <a:gd name="connsiteY9" fmla="*/ 959435 h 1003635"/>
                    <a:gd name="connsiteX10" fmla="*/ 122891 w 852075"/>
                    <a:gd name="connsiteY10" fmla="*/ 968803 h 1003635"/>
                    <a:gd name="connsiteX11" fmla="*/ 43264 w 852075"/>
                    <a:gd name="connsiteY11" fmla="*/ 906038 h 1003635"/>
                    <a:gd name="connsiteX12" fmla="*/ 33896 w 852075"/>
                    <a:gd name="connsiteY12" fmla="*/ 827349 h 1003635"/>
                    <a:gd name="connsiteX13" fmla="*/ 246077 w 852075"/>
                    <a:gd name="connsiteY13" fmla="*/ 557556 h 1003635"/>
                    <a:gd name="connsiteX14" fmla="*/ 457321 w 852075"/>
                    <a:gd name="connsiteY14" fmla="*/ 634372 h 100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2075" h="1003635">
                      <a:moveTo>
                        <a:pt x="819855" y="74178"/>
                      </a:moveTo>
                      <a:lnTo>
                        <a:pt x="748659" y="17971"/>
                      </a:lnTo>
                      <a:cubicBezTo>
                        <a:pt x="712125" y="-10601"/>
                        <a:pt x="659197" y="-4512"/>
                        <a:pt x="630625" y="32023"/>
                      </a:cubicBezTo>
                      <a:lnTo>
                        <a:pt x="17971" y="811424"/>
                      </a:lnTo>
                      <a:cubicBezTo>
                        <a:pt x="-10601" y="847958"/>
                        <a:pt x="-4512" y="900886"/>
                        <a:pt x="32023" y="929458"/>
                      </a:cubicBezTo>
                      <a:lnTo>
                        <a:pt x="103218" y="985665"/>
                      </a:lnTo>
                      <a:cubicBezTo>
                        <a:pt x="139753" y="1014236"/>
                        <a:pt x="192681" y="1008147"/>
                        <a:pt x="221252" y="971613"/>
                      </a:cubicBezTo>
                      <a:lnTo>
                        <a:pt x="833906" y="192681"/>
                      </a:lnTo>
                      <a:cubicBezTo>
                        <a:pt x="862946" y="155678"/>
                        <a:pt x="856389" y="103218"/>
                        <a:pt x="819855" y="74178"/>
                      </a:cubicBezTo>
                      <a:close/>
                      <a:moveTo>
                        <a:pt x="201580" y="959435"/>
                      </a:moveTo>
                      <a:cubicBezTo>
                        <a:pt x="182376" y="983791"/>
                        <a:pt x="147247" y="988007"/>
                        <a:pt x="122891" y="968803"/>
                      </a:cubicBezTo>
                      <a:lnTo>
                        <a:pt x="43264" y="906038"/>
                      </a:lnTo>
                      <a:cubicBezTo>
                        <a:pt x="18908" y="886834"/>
                        <a:pt x="14692" y="851705"/>
                        <a:pt x="33896" y="827349"/>
                      </a:cubicBezTo>
                      <a:lnTo>
                        <a:pt x="246077" y="557556"/>
                      </a:lnTo>
                      <a:cubicBezTo>
                        <a:pt x="313994" y="589875"/>
                        <a:pt x="384720" y="616105"/>
                        <a:pt x="457321" y="634372"/>
                      </a:cubicBezTo>
                      <a:close/>
                    </a:path>
                  </a:pathLst>
                </a:custGeom>
                <a:solidFill>
                  <a:schemeClr val="accent3"/>
                </a:solidFill>
                <a:ln w="4669" cap="flat">
                  <a:noFill/>
                  <a:prstDash val="solid"/>
                  <a:miter/>
                </a:ln>
              </p:spPr>
              <p:txBody>
                <a:bodyPr rtlCol="0" anchor="ctr"/>
                <a:lstStyle/>
                <a:p>
                  <a:endParaRPr lang="en-US"/>
                </a:p>
              </p:txBody>
            </p:sp>
          </p:grpSp>
          <p:sp>
            <p:nvSpPr>
              <p:cNvPr id="14" name="Freeform 13">
                <a:extLst>
                  <a:ext uri="{FF2B5EF4-FFF2-40B4-BE49-F238E27FC236}">
                    <a16:creationId xmlns:a16="http://schemas.microsoft.com/office/drawing/2014/main" id="{E701AE1D-0258-E2FD-9710-ACB548FA8C4A}"/>
                  </a:ext>
                </a:extLst>
              </p:cNvPr>
              <p:cNvSpPr/>
              <p:nvPr/>
            </p:nvSpPr>
            <p:spPr>
              <a:xfrm>
                <a:off x="5189234" y="2653489"/>
                <a:ext cx="272370" cy="264752"/>
              </a:xfrm>
              <a:custGeom>
                <a:avLst/>
                <a:gdLst>
                  <a:gd name="connsiteX0" fmla="*/ 140246 w 272370"/>
                  <a:gd name="connsiteY0" fmla="*/ 0 h 264752"/>
                  <a:gd name="connsiteX1" fmla="*/ 272370 w 272370"/>
                  <a:gd name="connsiteY1" fmla="*/ 48045 h 264752"/>
                  <a:gd name="connsiteX2" fmla="*/ 112415 w 272370"/>
                  <a:gd name="connsiteY2" fmla="*/ 251359 h 264752"/>
                  <a:gd name="connsiteX3" fmla="*/ 63198 w 272370"/>
                  <a:gd name="connsiteY3" fmla="*/ 257218 h 264752"/>
                  <a:gd name="connsiteX4" fmla="*/ 13395 w 272370"/>
                  <a:gd name="connsiteY4" fmla="*/ 217961 h 264752"/>
                  <a:gd name="connsiteX5" fmla="*/ 7536 w 272370"/>
                  <a:gd name="connsiteY5" fmla="*/ 168745 h 264752"/>
                  <a:gd name="connsiteX6" fmla="*/ 140246 w 272370"/>
                  <a:gd name="connsiteY6" fmla="*/ 0 h 26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370" h="264752">
                    <a:moveTo>
                      <a:pt x="140246" y="0"/>
                    </a:moveTo>
                    <a:cubicBezTo>
                      <a:pt x="182725" y="20214"/>
                      <a:pt x="226961" y="36620"/>
                      <a:pt x="272370" y="48045"/>
                    </a:cubicBezTo>
                    <a:lnTo>
                      <a:pt x="112415" y="251359"/>
                    </a:lnTo>
                    <a:cubicBezTo>
                      <a:pt x="100404" y="266593"/>
                      <a:pt x="78432" y="269229"/>
                      <a:pt x="63198" y="257218"/>
                    </a:cubicBezTo>
                    <a:lnTo>
                      <a:pt x="13395" y="217961"/>
                    </a:lnTo>
                    <a:cubicBezTo>
                      <a:pt x="-1839" y="205950"/>
                      <a:pt x="-4476" y="183978"/>
                      <a:pt x="7536" y="168745"/>
                    </a:cubicBezTo>
                    <a:lnTo>
                      <a:pt x="140246" y="0"/>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4829D3B0-8E95-7006-6BE6-3CAEAA465927}"/>
                  </a:ext>
                </a:extLst>
              </p:cNvPr>
              <p:cNvSpPr/>
              <p:nvPr/>
            </p:nvSpPr>
            <p:spPr>
              <a:xfrm>
                <a:off x="5654520" y="2150914"/>
                <a:ext cx="186767" cy="187352"/>
              </a:xfrm>
              <a:custGeom>
                <a:avLst/>
                <a:gdLst>
                  <a:gd name="connsiteX0" fmla="*/ 28784 w 186767"/>
                  <a:gd name="connsiteY0" fmla="*/ 225 h 187352"/>
                  <a:gd name="connsiteX1" fmla="*/ 51562 w 186767"/>
                  <a:gd name="connsiteY1" fmla="*/ 6597 h 187352"/>
                  <a:gd name="connsiteX2" fmla="*/ 174897 w 186767"/>
                  <a:gd name="connsiteY2" fmla="*/ 103566 h 187352"/>
                  <a:gd name="connsiteX3" fmla="*/ 180170 w 186767"/>
                  <a:gd name="connsiteY3" fmla="*/ 146924 h 187352"/>
                  <a:gd name="connsiteX4" fmla="*/ 136812 w 186767"/>
                  <a:gd name="connsiteY4" fmla="*/ 152197 h 187352"/>
                  <a:gd name="connsiteX5" fmla="*/ 99443 w 186767"/>
                  <a:gd name="connsiteY5" fmla="*/ 122817 h 187352"/>
                  <a:gd name="connsiteX6" fmla="*/ 48632 w 186767"/>
                  <a:gd name="connsiteY6" fmla="*/ 187352 h 187352"/>
                  <a:gd name="connsiteX7" fmla="*/ 46581 w 186767"/>
                  <a:gd name="connsiteY7" fmla="*/ 185887 h 187352"/>
                  <a:gd name="connsiteX8" fmla="*/ 2051 w 186767"/>
                  <a:gd name="connsiteY8" fmla="*/ 150732 h 187352"/>
                  <a:gd name="connsiteX9" fmla="*/ 0 w 186767"/>
                  <a:gd name="connsiteY9" fmla="*/ 149267 h 187352"/>
                  <a:gd name="connsiteX10" fmla="*/ 50884 w 186767"/>
                  <a:gd name="connsiteY10" fmla="*/ 84639 h 187352"/>
                  <a:gd name="connsiteX11" fmla="*/ 13477 w 186767"/>
                  <a:gd name="connsiteY11" fmla="*/ 55228 h 187352"/>
                  <a:gd name="connsiteX12" fmla="*/ 8204 w 186767"/>
                  <a:gd name="connsiteY12" fmla="*/ 11870 h 187352"/>
                  <a:gd name="connsiteX13" fmla="*/ 28784 w 186767"/>
                  <a:gd name="connsiteY13" fmla="*/ 225 h 18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767" h="187352">
                    <a:moveTo>
                      <a:pt x="28784" y="225"/>
                    </a:moveTo>
                    <a:cubicBezTo>
                      <a:pt x="36621" y="-727"/>
                      <a:pt x="44824" y="1324"/>
                      <a:pt x="51562" y="6597"/>
                    </a:cubicBezTo>
                    <a:lnTo>
                      <a:pt x="174897" y="103566"/>
                    </a:lnTo>
                    <a:cubicBezTo>
                      <a:pt x="188373" y="113820"/>
                      <a:pt x="190716" y="133448"/>
                      <a:pt x="180170" y="146924"/>
                    </a:cubicBezTo>
                    <a:cubicBezTo>
                      <a:pt x="169623" y="160400"/>
                      <a:pt x="150288" y="162744"/>
                      <a:pt x="136812" y="152197"/>
                    </a:cubicBezTo>
                    <a:lnTo>
                      <a:pt x="99443" y="122817"/>
                    </a:lnTo>
                    <a:lnTo>
                      <a:pt x="48632" y="187352"/>
                    </a:lnTo>
                    <a:cubicBezTo>
                      <a:pt x="47753" y="187059"/>
                      <a:pt x="47167" y="186473"/>
                      <a:pt x="46581" y="185887"/>
                    </a:cubicBezTo>
                    <a:lnTo>
                      <a:pt x="2051" y="150732"/>
                    </a:lnTo>
                    <a:cubicBezTo>
                      <a:pt x="1465" y="150146"/>
                      <a:pt x="586" y="149853"/>
                      <a:pt x="0" y="149267"/>
                    </a:cubicBezTo>
                    <a:lnTo>
                      <a:pt x="50884" y="84639"/>
                    </a:lnTo>
                    <a:lnTo>
                      <a:pt x="13477" y="55228"/>
                    </a:lnTo>
                    <a:cubicBezTo>
                      <a:pt x="1" y="44682"/>
                      <a:pt x="-2343" y="25346"/>
                      <a:pt x="8204" y="11870"/>
                    </a:cubicBezTo>
                    <a:cubicBezTo>
                      <a:pt x="13477" y="5132"/>
                      <a:pt x="20947" y="1177"/>
                      <a:pt x="28784" y="225"/>
                    </a:cubicBezTo>
                    <a:close/>
                  </a:path>
                </a:pathLst>
              </a:custGeom>
              <a:solidFill>
                <a:schemeClr val="bg1">
                  <a:lumMod val="65000"/>
                </a:schemeClr>
              </a:solidFill>
              <a:ln w="4669" cap="flat">
                <a:noFill/>
                <a:prstDash val="solid"/>
                <a:miter/>
              </a:ln>
            </p:spPr>
            <p:txBody>
              <a:bodyPr rtlCol="0" anchor="ctr"/>
              <a:lstStyle/>
              <a:p>
                <a:endParaRPr lang="en-US"/>
              </a:p>
            </p:txBody>
          </p:sp>
        </p:grpSp>
        <p:sp>
          <p:nvSpPr>
            <p:cNvPr id="7" name="Freeform 6">
              <a:extLst>
                <a:ext uri="{FF2B5EF4-FFF2-40B4-BE49-F238E27FC236}">
                  <a16:creationId xmlns:a16="http://schemas.microsoft.com/office/drawing/2014/main" id="{E893BDBF-088B-BB92-D546-8682ED62BC4E}"/>
                </a:ext>
              </a:extLst>
            </p:cNvPr>
            <p:cNvSpPr>
              <a:spLocks noChangeAspect="1"/>
            </p:cNvSpPr>
            <p:nvPr/>
          </p:nvSpPr>
          <p:spPr>
            <a:xfrm>
              <a:off x="5299205" y="2691455"/>
              <a:ext cx="91440" cy="33251"/>
            </a:xfrm>
            <a:custGeom>
              <a:avLst/>
              <a:gdLst>
                <a:gd name="connsiteX0" fmla="*/ 140246 w 272370"/>
                <a:gd name="connsiteY0" fmla="*/ 0 h 264752"/>
                <a:gd name="connsiteX1" fmla="*/ 272370 w 272370"/>
                <a:gd name="connsiteY1" fmla="*/ 48045 h 264752"/>
                <a:gd name="connsiteX2" fmla="*/ 112415 w 272370"/>
                <a:gd name="connsiteY2" fmla="*/ 251359 h 264752"/>
                <a:gd name="connsiteX3" fmla="*/ 63198 w 272370"/>
                <a:gd name="connsiteY3" fmla="*/ 257218 h 264752"/>
                <a:gd name="connsiteX4" fmla="*/ 13395 w 272370"/>
                <a:gd name="connsiteY4" fmla="*/ 217961 h 264752"/>
                <a:gd name="connsiteX5" fmla="*/ 7536 w 272370"/>
                <a:gd name="connsiteY5" fmla="*/ 168745 h 264752"/>
                <a:gd name="connsiteX6" fmla="*/ 140246 w 272370"/>
                <a:gd name="connsiteY6" fmla="*/ 0 h 264752"/>
                <a:gd name="connsiteX0" fmla="*/ 1937 w 266771"/>
                <a:gd name="connsiteY0" fmla="*/ 168745 h 264752"/>
                <a:gd name="connsiteX1" fmla="*/ 134647 w 266771"/>
                <a:gd name="connsiteY1" fmla="*/ 0 h 264752"/>
                <a:gd name="connsiteX2" fmla="*/ 266771 w 266771"/>
                <a:gd name="connsiteY2" fmla="*/ 48045 h 264752"/>
                <a:gd name="connsiteX3" fmla="*/ 106816 w 266771"/>
                <a:gd name="connsiteY3" fmla="*/ 251359 h 264752"/>
                <a:gd name="connsiteX4" fmla="*/ 57599 w 266771"/>
                <a:gd name="connsiteY4" fmla="*/ 257218 h 264752"/>
                <a:gd name="connsiteX5" fmla="*/ 7796 w 266771"/>
                <a:gd name="connsiteY5" fmla="*/ 217961 h 264752"/>
                <a:gd name="connsiteX6" fmla="*/ 93377 w 266771"/>
                <a:gd name="connsiteY6" fmla="*/ 260185 h 264752"/>
                <a:gd name="connsiteX0" fmla="*/ 134647 w 266771"/>
                <a:gd name="connsiteY0" fmla="*/ 0 h 264752"/>
                <a:gd name="connsiteX1" fmla="*/ 266771 w 266771"/>
                <a:gd name="connsiteY1" fmla="*/ 48045 h 264752"/>
                <a:gd name="connsiteX2" fmla="*/ 106816 w 266771"/>
                <a:gd name="connsiteY2" fmla="*/ 251359 h 264752"/>
                <a:gd name="connsiteX3" fmla="*/ 57599 w 266771"/>
                <a:gd name="connsiteY3" fmla="*/ 257218 h 264752"/>
                <a:gd name="connsiteX4" fmla="*/ 7796 w 266771"/>
                <a:gd name="connsiteY4" fmla="*/ 217961 h 264752"/>
                <a:gd name="connsiteX5" fmla="*/ 93377 w 266771"/>
                <a:gd name="connsiteY5" fmla="*/ 260185 h 264752"/>
                <a:gd name="connsiteX0" fmla="*/ 134647 w 266771"/>
                <a:gd name="connsiteY0" fmla="*/ 0 h 260185"/>
                <a:gd name="connsiteX1" fmla="*/ 266771 w 266771"/>
                <a:gd name="connsiteY1" fmla="*/ 48045 h 260185"/>
                <a:gd name="connsiteX2" fmla="*/ 106816 w 266771"/>
                <a:gd name="connsiteY2" fmla="*/ 251359 h 260185"/>
                <a:gd name="connsiteX3" fmla="*/ 7796 w 266771"/>
                <a:gd name="connsiteY3" fmla="*/ 217961 h 260185"/>
                <a:gd name="connsiteX4" fmla="*/ 93377 w 266771"/>
                <a:gd name="connsiteY4" fmla="*/ 260185 h 260185"/>
                <a:gd name="connsiteX0" fmla="*/ 44416 w 176540"/>
                <a:gd name="connsiteY0" fmla="*/ 0 h 269220"/>
                <a:gd name="connsiteX1" fmla="*/ 176540 w 176540"/>
                <a:gd name="connsiteY1" fmla="*/ 48045 h 269220"/>
                <a:gd name="connsiteX2" fmla="*/ 16585 w 176540"/>
                <a:gd name="connsiteY2" fmla="*/ 251359 h 269220"/>
                <a:gd name="connsiteX3" fmla="*/ 3146 w 176540"/>
                <a:gd name="connsiteY3" fmla="*/ 260185 h 269220"/>
                <a:gd name="connsiteX0" fmla="*/ 27831 w 159955"/>
                <a:gd name="connsiteY0" fmla="*/ 0 h 251359"/>
                <a:gd name="connsiteX1" fmla="*/ 159955 w 159955"/>
                <a:gd name="connsiteY1" fmla="*/ 48045 h 251359"/>
                <a:gd name="connsiteX2" fmla="*/ 0 w 159955"/>
                <a:gd name="connsiteY2" fmla="*/ 251359 h 251359"/>
                <a:gd name="connsiteX0" fmla="*/ 0 w 132124"/>
                <a:gd name="connsiteY0" fmla="*/ 0 h 48045"/>
                <a:gd name="connsiteX1" fmla="*/ 132124 w 132124"/>
                <a:gd name="connsiteY1" fmla="*/ 48045 h 48045"/>
              </a:gdLst>
              <a:ahLst/>
              <a:cxnLst>
                <a:cxn ang="0">
                  <a:pos x="connsiteX0" y="connsiteY0"/>
                </a:cxn>
                <a:cxn ang="0">
                  <a:pos x="connsiteX1" y="connsiteY1"/>
                </a:cxn>
              </a:cxnLst>
              <a:rect l="l" t="t" r="r" b="b"/>
              <a:pathLst>
                <a:path w="132124" h="48045">
                  <a:moveTo>
                    <a:pt x="0" y="0"/>
                  </a:moveTo>
                  <a:cubicBezTo>
                    <a:pt x="42479" y="20214"/>
                    <a:pt x="86715" y="36620"/>
                    <a:pt x="132124" y="48045"/>
                  </a:cubicBezTo>
                </a:path>
              </a:pathLst>
            </a:custGeom>
            <a:solidFill>
              <a:schemeClr val="accent1">
                <a:lumMod val="20000"/>
                <a:lumOff val="80000"/>
              </a:schemeClr>
            </a:solidFill>
            <a:ln>
              <a:gradFill>
                <a:gsLst>
                  <a:gs pos="0">
                    <a:schemeClr val="accent1"/>
                  </a:gs>
                  <a:gs pos="100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Freeform 9">
              <a:extLst>
                <a:ext uri="{FF2B5EF4-FFF2-40B4-BE49-F238E27FC236}">
                  <a16:creationId xmlns:a16="http://schemas.microsoft.com/office/drawing/2014/main" id="{EE524D35-A614-6360-275E-335685E26238}"/>
                </a:ext>
              </a:extLst>
            </p:cNvPr>
            <p:cNvSpPr>
              <a:spLocks noChangeAspect="1"/>
            </p:cNvSpPr>
            <p:nvPr/>
          </p:nvSpPr>
          <p:spPr>
            <a:xfrm>
              <a:off x="5264280" y="2730978"/>
              <a:ext cx="91440" cy="33251"/>
            </a:xfrm>
            <a:custGeom>
              <a:avLst/>
              <a:gdLst>
                <a:gd name="connsiteX0" fmla="*/ 140246 w 272370"/>
                <a:gd name="connsiteY0" fmla="*/ 0 h 264752"/>
                <a:gd name="connsiteX1" fmla="*/ 272370 w 272370"/>
                <a:gd name="connsiteY1" fmla="*/ 48045 h 264752"/>
                <a:gd name="connsiteX2" fmla="*/ 112415 w 272370"/>
                <a:gd name="connsiteY2" fmla="*/ 251359 h 264752"/>
                <a:gd name="connsiteX3" fmla="*/ 63198 w 272370"/>
                <a:gd name="connsiteY3" fmla="*/ 257218 h 264752"/>
                <a:gd name="connsiteX4" fmla="*/ 13395 w 272370"/>
                <a:gd name="connsiteY4" fmla="*/ 217961 h 264752"/>
                <a:gd name="connsiteX5" fmla="*/ 7536 w 272370"/>
                <a:gd name="connsiteY5" fmla="*/ 168745 h 264752"/>
                <a:gd name="connsiteX6" fmla="*/ 140246 w 272370"/>
                <a:gd name="connsiteY6" fmla="*/ 0 h 264752"/>
                <a:gd name="connsiteX0" fmla="*/ 1937 w 266771"/>
                <a:gd name="connsiteY0" fmla="*/ 168745 h 264752"/>
                <a:gd name="connsiteX1" fmla="*/ 134647 w 266771"/>
                <a:gd name="connsiteY1" fmla="*/ 0 h 264752"/>
                <a:gd name="connsiteX2" fmla="*/ 266771 w 266771"/>
                <a:gd name="connsiteY2" fmla="*/ 48045 h 264752"/>
                <a:gd name="connsiteX3" fmla="*/ 106816 w 266771"/>
                <a:gd name="connsiteY3" fmla="*/ 251359 h 264752"/>
                <a:gd name="connsiteX4" fmla="*/ 57599 w 266771"/>
                <a:gd name="connsiteY4" fmla="*/ 257218 h 264752"/>
                <a:gd name="connsiteX5" fmla="*/ 7796 w 266771"/>
                <a:gd name="connsiteY5" fmla="*/ 217961 h 264752"/>
                <a:gd name="connsiteX6" fmla="*/ 93377 w 266771"/>
                <a:gd name="connsiteY6" fmla="*/ 260185 h 264752"/>
                <a:gd name="connsiteX0" fmla="*/ 134647 w 266771"/>
                <a:gd name="connsiteY0" fmla="*/ 0 h 264752"/>
                <a:gd name="connsiteX1" fmla="*/ 266771 w 266771"/>
                <a:gd name="connsiteY1" fmla="*/ 48045 h 264752"/>
                <a:gd name="connsiteX2" fmla="*/ 106816 w 266771"/>
                <a:gd name="connsiteY2" fmla="*/ 251359 h 264752"/>
                <a:gd name="connsiteX3" fmla="*/ 57599 w 266771"/>
                <a:gd name="connsiteY3" fmla="*/ 257218 h 264752"/>
                <a:gd name="connsiteX4" fmla="*/ 7796 w 266771"/>
                <a:gd name="connsiteY4" fmla="*/ 217961 h 264752"/>
                <a:gd name="connsiteX5" fmla="*/ 93377 w 266771"/>
                <a:gd name="connsiteY5" fmla="*/ 260185 h 264752"/>
                <a:gd name="connsiteX0" fmla="*/ 134647 w 266771"/>
                <a:gd name="connsiteY0" fmla="*/ 0 h 260185"/>
                <a:gd name="connsiteX1" fmla="*/ 266771 w 266771"/>
                <a:gd name="connsiteY1" fmla="*/ 48045 h 260185"/>
                <a:gd name="connsiteX2" fmla="*/ 106816 w 266771"/>
                <a:gd name="connsiteY2" fmla="*/ 251359 h 260185"/>
                <a:gd name="connsiteX3" fmla="*/ 7796 w 266771"/>
                <a:gd name="connsiteY3" fmla="*/ 217961 h 260185"/>
                <a:gd name="connsiteX4" fmla="*/ 93377 w 266771"/>
                <a:gd name="connsiteY4" fmla="*/ 260185 h 260185"/>
                <a:gd name="connsiteX0" fmla="*/ 44416 w 176540"/>
                <a:gd name="connsiteY0" fmla="*/ 0 h 269220"/>
                <a:gd name="connsiteX1" fmla="*/ 176540 w 176540"/>
                <a:gd name="connsiteY1" fmla="*/ 48045 h 269220"/>
                <a:gd name="connsiteX2" fmla="*/ 16585 w 176540"/>
                <a:gd name="connsiteY2" fmla="*/ 251359 h 269220"/>
                <a:gd name="connsiteX3" fmla="*/ 3146 w 176540"/>
                <a:gd name="connsiteY3" fmla="*/ 260185 h 269220"/>
                <a:gd name="connsiteX0" fmla="*/ 27831 w 159955"/>
                <a:gd name="connsiteY0" fmla="*/ 0 h 251359"/>
                <a:gd name="connsiteX1" fmla="*/ 159955 w 159955"/>
                <a:gd name="connsiteY1" fmla="*/ 48045 h 251359"/>
                <a:gd name="connsiteX2" fmla="*/ 0 w 159955"/>
                <a:gd name="connsiteY2" fmla="*/ 251359 h 251359"/>
                <a:gd name="connsiteX0" fmla="*/ 0 w 132124"/>
                <a:gd name="connsiteY0" fmla="*/ 0 h 48045"/>
                <a:gd name="connsiteX1" fmla="*/ 132124 w 132124"/>
                <a:gd name="connsiteY1" fmla="*/ 48045 h 48045"/>
              </a:gdLst>
              <a:ahLst/>
              <a:cxnLst>
                <a:cxn ang="0">
                  <a:pos x="connsiteX0" y="connsiteY0"/>
                </a:cxn>
                <a:cxn ang="0">
                  <a:pos x="connsiteX1" y="connsiteY1"/>
                </a:cxn>
              </a:cxnLst>
              <a:rect l="l" t="t" r="r" b="b"/>
              <a:pathLst>
                <a:path w="132124" h="48045">
                  <a:moveTo>
                    <a:pt x="0" y="0"/>
                  </a:moveTo>
                  <a:cubicBezTo>
                    <a:pt x="42479" y="20214"/>
                    <a:pt x="86715" y="36620"/>
                    <a:pt x="132124" y="48045"/>
                  </a:cubicBezTo>
                </a:path>
              </a:pathLst>
            </a:custGeom>
            <a:solidFill>
              <a:schemeClr val="accent1">
                <a:lumMod val="20000"/>
                <a:lumOff val="80000"/>
              </a:schemeClr>
            </a:solidFill>
            <a:ln>
              <a:gradFill>
                <a:gsLst>
                  <a:gs pos="0">
                    <a:schemeClr val="accent1"/>
                  </a:gs>
                  <a:gs pos="100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10">
              <a:extLst>
                <a:ext uri="{FF2B5EF4-FFF2-40B4-BE49-F238E27FC236}">
                  <a16:creationId xmlns:a16="http://schemas.microsoft.com/office/drawing/2014/main" id="{4EB03D2F-5CEA-7FD5-1B6C-797C4C62B107}"/>
                </a:ext>
              </a:extLst>
            </p:cNvPr>
            <p:cNvSpPr>
              <a:spLocks noChangeAspect="1"/>
            </p:cNvSpPr>
            <p:nvPr/>
          </p:nvSpPr>
          <p:spPr>
            <a:xfrm>
              <a:off x="5236023" y="2770501"/>
              <a:ext cx="91440" cy="33251"/>
            </a:xfrm>
            <a:custGeom>
              <a:avLst/>
              <a:gdLst>
                <a:gd name="connsiteX0" fmla="*/ 140246 w 272370"/>
                <a:gd name="connsiteY0" fmla="*/ 0 h 264752"/>
                <a:gd name="connsiteX1" fmla="*/ 272370 w 272370"/>
                <a:gd name="connsiteY1" fmla="*/ 48045 h 264752"/>
                <a:gd name="connsiteX2" fmla="*/ 112415 w 272370"/>
                <a:gd name="connsiteY2" fmla="*/ 251359 h 264752"/>
                <a:gd name="connsiteX3" fmla="*/ 63198 w 272370"/>
                <a:gd name="connsiteY3" fmla="*/ 257218 h 264752"/>
                <a:gd name="connsiteX4" fmla="*/ 13395 w 272370"/>
                <a:gd name="connsiteY4" fmla="*/ 217961 h 264752"/>
                <a:gd name="connsiteX5" fmla="*/ 7536 w 272370"/>
                <a:gd name="connsiteY5" fmla="*/ 168745 h 264752"/>
                <a:gd name="connsiteX6" fmla="*/ 140246 w 272370"/>
                <a:gd name="connsiteY6" fmla="*/ 0 h 264752"/>
                <a:gd name="connsiteX0" fmla="*/ 1937 w 266771"/>
                <a:gd name="connsiteY0" fmla="*/ 168745 h 264752"/>
                <a:gd name="connsiteX1" fmla="*/ 134647 w 266771"/>
                <a:gd name="connsiteY1" fmla="*/ 0 h 264752"/>
                <a:gd name="connsiteX2" fmla="*/ 266771 w 266771"/>
                <a:gd name="connsiteY2" fmla="*/ 48045 h 264752"/>
                <a:gd name="connsiteX3" fmla="*/ 106816 w 266771"/>
                <a:gd name="connsiteY3" fmla="*/ 251359 h 264752"/>
                <a:gd name="connsiteX4" fmla="*/ 57599 w 266771"/>
                <a:gd name="connsiteY4" fmla="*/ 257218 h 264752"/>
                <a:gd name="connsiteX5" fmla="*/ 7796 w 266771"/>
                <a:gd name="connsiteY5" fmla="*/ 217961 h 264752"/>
                <a:gd name="connsiteX6" fmla="*/ 93377 w 266771"/>
                <a:gd name="connsiteY6" fmla="*/ 260185 h 264752"/>
                <a:gd name="connsiteX0" fmla="*/ 134647 w 266771"/>
                <a:gd name="connsiteY0" fmla="*/ 0 h 264752"/>
                <a:gd name="connsiteX1" fmla="*/ 266771 w 266771"/>
                <a:gd name="connsiteY1" fmla="*/ 48045 h 264752"/>
                <a:gd name="connsiteX2" fmla="*/ 106816 w 266771"/>
                <a:gd name="connsiteY2" fmla="*/ 251359 h 264752"/>
                <a:gd name="connsiteX3" fmla="*/ 57599 w 266771"/>
                <a:gd name="connsiteY3" fmla="*/ 257218 h 264752"/>
                <a:gd name="connsiteX4" fmla="*/ 7796 w 266771"/>
                <a:gd name="connsiteY4" fmla="*/ 217961 h 264752"/>
                <a:gd name="connsiteX5" fmla="*/ 93377 w 266771"/>
                <a:gd name="connsiteY5" fmla="*/ 260185 h 264752"/>
                <a:gd name="connsiteX0" fmla="*/ 134647 w 266771"/>
                <a:gd name="connsiteY0" fmla="*/ 0 h 260185"/>
                <a:gd name="connsiteX1" fmla="*/ 266771 w 266771"/>
                <a:gd name="connsiteY1" fmla="*/ 48045 h 260185"/>
                <a:gd name="connsiteX2" fmla="*/ 106816 w 266771"/>
                <a:gd name="connsiteY2" fmla="*/ 251359 h 260185"/>
                <a:gd name="connsiteX3" fmla="*/ 7796 w 266771"/>
                <a:gd name="connsiteY3" fmla="*/ 217961 h 260185"/>
                <a:gd name="connsiteX4" fmla="*/ 93377 w 266771"/>
                <a:gd name="connsiteY4" fmla="*/ 260185 h 260185"/>
                <a:gd name="connsiteX0" fmla="*/ 44416 w 176540"/>
                <a:gd name="connsiteY0" fmla="*/ 0 h 269220"/>
                <a:gd name="connsiteX1" fmla="*/ 176540 w 176540"/>
                <a:gd name="connsiteY1" fmla="*/ 48045 h 269220"/>
                <a:gd name="connsiteX2" fmla="*/ 16585 w 176540"/>
                <a:gd name="connsiteY2" fmla="*/ 251359 h 269220"/>
                <a:gd name="connsiteX3" fmla="*/ 3146 w 176540"/>
                <a:gd name="connsiteY3" fmla="*/ 260185 h 269220"/>
                <a:gd name="connsiteX0" fmla="*/ 27831 w 159955"/>
                <a:gd name="connsiteY0" fmla="*/ 0 h 251359"/>
                <a:gd name="connsiteX1" fmla="*/ 159955 w 159955"/>
                <a:gd name="connsiteY1" fmla="*/ 48045 h 251359"/>
                <a:gd name="connsiteX2" fmla="*/ 0 w 159955"/>
                <a:gd name="connsiteY2" fmla="*/ 251359 h 251359"/>
                <a:gd name="connsiteX0" fmla="*/ 0 w 132124"/>
                <a:gd name="connsiteY0" fmla="*/ 0 h 48045"/>
                <a:gd name="connsiteX1" fmla="*/ 132124 w 132124"/>
                <a:gd name="connsiteY1" fmla="*/ 48045 h 48045"/>
              </a:gdLst>
              <a:ahLst/>
              <a:cxnLst>
                <a:cxn ang="0">
                  <a:pos x="connsiteX0" y="connsiteY0"/>
                </a:cxn>
                <a:cxn ang="0">
                  <a:pos x="connsiteX1" y="connsiteY1"/>
                </a:cxn>
              </a:cxnLst>
              <a:rect l="l" t="t" r="r" b="b"/>
              <a:pathLst>
                <a:path w="132124" h="48045">
                  <a:moveTo>
                    <a:pt x="0" y="0"/>
                  </a:moveTo>
                  <a:cubicBezTo>
                    <a:pt x="42479" y="20214"/>
                    <a:pt x="86715" y="36620"/>
                    <a:pt x="132124" y="48045"/>
                  </a:cubicBezTo>
                </a:path>
              </a:pathLst>
            </a:custGeom>
            <a:solidFill>
              <a:schemeClr val="accent1">
                <a:lumMod val="20000"/>
                <a:lumOff val="80000"/>
              </a:schemeClr>
            </a:solidFill>
            <a:ln>
              <a:gradFill>
                <a:gsLst>
                  <a:gs pos="0">
                    <a:schemeClr val="accent1"/>
                  </a:gs>
                  <a:gs pos="100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329007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54063E19-7D51-FBA1-D406-358E486B8C59}"/>
              </a:ext>
            </a:extLst>
          </p:cNvPr>
          <p:cNvSpPr/>
          <p:nvPr/>
        </p:nvSpPr>
        <p:spPr>
          <a:xfrm>
            <a:off x="0" y="0"/>
            <a:ext cx="1902134" cy="6858000"/>
          </a:xfrm>
          <a:custGeom>
            <a:avLst/>
            <a:gdLst>
              <a:gd name="connsiteX0" fmla="*/ 0 w 1902134"/>
              <a:gd name="connsiteY0" fmla="*/ 0 h 6858000"/>
              <a:gd name="connsiteX1" fmla="*/ 139957 w 1902134"/>
              <a:gd name="connsiteY1" fmla="*/ 0 h 6858000"/>
              <a:gd name="connsiteX2" fmla="*/ 883054 w 1902134"/>
              <a:gd name="connsiteY2" fmla="*/ 0 h 6858000"/>
              <a:gd name="connsiteX3" fmla="*/ 1651326 w 1902134"/>
              <a:gd name="connsiteY3" fmla="*/ 0 h 6858000"/>
              <a:gd name="connsiteX4" fmla="*/ 1659425 w 1902134"/>
              <a:gd name="connsiteY4" fmla="*/ 79959 h 6858000"/>
              <a:gd name="connsiteX5" fmla="*/ 1691424 w 1902134"/>
              <a:gd name="connsiteY5" fmla="*/ 6542386 h 6858000"/>
              <a:gd name="connsiteX6" fmla="*/ 1648054 w 1902134"/>
              <a:gd name="connsiteY6" fmla="*/ 6858000 h 6858000"/>
              <a:gd name="connsiteX7" fmla="*/ 883054 w 1902134"/>
              <a:gd name="connsiteY7" fmla="*/ 6858000 h 6858000"/>
              <a:gd name="connsiteX8" fmla="*/ 139957 w 1902134"/>
              <a:gd name="connsiteY8" fmla="*/ 6858000 h 6858000"/>
              <a:gd name="connsiteX9" fmla="*/ 0 w 1902134"/>
              <a:gd name="connsiteY9" fmla="*/ 6858000 h 6858000"/>
              <a:gd name="connsiteX10" fmla="*/ 0 w 1902134"/>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02134" h="6858000">
                <a:moveTo>
                  <a:pt x="0" y="0"/>
                </a:moveTo>
                <a:lnTo>
                  <a:pt x="139957" y="0"/>
                </a:lnTo>
                <a:lnTo>
                  <a:pt x="883054" y="0"/>
                </a:lnTo>
                <a:lnTo>
                  <a:pt x="1651326" y="0"/>
                </a:lnTo>
                <a:lnTo>
                  <a:pt x="1659425" y="79959"/>
                </a:lnTo>
                <a:cubicBezTo>
                  <a:pt x="1757343" y="992763"/>
                  <a:pt x="2133944" y="3160813"/>
                  <a:pt x="1691424" y="6542386"/>
                </a:cubicBezTo>
                <a:lnTo>
                  <a:pt x="1648054" y="6858000"/>
                </a:lnTo>
                <a:lnTo>
                  <a:pt x="883054" y="6858000"/>
                </a:lnTo>
                <a:lnTo>
                  <a:pt x="139957" y="6858000"/>
                </a:lnTo>
                <a:lnTo>
                  <a:pt x="0" y="6858000"/>
                </a:lnTo>
                <a:lnTo>
                  <a:pt x="0" y="0"/>
                </a:lnTo>
                <a:close/>
              </a:path>
            </a:pathLst>
          </a:custGeom>
          <a:solidFill>
            <a:srgbClr val="DEEAF6">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767592"/>
            <a:endParaRPr lang="en-US" sz="1100" b="1" kern="0" spc="300" noProof="0">
              <a:solidFill>
                <a:srgbClr val="FFFFFF"/>
              </a:solidFill>
              <a:latin typeface="Calibri" panose="020F0502020204030204"/>
            </a:endParaRPr>
          </a:p>
        </p:txBody>
      </p:sp>
      <p:sp>
        <p:nvSpPr>
          <p:cNvPr id="43" name="Text Placeholder 11">
            <a:extLst>
              <a:ext uri="{FF2B5EF4-FFF2-40B4-BE49-F238E27FC236}">
                <a16:creationId xmlns:a16="http://schemas.microsoft.com/office/drawing/2014/main" id="{9F58F037-7E6D-80E9-853B-87F408BCF0AF}"/>
              </a:ext>
            </a:extLst>
          </p:cNvPr>
          <p:cNvSpPr txBox="1">
            <a:spLocks/>
          </p:cNvSpPr>
          <p:nvPr/>
        </p:nvSpPr>
        <p:spPr>
          <a:xfrm>
            <a:off x="2621898" y="4921764"/>
            <a:ext cx="4187826" cy="1069845"/>
          </a:xfrm>
          <a:prstGeom prst="rect">
            <a:avLst/>
          </a:prstGeom>
        </p:spPr>
        <p:txBody>
          <a:bodyPr wrap="square" lIns="0" tIns="0" rIns="0" bIns="0" anchor="t" anchorCtr="0">
            <a:sp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4766" marR="48281" algn="ctr" defTabSz="767592">
              <a:lnSpc>
                <a:spcPct val="150000"/>
              </a:lnSpc>
              <a:spcBef>
                <a:spcPts val="3600"/>
              </a:spcBef>
              <a:defRPr/>
            </a:pPr>
            <a:r>
              <a:rPr lang="en-US" sz="1600" kern="0" spc="-4" noProof="0">
                <a:solidFill>
                  <a:schemeClr val="bg1"/>
                </a:solidFill>
                <a:latin typeface="Calibri" panose="020F0502020204030204"/>
                <a:cs typeface="Calibri"/>
              </a:rPr>
              <a:t>The results demonstrate the mechanistic relevance of FcRn inhibition in IIM, suggesting </a:t>
            </a:r>
            <a:r>
              <a:rPr lang="en-US" sz="1600" b="1" kern="0" spc="-4" noProof="0">
                <a:solidFill>
                  <a:schemeClr val="bg1"/>
                </a:solidFill>
                <a:latin typeface="Calibri" panose="020F0502020204030204"/>
                <a:cs typeface="Calibri"/>
              </a:rPr>
              <a:t>potential pathogenicity of autoantibodies in IIM</a:t>
            </a:r>
          </a:p>
        </p:txBody>
      </p:sp>
      <p:sp>
        <p:nvSpPr>
          <p:cNvPr id="45" name="Text Placeholder 11">
            <a:extLst>
              <a:ext uri="{FF2B5EF4-FFF2-40B4-BE49-F238E27FC236}">
                <a16:creationId xmlns:a16="http://schemas.microsoft.com/office/drawing/2014/main" id="{42D4D695-4C6E-0E9B-BAE6-FF08AFE994A9}"/>
              </a:ext>
            </a:extLst>
          </p:cNvPr>
          <p:cNvSpPr txBox="1">
            <a:spLocks/>
          </p:cNvSpPr>
          <p:nvPr/>
        </p:nvSpPr>
        <p:spPr>
          <a:xfrm>
            <a:off x="7587178" y="4921764"/>
            <a:ext cx="3575827" cy="1069845"/>
          </a:xfrm>
          <a:prstGeom prst="rect">
            <a:avLst/>
          </a:prstGeom>
        </p:spPr>
        <p:txBody>
          <a:bodyPr wrap="square" lIns="0" tIns="0" rIns="0" bIns="0" anchor="t" anchorCtr="0">
            <a:sp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4766" marR="48281" algn="ctr" defTabSz="767592">
              <a:lnSpc>
                <a:spcPct val="150000"/>
              </a:lnSpc>
              <a:spcBef>
                <a:spcPts val="3600"/>
              </a:spcBef>
              <a:defRPr/>
            </a:pPr>
            <a:r>
              <a:rPr lang="en-US" sz="1600" kern="0" spc="-4" noProof="0">
                <a:solidFill>
                  <a:schemeClr val="bg1"/>
                </a:solidFill>
                <a:latin typeface="Calibri" panose="020F0502020204030204"/>
                <a:cs typeface="Calibri"/>
              </a:rPr>
              <a:t>These findings support further </a:t>
            </a:r>
            <a:br>
              <a:rPr lang="en-US" sz="1600" kern="0" spc="-4" noProof="0">
                <a:solidFill>
                  <a:schemeClr val="bg1"/>
                </a:solidFill>
                <a:latin typeface="Calibri" panose="020F0502020204030204"/>
                <a:cs typeface="Calibri"/>
              </a:rPr>
            </a:br>
            <a:r>
              <a:rPr lang="en-US" sz="1600" b="1" kern="0" spc="-4" noProof="0">
                <a:solidFill>
                  <a:schemeClr val="bg1"/>
                </a:solidFill>
                <a:latin typeface="Calibri" panose="020F0502020204030204"/>
                <a:cs typeface="Calibri"/>
              </a:rPr>
              <a:t>evaluation of efgartigimod PH20 SC in IIM </a:t>
            </a:r>
            <a:r>
              <a:rPr lang="en-US" sz="1600" kern="0" spc="-4" noProof="0">
                <a:solidFill>
                  <a:schemeClr val="bg1"/>
                </a:solidFill>
                <a:latin typeface="Calibri" panose="020F0502020204030204"/>
                <a:cs typeface="Calibri"/>
              </a:rPr>
              <a:t>in the ongoing phase 3 part of the study</a:t>
            </a:r>
          </a:p>
        </p:txBody>
      </p:sp>
      <p:sp>
        <p:nvSpPr>
          <p:cNvPr id="2" name="TextBox 1">
            <a:extLst>
              <a:ext uri="{FF2B5EF4-FFF2-40B4-BE49-F238E27FC236}">
                <a16:creationId xmlns:a16="http://schemas.microsoft.com/office/drawing/2014/main" id="{6BF144CA-ED69-BB11-5FC6-6C922BBB4523}"/>
              </a:ext>
            </a:extLst>
          </p:cNvPr>
          <p:cNvSpPr txBox="1"/>
          <p:nvPr/>
        </p:nvSpPr>
        <p:spPr>
          <a:xfrm rot="16200000">
            <a:off x="-2593236" y="3013501"/>
            <a:ext cx="6858000" cy="830997"/>
          </a:xfrm>
          <a:prstGeom prst="rect">
            <a:avLst/>
          </a:prstGeom>
          <a:noFill/>
        </p:spPr>
        <p:txBody>
          <a:bodyPr wrap="square">
            <a:spAutoFit/>
          </a:bodyPr>
          <a:lstStyle/>
          <a:p>
            <a:pPr marR="0" lvl="0" algn="ctr" defTabSz="767592" rtl="0" eaLnBrk="1" fontAlgn="auto" latinLnBrk="0" hangingPunct="1">
              <a:lnSpc>
                <a:spcPct val="100000"/>
              </a:lnSpc>
              <a:spcBef>
                <a:spcPts val="0"/>
              </a:spcBef>
              <a:spcAft>
                <a:spcPts val="0"/>
              </a:spcAft>
              <a:buClrTx/>
              <a:buSzTx/>
              <a:buFontTx/>
              <a:buNone/>
              <a:tabLst>
                <a:tab pos="3476625" algn="l"/>
              </a:tabLst>
              <a:defRPr/>
            </a:pPr>
            <a:r>
              <a:rPr kumimoji="0" lang="en-US" sz="4800" u="none" strike="noStrike" kern="0" cap="none" spc="300" normalizeH="0" baseline="0" noProof="0">
                <a:ln>
                  <a:noFill/>
                </a:ln>
                <a:solidFill>
                  <a:schemeClr val="accent1">
                    <a:lumMod val="40000"/>
                    <a:lumOff val="60000"/>
                  </a:schemeClr>
                </a:solidFill>
                <a:effectLst/>
                <a:uLnTx/>
                <a:uFillTx/>
                <a:latin typeface="Calibri Light" panose="020F0302020204030204" pitchFamily="34" charset="0"/>
                <a:cs typeface="Calibri Light" panose="020F0302020204030204" pitchFamily="34" charset="0"/>
              </a:rPr>
              <a:t>KEY TAKEAWAYS</a:t>
            </a:r>
          </a:p>
        </p:txBody>
      </p:sp>
      <p:sp>
        <p:nvSpPr>
          <p:cNvPr id="15" name="Footer Placeholder 4">
            <a:extLst>
              <a:ext uri="{FF2B5EF4-FFF2-40B4-BE49-F238E27FC236}">
                <a16:creationId xmlns:a16="http://schemas.microsoft.com/office/drawing/2014/main" id="{14CFD348-E372-964C-006F-47CC11A35598}"/>
              </a:ext>
            </a:extLst>
          </p:cNvPr>
          <p:cNvSpPr>
            <a:spLocks noGrp="1"/>
          </p:cNvSpPr>
          <p:nvPr>
            <p:ph type="ftr" sz="quarter" idx="11"/>
          </p:nvPr>
        </p:nvSpPr>
        <p:spPr>
          <a:xfrm>
            <a:off x="2294763" y="6566905"/>
            <a:ext cx="9418320" cy="116955"/>
          </a:xfrm>
        </p:spPr>
        <p:txBody>
          <a:bodyPr/>
          <a:lstStyle>
            <a:lvl1pPr>
              <a:defRPr>
                <a:solidFill>
                  <a:schemeClr val="bg1"/>
                </a:solidFill>
              </a:defRPr>
            </a:lvl1pPr>
          </a:lstStyle>
          <a:p>
            <a:r>
              <a:rPr lang="en-US" noProof="0">
                <a:solidFill>
                  <a:schemeClr val="bg1"/>
                </a:solidFill>
              </a:rPr>
              <a:t>FcRn, neonatal fragment crystallizable receptor; IIM, idiopathic inflammatory myopathy; PH20, recombinant human hyaluronidase PH20; SC, subcutaneous; TIS, Total I</a:t>
            </a:r>
            <a:r>
              <a:rPr lang="en-US"/>
              <a:t>mprovement S</a:t>
            </a:r>
            <a:r>
              <a:rPr lang="en-US" noProof="0">
                <a:solidFill>
                  <a:schemeClr val="bg1"/>
                </a:solidFill>
              </a:rPr>
              <a:t>core.</a:t>
            </a:r>
          </a:p>
        </p:txBody>
      </p:sp>
      <p:grpSp>
        <p:nvGrpSpPr>
          <p:cNvPr id="23" name="Group 22">
            <a:extLst>
              <a:ext uri="{FF2B5EF4-FFF2-40B4-BE49-F238E27FC236}">
                <a16:creationId xmlns:a16="http://schemas.microsoft.com/office/drawing/2014/main" id="{8B8203FF-CD71-A381-9E08-ED6BBB90F1AF}"/>
              </a:ext>
            </a:extLst>
          </p:cNvPr>
          <p:cNvGrpSpPr/>
          <p:nvPr/>
        </p:nvGrpSpPr>
        <p:grpSpPr>
          <a:xfrm>
            <a:off x="8729637" y="3615266"/>
            <a:ext cx="1290908" cy="1290908"/>
            <a:chOff x="8834766" y="3081867"/>
            <a:chExt cx="1290908" cy="1290908"/>
          </a:xfrm>
        </p:grpSpPr>
        <p:sp>
          <p:nvSpPr>
            <p:cNvPr id="7" name="Freeform 6">
              <a:extLst>
                <a:ext uri="{FF2B5EF4-FFF2-40B4-BE49-F238E27FC236}">
                  <a16:creationId xmlns:a16="http://schemas.microsoft.com/office/drawing/2014/main" id="{DA627560-8B1D-C57C-9DFD-6B294D7C6477}"/>
                </a:ext>
              </a:extLst>
            </p:cNvPr>
            <p:cNvSpPr>
              <a:spLocks noChangeAspect="1"/>
            </p:cNvSpPr>
            <p:nvPr/>
          </p:nvSpPr>
          <p:spPr>
            <a:xfrm>
              <a:off x="8834766" y="3081867"/>
              <a:ext cx="1290908" cy="1290908"/>
            </a:xfrm>
            <a:custGeom>
              <a:avLst/>
              <a:gdLst>
                <a:gd name="connsiteX0" fmla="*/ 849411 w 961787"/>
                <a:gd name="connsiteY0" fmla="*/ 120671 h 986370"/>
                <a:gd name="connsiteX1" fmla="*/ 800888 w 961787"/>
                <a:gd name="connsiteY1" fmla="*/ 93167 h 986370"/>
                <a:gd name="connsiteX2" fmla="*/ 669399 w 961787"/>
                <a:gd name="connsiteY2" fmla="*/ 39771 h 986370"/>
                <a:gd name="connsiteX3" fmla="*/ 601657 w 961787"/>
                <a:gd name="connsiteY3" fmla="*/ 23838 h 986370"/>
                <a:gd name="connsiteX4" fmla="*/ 423262 w 961787"/>
                <a:gd name="connsiteY4" fmla="*/ 507 h 986370"/>
                <a:gd name="connsiteX5" fmla="*/ 337918 w 961787"/>
                <a:gd name="connsiteY5" fmla="*/ 2973 h 986370"/>
                <a:gd name="connsiteX6" fmla="*/ 291868 w 961787"/>
                <a:gd name="connsiteY6" fmla="*/ 11319 h 986370"/>
                <a:gd name="connsiteX7" fmla="*/ 215658 w 961787"/>
                <a:gd name="connsiteY7" fmla="*/ 52290 h 986370"/>
                <a:gd name="connsiteX8" fmla="*/ 208142 w 961787"/>
                <a:gd name="connsiteY8" fmla="*/ 58076 h 986370"/>
                <a:gd name="connsiteX9" fmla="*/ 120990 w 961787"/>
                <a:gd name="connsiteY9" fmla="*/ 791767 h 986370"/>
                <a:gd name="connsiteX10" fmla="*/ 696229 w 961787"/>
                <a:gd name="connsiteY10" fmla="*/ 966275 h 986370"/>
                <a:gd name="connsiteX11" fmla="*/ 792515 w 961787"/>
                <a:gd name="connsiteY11" fmla="*/ 871908 h 986370"/>
                <a:gd name="connsiteX12" fmla="*/ 800888 w 961787"/>
                <a:gd name="connsiteY12" fmla="*/ 851897 h 986370"/>
                <a:gd name="connsiteX13" fmla="*/ 817633 w 961787"/>
                <a:gd name="connsiteY13" fmla="*/ 814340 h 986370"/>
                <a:gd name="connsiteX14" fmla="*/ 825149 w 961787"/>
                <a:gd name="connsiteY14" fmla="*/ 790155 h 986370"/>
                <a:gd name="connsiteX15" fmla="*/ 913919 w 961787"/>
                <a:gd name="connsiteY15" fmla="*/ 517202 h 986370"/>
                <a:gd name="connsiteX16" fmla="*/ 927334 w 961787"/>
                <a:gd name="connsiteY16" fmla="*/ 482206 h 986370"/>
                <a:gd name="connsiteX17" fmla="*/ 956638 w 961787"/>
                <a:gd name="connsiteY17" fmla="*/ 383666 h 986370"/>
                <a:gd name="connsiteX18" fmla="*/ 960824 w 961787"/>
                <a:gd name="connsiteY18" fmla="*/ 342789 h 986370"/>
                <a:gd name="connsiteX19" fmla="*/ 959112 w 961787"/>
                <a:gd name="connsiteY19" fmla="*/ 280194 h 986370"/>
                <a:gd name="connsiteX20" fmla="*/ 947409 w 961787"/>
                <a:gd name="connsiteY20" fmla="*/ 235998 h 986370"/>
                <a:gd name="connsiteX21" fmla="*/ 925716 w 961787"/>
                <a:gd name="connsiteY21" fmla="*/ 194932 h 986370"/>
                <a:gd name="connsiteX22" fmla="*/ 893938 w 961787"/>
                <a:gd name="connsiteY22" fmla="*/ 158228 h 986370"/>
                <a:gd name="connsiteX23" fmla="*/ 849506 w 961787"/>
                <a:gd name="connsiteY23" fmla="*/ 120671 h 98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61787" h="986370">
                  <a:moveTo>
                    <a:pt x="849411" y="120671"/>
                  </a:moveTo>
                  <a:cubicBezTo>
                    <a:pt x="833807" y="110618"/>
                    <a:pt x="817538" y="101418"/>
                    <a:pt x="800888" y="93167"/>
                  </a:cubicBezTo>
                  <a:cubicBezTo>
                    <a:pt x="758834" y="71259"/>
                    <a:pt x="714783" y="53334"/>
                    <a:pt x="669399" y="39771"/>
                  </a:cubicBezTo>
                  <a:cubicBezTo>
                    <a:pt x="647611" y="34176"/>
                    <a:pt x="625062" y="28865"/>
                    <a:pt x="601657" y="23838"/>
                  </a:cubicBezTo>
                  <a:cubicBezTo>
                    <a:pt x="542762" y="12078"/>
                    <a:pt x="483202" y="4301"/>
                    <a:pt x="423262" y="507"/>
                  </a:cubicBezTo>
                  <a:cubicBezTo>
                    <a:pt x="394814" y="-631"/>
                    <a:pt x="366271" y="128"/>
                    <a:pt x="337918" y="2973"/>
                  </a:cubicBezTo>
                  <a:cubicBezTo>
                    <a:pt x="321173" y="5249"/>
                    <a:pt x="305854" y="8000"/>
                    <a:pt x="291868" y="11319"/>
                  </a:cubicBezTo>
                  <a:cubicBezTo>
                    <a:pt x="263706" y="19001"/>
                    <a:pt x="237636" y="33038"/>
                    <a:pt x="215658" y="52290"/>
                  </a:cubicBezTo>
                  <a:cubicBezTo>
                    <a:pt x="213470" y="53903"/>
                    <a:pt x="210901" y="55894"/>
                    <a:pt x="208142" y="58076"/>
                  </a:cubicBezTo>
                  <a:cubicBezTo>
                    <a:pt x="-36378" y="375794"/>
                    <a:pt x="-65492" y="620389"/>
                    <a:pt x="120990" y="791767"/>
                  </a:cubicBezTo>
                  <a:cubicBezTo>
                    <a:pt x="306901" y="963145"/>
                    <a:pt x="498711" y="1021378"/>
                    <a:pt x="696229" y="966275"/>
                  </a:cubicBezTo>
                  <a:cubicBezTo>
                    <a:pt x="733621" y="950626"/>
                    <a:pt x="765780" y="919234"/>
                    <a:pt x="792515" y="871908"/>
                  </a:cubicBezTo>
                  <a:lnTo>
                    <a:pt x="800888" y="851897"/>
                  </a:lnTo>
                  <a:cubicBezTo>
                    <a:pt x="805930" y="839662"/>
                    <a:pt x="811449" y="827143"/>
                    <a:pt x="817633" y="814340"/>
                  </a:cubicBezTo>
                  <a:cubicBezTo>
                    <a:pt x="819821" y="806563"/>
                    <a:pt x="822390" y="798501"/>
                    <a:pt x="825149" y="790155"/>
                  </a:cubicBezTo>
                  <a:cubicBezTo>
                    <a:pt x="850838" y="697211"/>
                    <a:pt x="880428" y="606258"/>
                    <a:pt x="913919" y="517202"/>
                  </a:cubicBezTo>
                  <a:cubicBezTo>
                    <a:pt x="918390" y="505537"/>
                    <a:pt x="922862" y="493871"/>
                    <a:pt x="927334" y="482206"/>
                  </a:cubicBezTo>
                  <a:cubicBezTo>
                    <a:pt x="938751" y="449865"/>
                    <a:pt x="948551" y="416955"/>
                    <a:pt x="956638" y="383666"/>
                  </a:cubicBezTo>
                  <a:cubicBezTo>
                    <a:pt x="958826" y="368681"/>
                    <a:pt x="960254" y="355024"/>
                    <a:pt x="960824" y="342789"/>
                  </a:cubicBezTo>
                  <a:cubicBezTo>
                    <a:pt x="962537" y="321924"/>
                    <a:pt x="961966" y="300964"/>
                    <a:pt x="959112" y="280194"/>
                  </a:cubicBezTo>
                  <a:cubicBezTo>
                    <a:pt x="956162" y="265209"/>
                    <a:pt x="952261" y="250414"/>
                    <a:pt x="947409" y="235998"/>
                  </a:cubicBezTo>
                  <a:cubicBezTo>
                    <a:pt x="941130" y="221772"/>
                    <a:pt x="933899" y="208020"/>
                    <a:pt x="925716" y="194932"/>
                  </a:cubicBezTo>
                  <a:cubicBezTo>
                    <a:pt x="916107" y="181938"/>
                    <a:pt x="905451" y="169609"/>
                    <a:pt x="893938" y="158228"/>
                  </a:cubicBezTo>
                  <a:cubicBezTo>
                    <a:pt x="880047" y="144666"/>
                    <a:pt x="865205" y="132052"/>
                    <a:pt x="849506" y="120671"/>
                  </a:cubicBezTo>
                </a:path>
              </a:pathLst>
            </a:custGeom>
            <a:solidFill>
              <a:srgbClr val="245176"/>
            </a:solidFill>
            <a:ln w="9509" cap="flat">
              <a:noFill/>
              <a:prstDash val="solid"/>
              <a:miter/>
            </a:ln>
            <a:effectLst>
              <a:outerShdw blurRad="190500" sx="115000" sy="115000" algn="ctr" rotWithShape="0">
                <a:prstClr val="black">
                  <a:alpha val="20000"/>
                </a:prstClr>
              </a:outerShdw>
            </a:effectLst>
          </p:spPr>
          <p:txBody>
            <a:bodyPr rtlCol="0" anchor="ctr"/>
            <a:lstStyle/>
            <a:p>
              <a:pPr algn="ctr"/>
              <a:endParaRPr lang="en-US" sz="1600" noProof="0">
                <a:solidFill>
                  <a:schemeClr val="bg1"/>
                </a:solidFill>
              </a:endParaRPr>
            </a:p>
          </p:txBody>
        </p:sp>
        <p:grpSp>
          <p:nvGrpSpPr>
            <p:cNvPr id="22" name="Group 21">
              <a:extLst>
                <a:ext uri="{FF2B5EF4-FFF2-40B4-BE49-F238E27FC236}">
                  <a16:creationId xmlns:a16="http://schemas.microsoft.com/office/drawing/2014/main" id="{A11E4E27-2E0E-7506-7428-664C9FEA6E67}"/>
                </a:ext>
              </a:extLst>
            </p:cNvPr>
            <p:cNvGrpSpPr/>
            <p:nvPr/>
          </p:nvGrpSpPr>
          <p:grpSpPr>
            <a:xfrm>
              <a:off x="9100084" y="3290102"/>
              <a:ext cx="760272" cy="874439"/>
              <a:chOff x="9100084" y="3290102"/>
              <a:chExt cx="760272" cy="874439"/>
            </a:xfrm>
          </p:grpSpPr>
          <p:grpSp>
            <p:nvGrpSpPr>
              <p:cNvPr id="60" name="Group 59">
                <a:extLst>
                  <a:ext uri="{FF2B5EF4-FFF2-40B4-BE49-F238E27FC236}">
                    <a16:creationId xmlns:a16="http://schemas.microsoft.com/office/drawing/2014/main" id="{0CE90624-61DC-09C0-9C7F-D75B626E878C}"/>
                  </a:ext>
                </a:extLst>
              </p:cNvPr>
              <p:cNvGrpSpPr/>
              <p:nvPr/>
            </p:nvGrpSpPr>
            <p:grpSpPr>
              <a:xfrm>
                <a:off x="9100084" y="3290102"/>
                <a:ext cx="717007" cy="874439"/>
                <a:chOff x="5072751" y="2150914"/>
                <a:chExt cx="768536" cy="937282"/>
              </a:xfrm>
            </p:grpSpPr>
            <p:grpSp>
              <p:nvGrpSpPr>
                <p:cNvPr id="61" name="Group 60">
                  <a:extLst>
                    <a:ext uri="{FF2B5EF4-FFF2-40B4-BE49-F238E27FC236}">
                      <a16:creationId xmlns:a16="http://schemas.microsoft.com/office/drawing/2014/main" id="{10D0FE29-72BF-0A2D-3531-4A945E2864E6}"/>
                    </a:ext>
                  </a:extLst>
                </p:cNvPr>
                <p:cNvGrpSpPr/>
                <p:nvPr/>
              </p:nvGrpSpPr>
              <p:grpSpPr>
                <a:xfrm>
                  <a:off x="5072751" y="2150914"/>
                  <a:ext cx="768536" cy="937282"/>
                  <a:chOff x="5072751" y="2150914"/>
                  <a:chExt cx="768536" cy="937282"/>
                </a:xfrm>
              </p:grpSpPr>
              <p:grpSp>
                <p:nvGrpSpPr>
                  <p:cNvPr id="65" name="Graphic 267">
                    <a:extLst>
                      <a:ext uri="{FF2B5EF4-FFF2-40B4-BE49-F238E27FC236}">
                        <a16:creationId xmlns:a16="http://schemas.microsoft.com/office/drawing/2014/main" id="{2CAABE13-EB69-03F8-6898-BB46C132319E}"/>
                      </a:ext>
                    </a:extLst>
                  </p:cNvPr>
                  <p:cNvGrpSpPr/>
                  <p:nvPr/>
                </p:nvGrpSpPr>
                <p:grpSpPr>
                  <a:xfrm>
                    <a:off x="5072751" y="2304761"/>
                    <a:ext cx="637078" cy="783435"/>
                    <a:chOff x="6720861" y="4165099"/>
                    <a:chExt cx="1018577" cy="1252578"/>
                  </a:xfrm>
                  <a:solidFill>
                    <a:schemeClr val="accent1"/>
                  </a:solidFill>
                </p:grpSpPr>
                <p:sp>
                  <p:nvSpPr>
                    <p:cNvPr id="68" name="Freeform 67">
                      <a:extLst>
                        <a:ext uri="{FF2B5EF4-FFF2-40B4-BE49-F238E27FC236}">
                          <a16:creationId xmlns:a16="http://schemas.microsoft.com/office/drawing/2014/main" id="{83F4AD04-C13A-6BB8-B693-3F18802E4D79}"/>
                        </a:ext>
                      </a:extLst>
                    </p:cNvPr>
                    <p:cNvSpPr/>
                    <p:nvPr/>
                  </p:nvSpPr>
                  <p:spPr>
                    <a:xfrm>
                      <a:off x="6720861" y="5109076"/>
                      <a:ext cx="248179" cy="308601"/>
                    </a:xfrm>
                    <a:custGeom>
                      <a:avLst/>
                      <a:gdLst>
                        <a:gd name="connsiteX0" fmla="*/ 234128 w 248179"/>
                        <a:gd name="connsiteY0" fmla="*/ 0 h 308601"/>
                        <a:gd name="connsiteX1" fmla="*/ 1807 w 248179"/>
                        <a:gd name="connsiteY1" fmla="*/ 295086 h 308601"/>
                        <a:gd name="connsiteX2" fmla="*/ 3212 w 248179"/>
                        <a:gd name="connsiteY2" fmla="*/ 306795 h 308601"/>
                        <a:gd name="connsiteX3" fmla="*/ 14922 w 248179"/>
                        <a:gd name="connsiteY3" fmla="*/ 305390 h 308601"/>
                        <a:gd name="connsiteX4" fmla="*/ 248180 w 248179"/>
                        <a:gd name="connsiteY4" fmla="*/ 8899 h 308601"/>
                        <a:gd name="connsiteX5" fmla="*/ 234128 w 248179"/>
                        <a:gd name="connsiteY5" fmla="*/ 0 h 30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79" h="308601">
                          <a:moveTo>
                            <a:pt x="234128" y="0"/>
                          </a:moveTo>
                          <a:lnTo>
                            <a:pt x="1807" y="295086"/>
                          </a:lnTo>
                          <a:cubicBezTo>
                            <a:pt x="-1004" y="298833"/>
                            <a:pt x="-535" y="303985"/>
                            <a:pt x="3212" y="306795"/>
                          </a:cubicBezTo>
                          <a:cubicBezTo>
                            <a:pt x="6959" y="309606"/>
                            <a:pt x="12111" y="309137"/>
                            <a:pt x="14922" y="305390"/>
                          </a:cubicBezTo>
                          <a:lnTo>
                            <a:pt x="248180" y="8899"/>
                          </a:lnTo>
                          <a:cubicBezTo>
                            <a:pt x="243027" y="7026"/>
                            <a:pt x="237875" y="3747"/>
                            <a:pt x="234128" y="0"/>
                          </a:cubicBezTo>
                          <a:close/>
                        </a:path>
                      </a:pathLst>
                    </a:custGeom>
                    <a:noFill/>
                    <a:ln w="9525" cap="flat">
                      <a:solidFill>
                        <a:schemeClr val="bg1">
                          <a:lumMod val="85000"/>
                        </a:schemeClr>
                      </a:solidFill>
                      <a:prstDash val="solid"/>
                      <a:miter/>
                    </a:ln>
                  </p:spPr>
                  <p:txBody>
                    <a:bodyPr rtlCol="0" anchor="ctr"/>
                    <a:lstStyle/>
                    <a:p>
                      <a:endParaRPr lang="en-US" noProof="0"/>
                    </a:p>
                  </p:txBody>
                </p:sp>
                <p:sp>
                  <p:nvSpPr>
                    <p:cNvPr id="69" name="Freeform 68">
                      <a:extLst>
                        <a:ext uri="{FF2B5EF4-FFF2-40B4-BE49-F238E27FC236}">
                          <a16:creationId xmlns:a16="http://schemas.microsoft.com/office/drawing/2014/main" id="{D31DE002-DC4A-629B-4964-CD87D8080E5B}"/>
                        </a:ext>
                      </a:extLst>
                    </p:cNvPr>
                    <p:cNvSpPr/>
                    <p:nvPr/>
                  </p:nvSpPr>
                  <p:spPr>
                    <a:xfrm>
                      <a:off x="6887364" y="4165099"/>
                      <a:ext cx="852074" cy="1003636"/>
                    </a:xfrm>
                    <a:custGeom>
                      <a:avLst/>
                      <a:gdLst>
                        <a:gd name="connsiteX0" fmla="*/ 819855 w 852075"/>
                        <a:gd name="connsiteY0" fmla="*/ 74178 h 1003635"/>
                        <a:gd name="connsiteX1" fmla="*/ 748659 w 852075"/>
                        <a:gd name="connsiteY1" fmla="*/ 17971 h 1003635"/>
                        <a:gd name="connsiteX2" fmla="*/ 630625 w 852075"/>
                        <a:gd name="connsiteY2" fmla="*/ 32023 h 1003635"/>
                        <a:gd name="connsiteX3" fmla="*/ 17971 w 852075"/>
                        <a:gd name="connsiteY3" fmla="*/ 811424 h 1003635"/>
                        <a:gd name="connsiteX4" fmla="*/ 32023 w 852075"/>
                        <a:gd name="connsiteY4" fmla="*/ 929458 h 1003635"/>
                        <a:gd name="connsiteX5" fmla="*/ 103218 w 852075"/>
                        <a:gd name="connsiteY5" fmla="*/ 985665 h 1003635"/>
                        <a:gd name="connsiteX6" fmla="*/ 221252 w 852075"/>
                        <a:gd name="connsiteY6" fmla="*/ 971613 h 1003635"/>
                        <a:gd name="connsiteX7" fmla="*/ 833906 w 852075"/>
                        <a:gd name="connsiteY7" fmla="*/ 192681 h 1003635"/>
                        <a:gd name="connsiteX8" fmla="*/ 819855 w 852075"/>
                        <a:gd name="connsiteY8" fmla="*/ 74178 h 1003635"/>
                        <a:gd name="connsiteX9" fmla="*/ 201580 w 852075"/>
                        <a:gd name="connsiteY9" fmla="*/ 959435 h 1003635"/>
                        <a:gd name="connsiteX10" fmla="*/ 122891 w 852075"/>
                        <a:gd name="connsiteY10" fmla="*/ 968803 h 1003635"/>
                        <a:gd name="connsiteX11" fmla="*/ 43264 w 852075"/>
                        <a:gd name="connsiteY11" fmla="*/ 906038 h 1003635"/>
                        <a:gd name="connsiteX12" fmla="*/ 33896 w 852075"/>
                        <a:gd name="connsiteY12" fmla="*/ 827349 h 1003635"/>
                        <a:gd name="connsiteX13" fmla="*/ 246077 w 852075"/>
                        <a:gd name="connsiteY13" fmla="*/ 557556 h 1003635"/>
                        <a:gd name="connsiteX14" fmla="*/ 457321 w 852075"/>
                        <a:gd name="connsiteY14" fmla="*/ 634372 h 100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2075" h="1003635">
                          <a:moveTo>
                            <a:pt x="819855" y="74178"/>
                          </a:moveTo>
                          <a:lnTo>
                            <a:pt x="748659" y="17971"/>
                          </a:lnTo>
                          <a:cubicBezTo>
                            <a:pt x="712125" y="-10601"/>
                            <a:pt x="659197" y="-4512"/>
                            <a:pt x="630625" y="32023"/>
                          </a:cubicBezTo>
                          <a:lnTo>
                            <a:pt x="17971" y="811424"/>
                          </a:lnTo>
                          <a:cubicBezTo>
                            <a:pt x="-10601" y="847958"/>
                            <a:pt x="-4512" y="900886"/>
                            <a:pt x="32023" y="929458"/>
                          </a:cubicBezTo>
                          <a:lnTo>
                            <a:pt x="103218" y="985665"/>
                          </a:lnTo>
                          <a:cubicBezTo>
                            <a:pt x="139753" y="1014236"/>
                            <a:pt x="192681" y="1008147"/>
                            <a:pt x="221252" y="971613"/>
                          </a:cubicBezTo>
                          <a:lnTo>
                            <a:pt x="833906" y="192681"/>
                          </a:lnTo>
                          <a:cubicBezTo>
                            <a:pt x="862946" y="155678"/>
                            <a:pt x="856389" y="103218"/>
                            <a:pt x="819855" y="74178"/>
                          </a:cubicBezTo>
                          <a:close/>
                          <a:moveTo>
                            <a:pt x="201580" y="959435"/>
                          </a:moveTo>
                          <a:cubicBezTo>
                            <a:pt x="182376" y="983791"/>
                            <a:pt x="147247" y="988007"/>
                            <a:pt x="122891" y="968803"/>
                          </a:cubicBezTo>
                          <a:lnTo>
                            <a:pt x="43264" y="906038"/>
                          </a:lnTo>
                          <a:cubicBezTo>
                            <a:pt x="18908" y="886834"/>
                            <a:pt x="14692" y="851705"/>
                            <a:pt x="33896" y="827349"/>
                          </a:cubicBezTo>
                          <a:lnTo>
                            <a:pt x="246077" y="557556"/>
                          </a:lnTo>
                          <a:cubicBezTo>
                            <a:pt x="313994" y="589875"/>
                            <a:pt x="384720" y="616105"/>
                            <a:pt x="457321" y="634372"/>
                          </a:cubicBezTo>
                          <a:close/>
                        </a:path>
                      </a:pathLst>
                    </a:custGeom>
                    <a:solidFill>
                      <a:schemeClr val="bg1"/>
                    </a:solidFill>
                    <a:ln w="4669" cap="flat">
                      <a:noFill/>
                      <a:prstDash val="solid"/>
                      <a:miter/>
                    </a:ln>
                  </p:spPr>
                  <p:txBody>
                    <a:bodyPr rtlCol="0" anchor="ctr"/>
                    <a:lstStyle/>
                    <a:p>
                      <a:endParaRPr lang="en-US" noProof="0"/>
                    </a:p>
                  </p:txBody>
                </p:sp>
              </p:grpSp>
              <p:sp>
                <p:nvSpPr>
                  <p:cNvPr id="66" name="Freeform 65">
                    <a:extLst>
                      <a:ext uri="{FF2B5EF4-FFF2-40B4-BE49-F238E27FC236}">
                        <a16:creationId xmlns:a16="http://schemas.microsoft.com/office/drawing/2014/main" id="{5D60D74E-ACFA-F606-BD9E-184DEB79744E}"/>
                      </a:ext>
                    </a:extLst>
                  </p:cNvPr>
                  <p:cNvSpPr/>
                  <p:nvPr/>
                </p:nvSpPr>
                <p:spPr>
                  <a:xfrm>
                    <a:off x="5189234" y="2653489"/>
                    <a:ext cx="272370" cy="264752"/>
                  </a:xfrm>
                  <a:custGeom>
                    <a:avLst/>
                    <a:gdLst>
                      <a:gd name="connsiteX0" fmla="*/ 140246 w 272370"/>
                      <a:gd name="connsiteY0" fmla="*/ 0 h 264752"/>
                      <a:gd name="connsiteX1" fmla="*/ 272370 w 272370"/>
                      <a:gd name="connsiteY1" fmla="*/ 48045 h 264752"/>
                      <a:gd name="connsiteX2" fmla="*/ 112415 w 272370"/>
                      <a:gd name="connsiteY2" fmla="*/ 251359 h 264752"/>
                      <a:gd name="connsiteX3" fmla="*/ 63198 w 272370"/>
                      <a:gd name="connsiteY3" fmla="*/ 257218 h 264752"/>
                      <a:gd name="connsiteX4" fmla="*/ 13395 w 272370"/>
                      <a:gd name="connsiteY4" fmla="*/ 217961 h 264752"/>
                      <a:gd name="connsiteX5" fmla="*/ 7536 w 272370"/>
                      <a:gd name="connsiteY5" fmla="*/ 168745 h 264752"/>
                      <a:gd name="connsiteX6" fmla="*/ 140246 w 272370"/>
                      <a:gd name="connsiteY6" fmla="*/ 0 h 26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370" h="264752">
                        <a:moveTo>
                          <a:pt x="140246" y="0"/>
                        </a:moveTo>
                        <a:cubicBezTo>
                          <a:pt x="182725" y="20214"/>
                          <a:pt x="226961" y="36620"/>
                          <a:pt x="272370" y="48045"/>
                        </a:cubicBezTo>
                        <a:lnTo>
                          <a:pt x="112415" y="251359"/>
                        </a:lnTo>
                        <a:cubicBezTo>
                          <a:pt x="100404" y="266593"/>
                          <a:pt x="78432" y="269229"/>
                          <a:pt x="63198" y="257218"/>
                        </a:cubicBezTo>
                        <a:lnTo>
                          <a:pt x="13395" y="217961"/>
                        </a:lnTo>
                        <a:cubicBezTo>
                          <a:pt x="-1839" y="205950"/>
                          <a:pt x="-4476" y="183978"/>
                          <a:pt x="7536" y="168745"/>
                        </a:cubicBezTo>
                        <a:lnTo>
                          <a:pt x="14024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67" name="Freeform 66">
                    <a:extLst>
                      <a:ext uri="{FF2B5EF4-FFF2-40B4-BE49-F238E27FC236}">
                        <a16:creationId xmlns:a16="http://schemas.microsoft.com/office/drawing/2014/main" id="{0086E59C-13B7-24CA-722C-82AE58B74E2C}"/>
                      </a:ext>
                    </a:extLst>
                  </p:cNvPr>
                  <p:cNvSpPr/>
                  <p:nvPr/>
                </p:nvSpPr>
                <p:spPr>
                  <a:xfrm>
                    <a:off x="5654520" y="2150914"/>
                    <a:ext cx="186767" cy="187352"/>
                  </a:xfrm>
                  <a:custGeom>
                    <a:avLst/>
                    <a:gdLst>
                      <a:gd name="connsiteX0" fmla="*/ 28784 w 186767"/>
                      <a:gd name="connsiteY0" fmla="*/ 225 h 187352"/>
                      <a:gd name="connsiteX1" fmla="*/ 51562 w 186767"/>
                      <a:gd name="connsiteY1" fmla="*/ 6597 h 187352"/>
                      <a:gd name="connsiteX2" fmla="*/ 174897 w 186767"/>
                      <a:gd name="connsiteY2" fmla="*/ 103566 h 187352"/>
                      <a:gd name="connsiteX3" fmla="*/ 180170 w 186767"/>
                      <a:gd name="connsiteY3" fmla="*/ 146924 h 187352"/>
                      <a:gd name="connsiteX4" fmla="*/ 136812 w 186767"/>
                      <a:gd name="connsiteY4" fmla="*/ 152197 h 187352"/>
                      <a:gd name="connsiteX5" fmla="*/ 99443 w 186767"/>
                      <a:gd name="connsiteY5" fmla="*/ 122817 h 187352"/>
                      <a:gd name="connsiteX6" fmla="*/ 48632 w 186767"/>
                      <a:gd name="connsiteY6" fmla="*/ 187352 h 187352"/>
                      <a:gd name="connsiteX7" fmla="*/ 46581 w 186767"/>
                      <a:gd name="connsiteY7" fmla="*/ 185887 h 187352"/>
                      <a:gd name="connsiteX8" fmla="*/ 2051 w 186767"/>
                      <a:gd name="connsiteY8" fmla="*/ 150732 h 187352"/>
                      <a:gd name="connsiteX9" fmla="*/ 0 w 186767"/>
                      <a:gd name="connsiteY9" fmla="*/ 149267 h 187352"/>
                      <a:gd name="connsiteX10" fmla="*/ 50884 w 186767"/>
                      <a:gd name="connsiteY10" fmla="*/ 84639 h 187352"/>
                      <a:gd name="connsiteX11" fmla="*/ 13477 w 186767"/>
                      <a:gd name="connsiteY11" fmla="*/ 55228 h 187352"/>
                      <a:gd name="connsiteX12" fmla="*/ 8204 w 186767"/>
                      <a:gd name="connsiteY12" fmla="*/ 11870 h 187352"/>
                      <a:gd name="connsiteX13" fmla="*/ 28784 w 186767"/>
                      <a:gd name="connsiteY13" fmla="*/ 225 h 18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767" h="187352">
                        <a:moveTo>
                          <a:pt x="28784" y="225"/>
                        </a:moveTo>
                        <a:cubicBezTo>
                          <a:pt x="36621" y="-727"/>
                          <a:pt x="44824" y="1324"/>
                          <a:pt x="51562" y="6597"/>
                        </a:cubicBezTo>
                        <a:lnTo>
                          <a:pt x="174897" y="103566"/>
                        </a:lnTo>
                        <a:cubicBezTo>
                          <a:pt x="188373" y="113820"/>
                          <a:pt x="190716" y="133448"/>
                          <a:pt x="180170" y="146924"/>
                        </a:cubicBezTo>
                        <a:cubicBezTo>
                          <a:pt x="169623" y="160400"/>
                          <a:pt x="150288" y="162744"/>
                          <a:pt x="136812" y="152197"/>
                        </a:cubicBezTo>
                        <a:lnTo>
                          <a:pt x="99443" y="122817"/>
                        </a:lnTo>
                        <a:lnTo>
                          <a:pt x="48632" y="187352"/>
                        </a:lnTo>
                        <a:cubicBezTo>
                          <a:pt x="47753" y="187059"/>
                          <a:pt x="47167" y="186473"/>
                          <a:pt x="46581" y="185887"/>
                        </a:cubicBezTo>
                        <a:lnTo>
                          <a:pt x="2051" y="150732"/>
                        </a:lnTo>
                        <a:cubicBezTo>
                          <a:pt x="1465" y="150146"/>
                          <a:pt x="586" y="149853"/>
                          <a:pt x="0" y="149267"/>
                        </a:cubicBezTo>
                        <a:lnTo>
                          <a:pt x="50884" y="84639"/>
                        </a:lnTo>
                        <a:lnTo>
                          <a:pt x="13477" y="55228"/>
                        </a:lnTo>
                        <a:cubicBezTo>
                          <a:pt x="1" y="44682"/>
                          <a:pt x="-2343" y="25346"/>
                          <a:pt x="8204" y="11870"/>
                        </a:cubicBezTo>
                        <a:cubicBezTo>
                          <a:pt x="13477" y="5132"/>
                          <a:pt x="20947" y="1177"/>
                          <a:pt x="28784" y="225"/>
                        </a:cubicBezTo>
                        <a:close/>
                      </a:path>
                    </a:pathLst>
                  </a:custGeom>
                  <a:solidFill>
                    <a:schemeClr val="bg1">
                      <a:lumMod val="75000"/>
                    </a:schemeClr>
                  </a:solidFill>
                  <a:ln w="4669" cap="flat">
                    <a:noFill/>
                    <a:prstDash val="solid"/>
                    <a:miter/>
                  </a:ln>
                </p:spPr>
                <p:txBody>
                  <a:bodyPr rtlCol="0" anchor="ctr"/>
                  <a:lstStyle/>
                  <a:p>
                    <a:endParaRPr lang="en-US" noProof="0"/>
                  </a:p>
                </p:txBody>
              </p:sp>
            </p:grpSp>
            <p:sp>
              <p:nvSpPr>
                <p:cNvPr id="62" name="Freeform 61">
                  <a:extLst>
                    <a:ext uri="{FF2B5EF4-FFF2-40B4-BE49-F238E27FC236}">
                      <a16:creationId xmlns:a16="http://schemas.microsoft.com/office/drawing/2014/main" id="{12F5DD0A-B113-82AE-78D7-1D18742425BD}"/>
                    </a:ext>
                  </a:extLst>
                </p:cNvPr>
                <p:cNvSpPr>
                  <a:spLocks noChangeAspect="1"/>
                </p:cNvSpPr>
                <p:nvPr/>
              </p:nvSpPr>
              <p:spPr>
                <a:xfrm>
                  <a:off x="5299205" y="2691455"/>
                  <a:ext cx="91440" cy="33251"/>
                </a:xfrm>
                <a:custGeom>
                  <a:avLst/>
                  <a:gdLst>
                    <a:gd name="connsiteX0" fmla="*/ 140246 w 272370"/>
                    <a:gd name="connsiteY0" fmla="*/ 0 h 264752"/>
                    <a:gd name="connsiteX1" fmla="*/ 272370 w 272370"/>
                    <a:gd name="connsiteY1" fmla="*/ 48045 h 264752"/>
                    <a:gd name="connsiteX2" fmla="*/ 112415 w 272370"/>
                    <a:gd name="connsiteY2" fmla="*/ 251359 h 264752"/>
                    <a:gd name="connsiteX3" fmla="*/ 63198 w 272370"/>
                    <a:gd name="connsiteY3" fmla="*/ 257218 h 264752"/>
                    <a:gd name="connsiteX4" fmla="*/ 13395 w 272370"/>
                    <a:gd name="connsiteY4" fmla="*/ 217961 h 264752"/>
                    <a:gd name="connsiteX5" fmla="*/ 7536 w 272370"/>
                    <a:gd name="connsiteY5" fmla="*/ 168745 h 264752"/>
                    <a:gd name="connsiteX6" fmla="*/ 140246 w 272370"/>
                    <a:gd name="connsiteY6" fmla="*/ 0 h 264752"/>
                    <a:gd name="connsiteX0" fmla="*/ 1937 w 266771"/>
                    <a:gd name="connsiteY0" fmla="*/ 168745 h 264752"/>
                    <a:gd name="connsiteX1" fmla="*/ 134647 w 266771"/>
                    <a:gd name="connsiteY1" fmla="*/ 0 h 264752"/>
                    <a:gd name="connsiteX2" fmla="*/ 266771 w 266771"/>
                    <a:gd name="connsiteY2" fmla="*/ 48045 h 264752"/>
                    <a:gd name="connsiteX3" fmla="*/ 106816 w 266771"/>
                    <a:gd name="connsiteY3" fmla="*/ 251359 h 264752"/>
                    <a:gd name="connsiteX4" fmla="*/ 57599 w 266771"/>
                    <a:gd name="connsiteY4" fmla="*/ 257218 h 264752"/>
                    <a:gd name="connsiteX5" fmla="*/ 7796 w 266771"/>
                    <a:gd name="connsiteY5" fmla="*/ 217961 h 264752"/>
                    <a:gd name="connsiteX6" fmla="*/ 93377 w 266771"/>
                    <a:gd name="connsiteY6" fmla="*/ 260185 h 264752"/>
                    <a:gd name="connsiteX0" fmla="*/ 134647 w 266771"/>
                    <a:gd name="connsiteY0" fmla="*/ 0 h 264752"/>
                    <a:gd name="connsiteX1" fmla="*/ 266771 w 266771"/>
                    <a:gd name="connsiteY1" fmla="*/ 48045 h 264752"/>
                    <a:gd name="connsiteX2" fmla="*/ 106816 w 266771"/>
                    <a:gd name="connsiteY2" fmla="*/ 251359 h 264752"/>
                    <a:gd name="connsiteX3" fmla="*/ 57599 w 266771"/>
                    <a:gd name="connsiteY3" fmla="*/ 257218 h 264752"/>
                    <a:gd name="connsiteX4" fmla="*/ 7796 w 266771"/>
                    <a:gd name="connsiteY4" fmla="*/ 217961 h 264752"/>
                    <a:gd name="connsiteX5" fmla="*/ 93377 w 266771"/>
                    <a:gd name="connsiteY5" fmla="*/ 260185 h 264752"/>
                    <a:gd name="connsiteX0" fmla="*/ 134647 w 266771"/>
                    <a:gd name="connsiteY0" fmla="*/ 0 h 260185"/>
                    <a:gd name="connsiteX1" fmla="*/ 266771 w 266771"/>
                    <a:gd name="connsiteY1" fmla="*/ 48045 h 260185"/>
                    <a:gd name="connsiteX2" fmla="*/ 106816 w 266771"/>
                    <a:gd name="connsiteY2" fmla="*/ 251359 h 260185"/>
                    <a:gd name="connsiteX3" fmla="*/ 7796 w 266771"/>
                    <a:gd name="connsiteY3" fmla="*/ 217961 h 260185"/>
                    <a:gd name="connsiteX4" fmla="*/ 93377 w 266771"/>
                    <a:gd name="connsiteY4" fmla="*/ 260185 h 260185"/>
                    <a:gd name="connsiteX0" fmla="*/ 44416 w 176540"/>
                    <a:gd name="connsiteY0" fmla="*/ 0 h 269220"/>
                    <a:gd name="connsiteX1" fmla="*/ 176540 w 176540"/>
                    <a:gd name="connsiteY1" fmla="*/ 48045 h 269220"/>
                    <a:gd name="connsiteX2" fmla="*/ 16585 w 176540"/>
                    <a:gd name="connsiteY2" fmla="*/ 251359 h 269220"/>
                    <a:gd name="connsiteX3" fmla="*/ 3146 w 176540"/>
                    <a:gd name="connsiteY3" fmla="*/ 260185 h 269220"/>
                    <a:gd name="connsiteX0" fmla="*/ 27831 w 159955"/>
                    <a:gd name="connsiteY0" fmla="*/ 0 h 251359"/>
                    <a:gd name="connsiteX1" fmla="*/ 159955 w 159955"/>
                    <a:gd name="connsiteY1" fmla="*/ 48045 h 251359"/>
                    <a:gd name="connsiteX2" fmla="*/ 0 w 159955"/>
                    <a:gd name="connsiteY2" fmla="*/ 251359 h 251359"/>
                    <a:gd name="connsiteX0" fmla="*/ 0 w 132124"/>
                    <a:gd name="connsiteY0" fmla="*/ 0 h 48045"/>
                    <a:gd name="connsiteX1" fmla="*/ 132124 w 132124"/>
                    <a:gd name="connsiteY1" fmla="*/ 48045 h 48045"/>
                  </a:gdLst>
                  <a:ahLst/>
                  <a:cxnLst>
                    <a:cxn ang="0">
                      <a:pos x="connsiteX0" y="connsiteY0"/>
                    </a:cxn>
                    <a:cxn ang="0">
                      <a:pos x="connsiteX1" y="connsiteY1"/>
                    </a:cxn>
                  </a:cxnLst>
                  <a:rect l="l" t="t" r="r" b="b"/>
                  <a:pathLst>
                    <a:path w="132124" h="48045">
                      <a:moveTo>
                        <a:pt x="0" y="0"/>
                      </a:moveTo>
                      <a:cubicBezTo>
                        <a:pt x="42479" y="20214"/>
                        <a:pt x="86715" y="36620"/>
                        <a:pt x="132124" y="48045"/>
                      </a:cubicBezTo>
                    </a:path>
                  </a:pathLst>
                </a:custGeom>
                <a:solidFill>
                  <a:schemeClr val="accent1">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63" name="Freeform 62">
                  <a:extLst>
                    <a:ext uri="{FF2B5EF4-FFF2-40B4-BE49-F238E27FC236}">
                      <a16:creationId xmlns:a16="http://schemas.microsoft.com/office/drawing/2014/main" id="{F5887347-A273-B24E-A7ED-1C7F64B704AE}"/>
                    </a:ext>
                  </a:extLst>
                </p:cNvPr>
                <p:cNvSpPr>
                  <a:spLocks noChangeAspect="1"/>
                </p:cNvSpPr>
                <p:nvPr/>
              </p:nvSpPr>
              <p:spPr>
                <a:xfrm>
                  <a:off x="5264280" y="2730978"/>
                  <a:ext cx="91440" cy="33251"/>
                </a:xfrm>
                <a:custGeom>
                  <a:avLst/>
                  <a:gdLst>
                    <a:gd name="connsiteX0" fmla="*/ 140246 w 272370"/>
                    <a:gd name="connsiteY0" fmla="*/ 0 h 264752"/>
                    <a:gd name="connsiteX1" fmla="*/ 272370 w 272370"/>
                    <a:gd name="connsiteY1" fmla="*/ 48045 h 264752"/>
                    <a:gd name="connsiteX2" fmla="*/ 112415 w 272370"/>
                    <a:gd name="connsiteY2" fmla="*/ 251359 h 264752"/>
                    <a:gd name="connsiteX3" fmla="*/ 63198 w 272370"/>
                    <a:gd name="connsiteY3" fmla="*/ 257218 h 264752"/>
                    <a:gd name="connsiteX4" fmla="*/ 13395 w 272370"/>
                    <a:gd name="connsiteY4" fmla="*/ 217961 h 264752"/>
                    <a:gd name="connsiteX5" fmla="*/ 7536 w 272370"/>
                    <a:gd name="connsiteY5" fmla="*/ 168745 h 264752"/>
                    <a:gd name="connsiteX6" fmla="*/ 140246 w 272370"/>
                    <a:gd name="connsiteY6" fmla="*/ 0 h 264752"/>
                    <a:gd name="connsiteX0" fmla="*/ 1937 w 266771"/>
                    <a:gd name="connsiteY0" fmla="*/ 168745 h 264752"/>
                    <a:gd name="connsiteX1" fmla="*/ 134647 w 266771"/>
                    <a:gd name="connsiteY1" fmla="*/ 0 h 264752"/>
                    <a:gd name="connsiteX2" fmla="*/ 266771 w 266771"/>
                    <a:gd name="connsiteY2" fmla="*/ 48045 h 264752"/>
                    <a:gd name="connsiteX3" fmla="*/ 106816 w 266771"/>
                    <a:gd name="connsiteY3" fmla="*/ 251359 h 264752"/>
                    <a:gd name="connsiteX4" fmla="*/ 57599 w 266771"/>
                    <a:gd name="connsiteY4" fmla="*/ 257218 h 264752"/>
                    <a:gd name="connsiteX5" fmla="*/ 7796 w 266771"/>
                    <a:gd name="connsiteY5" fmla="*/ 217961 h 264752"/>
                    <a:gd name="connsiteX6" fmla="*/ 93377 w 266771"/>
                    <a:gd name="connsiteY6" fmla="*/ 260185 h 264752"/>
                    <a:gd name="connsiteX0" fmla="*/ 134647 w 266771"/>
                    <a:gd name="connsiteY0" fmla="*/ 0 h 264752"/>
                    <a:gd name="connsiteX1" fmla="*/ 266771 w 266771"/>
                    <a:gd name="connsiteY1" fmla="*/ 48045 h 264752"/>
                    <a:gd name="connsiteX2" fmla="*/ 106816 w 266771"/>
                    <a:gd name="connsiteY2" fmla="*/ 251359 h 264752"/>
                    <a:gd name="connsiteX3" fmla="*/ 57599 w 266771"/>
                    <a:gd name="connsiteY3" fmla="*/ 257218 h 264752"/>
                    <a:gd name="connsiteX4" fmla="*/ 7796 w 266771"/>
                    <a:gd name="connsiteY4" fmla="*/ 217961 h 264752"/>
                    <a:gd name="connsiteX5" fmla="*/ 93377 w 266771"/>
                    <a:gd name="connsiteY5" fmla="*/ 260185 h 264752"/>
                    <a:gd name="connsiteX0" fmla="*/ 134647 w 266771"/>
                    <a:gd name="connsiteY0" fmla="*/ 0 h 260185"/>
                    <a:gd name="connsiteX1" fmla="*/ 266771 w 266771"/>
                    <a:gd name="connsiteY1" fmla="*/ 48045 h 260185"/>
                    <a:gd name="connsiteX2" fmla="*/ 106816 w 266771"/>
                    <a:gd name="connsiteY2" fmla="*/ 251359 h 260185"/>
                    <a:gd name="connsiteX3" fmla="*/ 7796 w 266771"/>
                    <a:gd name="connsiteY3" fmla="*/ 217961 h 260185"/>
                    <a:gd name="connsiteX4" fmla="*/ 93377 w 266771"/>
                    <a:gd name="connsiteY4" fmla="*/ 260185 h 260185"/>
                    <a:gd name="connsiteX0" fmla="*/ 44416 w 176540"/>
                    <a:gd name="connsiteY0" fmla="*/ 0 h 269220"/>
                    <a:gd name="connsiteX1" fmla="*/ 176540 w 176540"/>
                    <a:gd name="connsiteY1" fmla="*/ 48045 h 269220"/>
                    <a:gd name="connsiteX2" fmla="*/ 16585 w 176540"/>
                    <a:gd name="connsiteY2" fmla="*/ 251359 h 269220"/>
                    <a:gd name="connsiteX3" fmla="*/ 3146 w 176540"/>
                    <a:gd name="connsiteY3" fmla="*/ 260185 h 269220"/>
                    <a:gd name="connsiteX0" fmla="*/ 27831 w 159955"/>
                    <a:gd name="connsiteY0" fmla="*/ 0 h 251359"/>
                    <a:gd name="connsiteX1" fmla="*/ 159955 w 159955"/>
                    <a:gd name="connsiteY1" fmla="*/ 48045 h 251359"/>
                    <a:gd name="connsiteX2" fmla="*/ 0 w 159955"/>
                    <a:gd name="connsiteY2" fmla="*/ 251359 h 251359"/>
                    <a:gd name="connsiteX0" fmla="*/ 0 w 132124"/>
                    <a:gd name="connsiteY0" fmla="*/ 0 h 48045"/>
                    <a:gd name="connsiteX1" fmla="*/ 132124 w 132124"/>
                    <a:gd name="connsiteY1" fmla="*/ 48045 h 48045"/>
                  </a:gdLst>
                  <a:ahLst/>
                  <a:cxnLst>
                    <a:cxn ang="0">
                      <a:pos x="connsiteX0" y="connsiteY0"/>
                    </a:cxn>
                    <a:cxn ang="0">
                      <a:pos x="connsiteX1" y="connsiteY1"/>
                    </a:cxn>
                  </a:cxnLst>
                  <a:rect l="l" t="t" r="r" b="b"/>
                  <a:pathLst>
                    <a:path w="132124" h="48045">
                      <a:moveTo>
                        <a:pt x="0" y="0"/>
                      </a:moveTo>
                      <a:cubicBezTo>
                        <a:pt x="42479" y="20214"/>
                        <a:pt x="86715" y="36620"/>
                        <a:pt x="132124" y="48045"/>
                      </a:cubicBezTo>
                    </a:path>
                  </a:pathLst>
                </a:custGeom>
                <a:solidFill>
                  <a:schemeClr val="accent1">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64" name="Freeform 63">
                  <a:extLst>
                    <a:ext uri="{FF2B5EF4-FFF2-40B4-BE49-F238E27FC236}">
                      <a16:creationId xmlns:a16="http://schemas.microsoft.com/office/drawing/2014/main" id="{052F9B88-AA5E-6357-0FDB-D84764F11810}"/>
                    </a:ext>
                  </a:extLst>
                </p:cNvPr>
                <p:cNvSpPr>
                  <a:spLocks noChangeAspect="1"/>
                </p:cNvSpPr>
                <p:nvPr/>
              </p:nvSpPr>
              <p:spPr>
                <a:xfrm>
                  <a:off x="5236023" y="2770501"/>
                  <a:ext cx="91440" cy="33251"/>
                </a:xfrm>
                <a:custGeom>
                  <a:avLst/>
                  <a:gdLst>
                    <a:gd name="connsiteX0" fmla="*/ 140246 w 272370"/>
                    <a:gd name="connsiteY0" fmla="*/ 0 h 264752"/>
                    <a:gd name="connsiteX1" fmla="*/ 272370 w 272370"/>
                    <a:gd name="connsiteY1" fmla="*/ 48045 h 264752"/>
                    <a:gd name="connsiteX2" fmla="*/ 112415 w 272370"/>
                    <a:gd name="connsiteY2" fmla="*/ 251359 h 264752"/>
                    <a:gd name="connsiteX3" fmla="*/ 63198 w 272370"/>
                    <a:gd name="connsiteY3" fmla="*/ 257218 h 264752"/>
                    <a:gd name="connsiteX4" fmla="*/ 13395 w 272370"/>
                    <a:gd name="connsiteY4" fmla="*/ 217961 h 264752"/>
                    <a:gd name="connsiteX5" fmla="*/ 7536 w 272370"/>
                    <a:gd name="connsiteY5" fmla="*/ 168745 h 264752"/>
                    <a:gd name="connsiteX6" fmla="*/ 140246 w 272370"/>
                    <a:gd name="connsiteY6" fmla="*/ 0 h 264752"/>
                    <a:gd name="connsiteX0" fmla="*/ 1937 w 266771"/>
                    <a:gd name="connsiteY0" fmla="*/ 168745 h 264752"/>
                    <a:gd name="connsiteX1" fmla="*/ 134647 w 266771"/>
                    <a:gd name="connsiteY1" fmla="*/ 0 h 264752"/>
                    <a:gd name="connsiteX2" fmla="*/ 266771 w 266771"/>
                    <a:gd name="connsiteY2" fmla="*/ 48045 h 264752"/>
                    <a:gd name="connsiteX3" fmla="*/ 106816 w 266771"/>
                    <a:gd name="connsiteY3" fmla="*/ 251359 h 264752"/>
                    <a:gd name="connsiteX4" fmla="*/ 57599 w 266771"/>
                    <a:gd name="connsiteY4" fmla="*/ 257218 h 264752"/>
                    <a:gd name="connsiteX5" fmla="*/ 7796 w 266771"/>
                    <a:gd name="connsiteY5" fmla="*/ 217961 h 264752"/>
                    <a:gd name="connsiteX6" fmla="*/ 93377 w 266771"/>
                    <a:gd name="connsiteY6" fmla="*/ 260185 h 264752"/>
                    <a:gd name="connsiteX0" fmla="*/ 134647 w 266771"/>
                    <a:gd name="connsiteY0" fmla="*/ 0 h 264752"/>
                    <a:gd name="connsiteX1" fmla="*/ 266771 w 266771"/>
                    <a:gd name="connsiteY1" fmla="*/ 48045 h 264752"/>
                    <a:gd name="connsiteX2" fmla="*/ 106816 w 266771"/>
                    <a:gd name="connsiteY2" fmla="*/ 251359 h 264752"/>
                    <a:gd name="connsiteX3" fmla="*/ 57599 w 266771"/>
                    <a:gd name="connsiteY3" fmla="*/ 257218 h 264752"/>
                    <a:gd name="connsiteX4" fmla="*/ 7796 w 266771"/>
                    <a:gd name="connsiteY4" fmla="*/ 217961 h 264752"/>
                    <a:gd name="connsiteX5" fmla="*/ 93377 w 266771"/>
                    <a:gd name="connsiteY5" fmla="*/ 260185 h 264752"/>
                    <a:gd name="connsiteX0" fmla="*/ 134647 w 266771"/>
                    <a:gd name="connsiteY0" fmla="*/ 0 h 260185"/>
                    <a:gd name="connsiteX1" fmla="*/ 266771 w 266771"/>
                    <a:gd name="connsiteY1" fmla="*/ 48045 h 260185"/>
                    <a:gd name="connsiteX2" fmla="*/ 106816 w 266771"/>
                    <a:gd name="connsiteY2" fmla="*/ 251359 h 260185"/>
                    <a:gd name="connsiteX3" fmla="*/ 7796 w 266771"/>
                    <a:gd name="connsiteY3" fmla="*/ 217961 h 260185"/>
                    <a:gd name="connsiteX4" fmla="*/ 93377 w 266771"/>
                    <a:gd name="connsiteY4" fmla="*/ 260185 h 260185"/>
                    <a:gd name="connsiteX0" fmla="*/ 44416 w 176540"/>
                    <a:gd name="connsiteY0" fmla="*/ 0 h 269220"/>
                    <a:gd name="connsiteX1" fmla="*/ 176540 w 176540"/>
                    <a:gd name="connsiteY1" fmla="*/ 48045 h 269220"/>
                    <a:gd name="connsiteX2" fmla="*/ 16585 w 176540"/>
                    <a:gd name="connsiteY2" fmla="*/ 251359 h 269220"/>
                    <a:gd name="connsiteX3" fmla="*/ 3146 w 176540"/>
                    <a:gd name="connsiteY3" fmla="*/ 260185 h 269220"/>
                    <a:gd name="connsiteX0" fmla="*/ 27831 w 159955"/>
                    <a:gd name="connsiteY0" fmla="*/ 0 h 251359"/>
                    <a:gd name="connsiteX1" fmla="*/ 159955 w 159955"/>
                    <a:gd name="connsiteY1" fmla="*/ 48045 h 251359"/>
                    <a:gd name="connsiteX2" fmla="*/ 0 w 159955"/>
                    <a:gd name="connsiteY2" fmla="*/ 251359 h 251359"/>
                    <a:gd name="connsiteX0" fmla="*/ 0 w 132124"/>
                    <a:gd name="connsiteY0" fmla="*/ 0 h 48045"/>
                    <a:gd name="connsiteX1" fmla="*/ 132124 w 132124"/>
                    <a:gd name="connsiteY1" fmla="*/ 48045 h 48045"/>
                  </a:gdLst>
                  <a:ahLst/>
                  <a:cxnLst>
                    <a:cxn ang="0">
                      <a:pos x="connsiteX0" y="connsiteY0"/>
                    </a:cxn>
                    <a:cxn ang="0">
                      <a:pos x="connsiteX1" y="connsiteY1"/>
                    </a:cxn>
                  </a:cxnLst>
                  <a:rect l="l" t="t" r="r" b="b"/>
                  <a:pathLst>
                    <a:path w="132124" h="48045">
                      <a:moveTo>
                        <a:pt x="0" y="0"/>
                      </a:moveTo>
                      <a:cubicBezTo>
                        <a:pt x="42479" y="20214"/>
                        <a:pt x="86715" y="36620"/>
                        <a:pt x="132124" y="48045"/>
                      </a:cubicBezTo>
                    </a:path>
                  </a:pathLst>
                </a:custGeom>
                <a:solidFill>
                  <a:schemeClr val="accent1">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grpSp>
          <p:sp>
            <p:nvSpPr>
              <p:cNvPr id="75" name="Oval 74">
                <a:extLst>
                  <a:ext uri="{FF2B5EF4-FFF2-40B4-BE49-F238E27FC236}">
                    <a16:creationId xmlns:a16="http://schemas.microsoft.com/office/drawing/2014/main" id="{0EEF5BFC-ECAA-82CC-889E-4FB6EBD92EFA}"/>
                  </a:ext>
                </a:extLst>
              </p:cNvPr>
              <p:cNvSpPr/>
              <p:nvPr/>
            </p:nvSpPr>
            <p:spPr>
              <a:xfrm>
                <a:off x="9381370" y="3656514"/>
                <a:ext cx="478986" cy="478986"/>
              </a:xfrm>
              <a:prstGeom prst="ellipse">
                <a:avLst/>
              </a:prstGeom>
              <a:solidFill>
                <a:schemeClr val="bg1">
                  <a:lumMod val="85000"/>
                  <a:alpha val="99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9" name="Group 18">
                <a:extLst>
                  <a:ext uri="{FF2B5EF4-FFF2-40B4-BE49-F238E27FC236}">
                    <a16:creationId xmlns:a16="http://schemas.microsoft.com/office/drawing/2014/main" id="{1C0856FA-46E3-CC9D-12C0-C6611B3D1852}"/>
                  </a:ext>
                </a:extLst>
              </p:cNvPr>
              <p:cNvGrpSpPr>
                <a:grpSpLocks noChangeAspect="1"/>
              </p:cNvGrpSpPr>
              <p:nvPr/>
            </p:nvGrpSpPr>
            <p:grpSpPr>
              <a:xfrm>
                <a:off x="9472772" y="3725588"/>
                <a:ext cx="294000" cy="338328"/>
                <a:chOff x="6855358" y="623177"/>
                <a:chExt cx="604001" cy="695069"/>
              </a:xfrm>
            </p:grpSpPr>
            <p:sp>
              <p:nvSpPr>
                <p:cNvPr id="20" name="Graphic 61">
                  <a:extLst>
                    <a:ext uri="{FF2B5EF4-FFF2-40B4-BE49-F238E27FC236}">
                      <a16:creationId xmlns:a16="http://schemas.microsoft.com/office/drawing/2014/main" id="{9AEABC57-B48F-3448-12FE-C163D91C5BF1}"/>
                    </a:ext>
                  </a:extLst>
                </p:cNvPr>
                <p:cNvSpPr/>
                <p:nvPr/>
              </p:nvSpPr>
              <p:spPr>
                <a:xfrm>
                  <a:off x="6899427" y="673891"/>
                  <a:ext cx="515862" cy="593641"/>
                </a:xfrm>
                <a:custGeom>
                  <a:avLst/>
                  <a:gdLst>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476241 w 4072299"/>
                    <a:gd name="connsiteY20" fmla="*/ 966968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3596050 w 4072299"/>
                    <a:gd name="connsiteY26" fmla="*/ 966968 h 4686300"/>
                    <a:gd name="connsiteX27" fmla="*/ 2485206 w 4072299"/>
                    <a:gd name="connsiteY27" fmla="*/ 476250 h 4686300"/>
                    <a:gd name="connsiteX28" fmla="*/ 1587094 w 4072299"/>
                    <a:gd name="connsiteY28" fmla="*/ 476250 h 4686300"/>
                    <a:gd name="connsiteX29" fmla="*/ 476241 w 4072299"/>
                    <a:gd name="connsiteY29" fmla="*/ 966968 h 4686300"/>
                    <a:gd name="connsiteX30" fmla="*/ 2341283 w 4072299"/>
                    <a:gd name="connsiteY30" fmla="*/ 1260472 h 4686300"/>
                    <a:gd name="connsiteX31" fmla="*/ 1731026 w 4072299"/>
                    <a:gd name="connsiteY31" fmla="*/ 1260472 h 4686300"/>
                    <a:gd name="connsiteX32" fmla="*/ 1683401 w 4072299"/>
                    <a:gd name="connsiteY32" fmla="*/ 1308097 h 4686300"/>
                    <a:gd name="connsiteX33" fmla="*/ 1683401 w 4072299"/>
                    <a:gd name="connsiteY33" fmla="*/ 1791005 h 4686300"/>
                    <a:gd name="connsiteX34" fmla="*/ 1200493 w 4072299"/>
                    <a:gd name="connsiteY34" fmla="*/ 1791005 h 4686300"/>
                    <a:gd name="connsiteX35" fmla="*/ 1152868 w 4072299"/>
                    <a:gd name="connsiteY35" fmla="*/ 1838630 h 4686300"/>
                    <a:gd name="connsiteX36" fmla="*/ 1152868 w 4072299"/>
                    <a:gd name="connsiteY36" fmla="*/ 2448878 h 4686300"/>
                    <a:gd name="connsiteX37" fmla="*/ 1200493 w 4072299"/>
                    <a:gd name="connsiteY37" fmla="*/ 2496503 h 4686300"/>
                    <a:gd name="connsiteX38" fmla="*/ 1683401 w 4072299"/>
                    <a:gd name="connsiteY38" fmla="*/ 2496503 h 4686300"/>
                    <a:gd name="connsiteX39" fmla="*/ 1683401 w 4072299"/>
                    <a:gd name="connsiteY39" fmla="*/ 2979411 h 4686300"/>
                    <a:gd name="connsiteX40" fmla="*/ 1731026 w 4072299"/>
                    <a:gd name="connsiteY40" fmla="*/ 3027036 h 4686300"/>
                    <a:gd name="connsiteX41" fmla="*/ 2341283 w 4072299"/>
                    <a:gd name="connsiteY41" fmla="*/ 3027036 h 4686300"/>
                    <a:gd name="connsiteX42" fmla="*/ 2388908 w 4072299"/>
                    <a:gd name="connsiteY42" fmla="*/ 2979411 h 4686300"/>
                    <a:gd name="connsiteX43" fmla="*/ 2388908 w 4072299"/>
                    <a:gd name="connsiteY43" fmla="*/ 2496503 h 4686300"/>
                    <a:gd name="connsiteX44" fmla="*/ 2871807 w 4072299"/>
                    <a:gd name="connsiteY44" fmla="*/ 2496503 h 4686300"/>
                    <a:gd name="connsiteX45" fmla="*/ 2919432 w 4072299"/>
                    <a:gd name="connsiteY45" fmla="*/ 2448878 h 4686300"/>
                    <a:gd name="connsiteX46" fmla="*/ 2919432 w 4072299"/>
                    <a:gd name="connsiteY46" fmla="*/ 1838630 h 4686300"/>
                    <a:gd name="connsiteX47" fmla="*/ 2871807 w 4072299"/>
                    <a:gd name="connsiteY47" fmla="*/ 1791005 h 4686300"/>
                    <a:gd name="connsiteX48" fmla="*/ 2388908 w 4072299"/>
                    <a:gd name="connsiteY48" fmla="*/ 1791005 h 4686300"/>
                    <a:gd name="connsiteX49" fmla="*/ 2388908 w 4072299"/>
                    <a:gd name="connsiteY49" fmla="*/ 1308097 h 4686300"/>
                    <a:gd name="connsiteX50" fmla="*/ 2341283 w 4072299"/>
                    <a:gd name="connsiteY50" fmla="*/ 1260472 h 468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072299" h="4686300">
                      <a:moveTo>
                        <a:pt x="84296" y="553288"/>
                      </a:moveTo>
                      <a:cubicBezTo>
                        <a:pt x="618125" y="491480"/>
                        <a:pt x="1083545" y="254146"/>
                        <a:pt x="1439637" y="0"/>
                      </a:cubicBezTo>
                      <a:lnTo>
                        <a:pt x="2632653" y="0"/>
                      </a:lnTo>
                      <a:cubicBezTo>
                        <a:pt x="2988755" y="254146"/>
                        <a:pt x="3454165" y="491480"/>
                        <a:pt x="3988003" y="553288"/>
                      </a:cubicBezTo>
                      <a:cubicBezTo>
                        <a:pt x="4036286" y="558879"/>
                        <a:pt x="4072300" y="599284"/>
                        <a:pt x="4072300" y="647890"/>
                      </a:cubicBezTo>
                      <a:lnTo>
                        <a:pt x="4072300" y="2340521"/>
                      </a:lnTo>
                      <a:cubicBezTo>
                        <a:pt x="4072300" y="3488408"/>
                        <a:pt x="2906954" y="4452966"/>
                        <a:pt x="2036150" y="4686300"/>
                      </a:cubicBezTo>
                      <a:cubicBezTo>
                        <a:pt x="1165346" y="4452966"/>
                        <a:pt x="0" y="3488408"/>
                        <a:pt x="0" y="2340531"/>
                      </a:cubicBezTo>
                      <a:lnTo>
                        <a:pt x="0" y="647890"/>
                      </a:lnTo>
                      <a:cubicBezTo>
                        <a:pt x="0" y="599284"/>
                        <a:pt x="36005" y="558879"/>
                        <a:pt x="84296" y="553288"/>
                      </a:cubicBezTo>
                      <a:close/>
                      <a:moveTo>
                        <a:pt x="285741" y="812159"/>
                      </a:moveTo>
                      <a:lnTo>
                        <a:pt x="285741" y="2340531"/>
                      </a:lnTo>
                      <a:cubicBezTo>
                        <a:pt x="285741" y="2470271"/>
                        <a:pt x="303771" y="2598868"/>
                        <a:pt x="337204" y="2724150"/>
                      </a:cubicBezTo>
                      <a:cubicBezTo>
                        <a:pt x="533972" y="3461518"/>
                        <a:pt x="1310897" y="4162711"/>
                        <a:pt x="2036045" y="4388816"/>
                      </a:cubicBezTo>
                      <a:cubicBezTo>
                        <a:pt x="2490045" y="4246569"/>
                        <a:pt x="2949150" y="3916728"/>
                        <a:pt x="3257598" y="3568980"/>
                      </a:cubicBezTo>
                      <a:cubicBezTo>
                        <a:pt x="3558235" y="3230032"/>
                        <a:pt x="3786550" y="2803236"/>
                        <a:pt x="3786550" y="2340531"/>
                      </a:cubicBezTo>
                      <a:lnTo>
                        <a:pt x="3786550" y="812159"/>
                      </a:lnTo>
                      <a:cubicBezTo>
                        <a:pt x="3339656" y="731530"/>
                        <a:pt x="2919041" y="541077"/>
                        <a:pt x="2543013" y="285750"/>
                      </a:cubicBezTo>
                      <a:lnTo>
                        <a:pt x="1529286" y="285750"/>
                      </a:lnTo>
                      <a:cubicBezTo>
                        <a:pt x="1153258" y="541077"/>
                        <a:pt x="732644" y="731530"/>
                        <a:pt x="285741" y="812159"/>
                      </a:cubicBezTo>
                      <a:close/>
                      <a:moveTo>
                        <a:pt x="476241" y="966968"/>
                      </a:moveTo>
                      <a:lnTo>
                        <a:pt x="476241" y="2340531"/>
                      </a:lnTo>
                      <a:cubicBezTo>
                        <a:pt x="476241" y="2453573"/>
                        <a:pt x="492138" y="2565883"/>
                        <a:pt x="521265" y="2675039"/>
                      </a:cubicBezTo>
                      <a:cubicBezTo>
                        <a:pt x="696935" y="3333379"/>
                        <a:pt x="1393860" y="3964686"/>
                        <a:pt x="2035874" y="4188181"/>
                      </a:cubicBezTo>
                      <a:cubicBezTo>
                        <a:pt x="2435285" y="4048259"/>
                        <a:pt x="2839441" y="3753326"/>
                        <a:pt x="3115075" y="3442573"/>
                      </a:cubicBezTo>
                      <a:cubicBezTo>
                        <a:pt x="3383756" y="3139650"/>
                        <a:pt x="3596050" y="2754849"/>
                        <a:pt x="3596050" y="2340531"/>
                      </a:cubicBezTo>
                      <a:lnTo>
                        <a:pt x="3596050" y="966968"/>
                      </a:lnTo>
                      <a:cubicBezTo>
                        <a:pt x="3199648" y="873195"/>
                        <a:pt x="2825391" y="700116"/>
                        <a:pt x="2485206" y="476250"/>
                      </a:cubicBezTo>
                      <a:lnTo>
                        <a:pt x="1587094" y="476250"/>
                      </a:lnTo>
                      <a:cubicBezTo>
                        <a:pt x="1246908" y="700116"/>
                        <a:pt x="872642" y="873195"/>
                        <a:pt x="476241" y="966968"/>
                      </a:cubicBezTo>
                      <a:close/>
                      <a:moveTo>
                        <a:pt x="2341283" y="1260472"/>
                      </a:moveTo>
                      <a:lnTo>
                        <a:pt x="1731026" y="1260472"/>
                      </a:lnTo>
                      <a:cubicBezTo>
                        <a:pt x="1704794" y="1260472"/>
                        <a:pt x="1683401" y="1281865"/>
                        <a:pt x="1683401" y="1308097"/>
                      </a:cubicBezTo>
                      <a:lnTo>
                        <a:pt x="1683401" y="1791005"/>
                      </a:lnTo>
                      <a:lnTo>
                        <a:pt x="1200493" y="1791005"/>
                      </a:lnTo>
                      <a:cubicBezTo>
                        <a:pt x="1174261" y="1791005"/>
                        <a:pt x="1152868" y="1812398"/>
                        <a:pt x="1152868" y="1838630"/>
                      </a:cubicBezTo>
                      <a:lnTo>
                        <a:pt x="1152868" y="2448878"/>
                      </a:lnTo>
                      <a:cubicBezTo>
                        <a:pt x="1152868" y="2475110"/>
                        <a:pt x="1174261" y="2496503"/>
                        <a:pt x="1200493" y="2496503"/>
                      </a:cubicBezTo>
                      <a:lnTo>
                        <a:pt x="1683401" y="2496503"/>
                      </a:lnTo>
                      <a:lnTo>
                        <a:pt x="1683401" y="2979411"/>
                      </a:lnTo>
                      <a:cubicBezTo>
                        <a:pt x="1683401" y="3005643"/>
                        <a:pt x="1704794" y="3027036"/>
                        <a:pt x="1731026" y="3027036"/>
                      </a:cubicBezTo>
                      <a:lnTo>
                        <a:pt x="2341283" y="3027036"/>
                      </a:lnTo>
                      <a:cubicBezTo>
                        <a:pt x="2367515" y="3027036"/>
                        <a:pt x="2388908" y="3005643"/>
                        <a:pt x="2388908" y="2979411"/>
                      </a:cubicBezTo>
                      <a:lnTo>
                        <a:pt x="2388908" y="2496503"/>
                      </a:lnTo>
                      <a:lnTo>
                        <a:pt x="2871807" y="2496503"/>
                      </a:lnTo>
                      <a:cubicBezTo>
                        <a:pt x="2898039" y="2496503"/>
                        <a:pt x="2919432" y="2475110"/>
                        <a:pt x="2919432" y="2448878"/>
                      </a:cubicBezTo>
                      <a:lnTo>
                        <a:pt x="2919432" y="1838630"/>
                      </a:lnTo>
                      <a:cubicBezTo>
                        <a:pt x="2919432" y="1812398"/>
                        <a:pt x="2898039" y="1791005"/>
                        <a:pt x="2871807" y="1791005"/>
                      </a:cubicBezTo>
                      <a:lnTo>
                        <a:pt x="2388908" y="1791005"/>
                      </a:lnTo>
                      <a:lnTo>
                        <a:pt x="2388908" y="1308097"/>
                      </a:lnTo>
                      <a:cubicBezTo>
                        <a:pt x="2388899" y="1281865"/>
                        <a:pt x="2367515" y="1260472"/>
                        <a:pt x="2341283" y="1260472"/>
                      </a:cubicBezTo>
                      <a:close/>
                    </a:path>
                  </a:pathLst>
                </a:custGeom>
                <a:solidFill>
                  <a:schemeClr val="accent3"/>
                </a:solidFill>
                <a:ln w="2549" cap="flat">
                  <a:noFill/>
                  <a:prstDash val="solid"/>
                  <a:miter/>
                </a:ln>
              </p:spPr>
              <p:txBody>
                <a:bodyPr rtlCol="0" anchor="ctr"/>
                <a:lstStyle/>
                <a:p>
                  <a:endParaRPr lang="en-US" noProof="0"/>
                </a:p>
              </p:txBody>
            </p:sp>
            <p:sp>
              <p:nvSpPr>
                <p:cNvPr id="21" name="Graphic 61">
                  <a:extLst>
                    <a:ext uri="{FF2B5EF4-FFF2-40B4-BE49-F238E27FC236}">
                      <a16:creationId xmlns:a16="http://schemas.microsoft.com/office/drawing/2014/main" id="{85D5E974-9D76-EC02-C4C6-220FAB5F6E20}"/>
                    </a:ext>
                  </a:extLst>
                </p:cNvPr>
                <p:cNvSpPr/>
                <p:nvPr/>
              </p:nvSpPr>
              <p:spPr>
                <a:xfrm>
                  <a:off x="6855358" y="623177"/>
                  <a:ext cx="604001" cy="695069"/>
                </a:xfrm>
                <a:custGeom>
                  <a:avLst/>
                  <a:gdLst>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476241 w 4072299"/>
                    <a:gd name="connsiteY20" fmla="*/ 966968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3596050 w 4072299"/>
                    <a:gd name="connsiteY26" fmla="*/ 966968 h 4686300"/>
                    <a:gd name="connsiteX27" fmla="*/ 2485206 w 4072299"/>
                    <a:gd name="connsiteY27" fmla="*/ 476250 h 4686300"/>
                    <a:gd name="connsiteX28" fmla="*/ 1587094 w 4072299"/>
                    <a:gd name="connsiteY28" fmla="*/ 476250 h 4686300"/>
                    <a:gd name="connsiteX29" fmla="*/ 476241 w 4072299"/>
                    <a:gd name="connsiteY29" fmla="*/ 966968 h 4686300"/>
                    <a:gd name="connsiteX30" fmla="*/ 2341283 w 4072299"/>
                    <a:gd name="connsiteY30" fmla="*/ 1260472 h 4686300"/>
                    <a:gd name="connsiteX31" fmla="*/ 1731026 w 4072299"/>
                    <a:gd name="connsiteY31" fmla="*/ 1260472 h 4686300"/>
                    <a:gd name="connsiteX32" fmla="*/ 1683401 w 4072299"/>
                    <a:gd name="connsiteY32" fmla="*/ 1308097 h 4686300"/>
                    <a:gd name="connsiteX33" fmla="*/ 1683401 w 4072299"/>
                    <a:gd name="connsiteY33" fmla="*/ 1791005 h 4686300"/>
                    <a:gd name="connsiteX34" fmla="*/ 1200493 w 4072299"/>
                    <a:gd name="connsiteY34" fmla="*/ 1791005 h 4686300"/>
                    <a:gd name="connsiteX35" fmla="*/ 1152868 w 4072299"/>
                    <a:gd name="connsiteY35" fmla="*/ 1838630 h 4686300"/>
                    <a:gd name="connsiteX36" fmla="*/ 1152868 w 4072299"/>
                    <a:gd name="connsiteY36" fmla="*/ 2448878 h 4686300"/>
                    <a:gd name="connsiteX37" fmla="*/ 1200493 w 4072299"/>
                    <a:gd name="connsiteY37" fmla="*/ 2496503 h 4686300"/>
                    <a:gd name="connsiteX38" fmla="*/ 1683401 w 4072299"/>
                    <a:gd name="connsiteY38" fmla="*/ 2496503 h 4686300"/>
                    <a:gd name="connsiteX39" fmla="*/ 1683401 w 4072299"/>
                    <a:gd name="connsiteY39" fmla="*/ 2979411 h 4686300"/>
                    <a:gd name="connsiteX40" fmla="*/ 1731026 w 4072299"/>
                    <a:gd name="connsiteY40" fmla="*/ 3027036 h 4686300"/>
                    <a:gd name="connsiteX41" fmla="*/ 2341283 w 4072299"/>
                    <a:gd name="connsiteY41" fmla="*/ 3027036 h 4686300"/>
                    <a:gd name="connsiteX42" fmla="*/ 2388908 w 4072299"/>
                    <a:gd name="connsiteY42" fmla="*/ 2979411 h 4686300"/>
                    <a:gd name="connsiteX43" fmla="*/ 2388908 w 4072299"/>
                    <a:gd name="connsiteY43" fmla="*/ 2496503 h 4686300"/>
                    <a:gd name="connsiteX44" fmla="*/ 2871807 w 4072299"/>
                    <a:gd name="connsiteY44" fmla="*/ 2496503 h 4686300"/>
                    <a:gd name="connsiteX45" fmla="*/ 2919432 w 4072299"/>
                    <a:gd name="connsiteY45" fmla="*/ 2448878 h 4686300"/>
                    <a:gd name="connsiteX46" fmla="*/ 2919432 w 4072299"/>
                    <a:gd name="connsiteY46" fmla="*/ 1838630 h 4686300"/>
                    <a:gd name="connsiteX47" fmla="*/ 2871807 w 4072299"/>
                    <a:gd name="connsiteY47" fmla="*/ 1791005 h 4686300"/>
                    <a:gd name="connsiteX48" fmla="*/ 2388908 w 4072299"/>
                    <a:gd name="connsiteY48" fmla="*/ 1791005 h 4686300"/>
                    <a:gd name="connsiteX49" fmla="*/ 2388908 w 4072299"/>
                    <a:gd name="connsiteY49" fmla="*/ 1308097 h 4686300"/>
                    <a:gd name="connsiteX50" fmla="*/ 2341283 w 4072299"/>
                    <a:gd name="connsiteY50"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476241 w 4072299"/>
                    <a:gd name="connsiteY20" fmla="*/ 966968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3596050 w 4072299"/>
                    <a:gd name="connsiteY26" fmla="*/ 966968 h 4686300"/>
                    <a:gd name="connsiteX27" fmla="*/ 2485206 w 4072299"/>
                    <a:gd name="connsiteY27" fmla="*/ 476250 h 4686300"/>
                    <a:gd name="connsiteX28" fmla="*/ 476241 w 4072299"/>
                    <a:gd name="connsiteY28" fmla="*/ 966968 h 4686300"/>
                    <a:gd name="connsiteX29" fmla="*/ 2341283 w 4072299"/>
                    <a:gd name="connsiteY29" fmla="*/ 1260472 h 4686300"/>
                    <a:gd name="connsiteX30" fmla="*/ 1731026 w 4072299"/>
                    <a:gd name="connsiteY30" fmla="*/ 1260472 h 4686300"/>
                    <a:gd name="connsiteX31" fmla="*/ 1683401 w 4072299"/>
                    <a:gd name="connsiteY31" fmla="*/ 1308097 h 4686300"/>
                    <a:gd name="connsiteX32" fmla="*/ 1683401 w 4072299"/>
                    <a:gd name="connsiteY32" fmla="*/ 1791005 h 4686300"/>
                    <a:gd name="connsiteX33" fmla="*/ 1200493 w 4072299"/>
                    <a:gd name="connsiteY33" fmla="*/ 1791005 h 4686300"/>
                    <a:gd name="connsiteX34" fmla="*/ 1152868 w 4072299"/>
                    <a:gd name="connsiteY34" fmla="*/ 1838630 h 4686300"/>
                    <a:gd name="connsiteX35" fmla="*/ 1152868 w 4072299"/>
                    <a:gd name="connsiteY35" fmla="*/ 2448878 h 4686300"/>
                    <a:gd name="connsiteX36" fmla="*/ 1200493 w 4072299"/>
                    <a:gd name="connsiteY36" fmla="*/ 2496503 h 4686300"/>
                    <a:gd name="connsiteX37" fmla="*/ 1683401 w 4072299"/>
                    <a:gd name="connsiteY37" fmla="*/ 2496503 h 4686300"/>
                    <a:gd name="connsiteX38" fmla="*/ 1683401 w 4072299"/>
                    <a:gd name="connsiteY38" fmla="*/ 2979411 h 4686300"/>
                    <a:gd name="connsiteX39" fmla="*/ 1731026 w 4072299"/>
                    <a:gd name="connsiteY39" fmla="*/ 3027036 h 4686300"/>
                    <a:gd name="connsiteX40" fmla="*/ 2341283 w 4072299"/>
                    <a:gd name="connsiteY40" fmla="*/ 3027036 h 4686300"/>
                    <a:gd name="connsiteX41" fmla="*/ 2388908 w 4072299"/>
                    <a:gd name="connsiteY41" fmla="*/ 2979411 h 4686300"/>
                    <a:gd name="connsiteX42" fmla="*/ 2388908 w 4072299"/>
                    <a:gd name="connsiteY42" fmla="*/ 2496503 h 4686300"/>
                    <a:gd name="connsiteX43" fmla="*/ 2871807 w 4072299"/>
                    <a:gd name="connsiteY43" fmla="*/ 2496503 h 4686300"/>
                    <a:gd name="connsiteX44" fmla="*/ 2919432 w 4072299"/>
                    <a:gd name="connsiteY44" fmla="*/ 2448878 h 4686300"/>
                    <a:gd name="connsiteX45" fmla="*/ 2919432 w 4072299"/>
                    <a:gd name="connsiteY45" fmla="*/ 1838630 h 4686300"/>
                    <a:gd name="connsiteX46" fmla="*/ 2871807 w 4072299"/>
                    <a:gd name="connsiteY46" fmla="*/ 1791005 h 4686300"/>
                    <a:gd name="connsiteX47" fmla="*/ 2388908 w 4072299"/>
                    <a:gd name="connsiteY47" fmla="*/ 1791005 h 4686300"/>
                    <a:gd name="connsiteX48" fmla="*/ 2388908 w 4072299"/>
                    <a:gd name="connsiteY48" fmla="*/ 1308097 h 4686300"/>
                    <a:gd name="connsiteX49" fmla="*/ 2341283 w 4072299"/>
                    <a:gd name="connsiteY49"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476241 w 4072299"/>
                    <a:gd name="connsiteY20" fmla="*/ 966968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3596050 w 4072299"/>
                    <a:gd name="connsiteY26" fmla="*/ 966968 h 4686300"/>
                    <a:gd name="connsiteX27" fmla="*/ 476241 w 4072299"/>
                    <a:gd name="connsiteY27" fmla="*/ 966968 h 4686300"/>
                    <a:gd name="connsiteX28" fmla="*/ 2341283 w 4072299"/>
                    <a:gd name="connsiteY28" fmla="*/ 1260472 h 4686300"/>
                    <a:gd name="connsiteX29" fmla="*/ 1731026 w 4072299"/>
                    <a:gd name="connsiteY29" fmla="*/ 1260472 h 4686300"/>
                    <a:gd name="connsiteX30" fmla="*/ 1683401 w 4072299"/>
                    <a:gd name="connsiteY30" fmla="*/ 1308097 h 4686300"/>
                    <a:gd name="connsiteX31" fmla="*/ 1683401 w 4072299"/>
                    <a:gd name="connsiteY31" fmla="*/ 1791005 h 4686300"/>
                    <a:gd name="connsiteX32" fmla="*/ 1200493 w 4072299"/>
                    <a:gd name="connsiteY32" fmla="*/ 1791005 h 4686300"/>
                    <a:gd name="connsiteX33" fmla="*/ 1152868 w 4072299"/>
                    <a:gd name="connsiteY33" fmla="*/ 1838630 h 4686300"/>
                    <a:gd name="connsiteX34" fmla="*/ 1152868 w 4072299"/>
                    <a:gd name="connsiteY34" fmla="*/ 2448878 h 4686300"/>
                    <a:gd name="connsiteX35" fmla="*/ 1200493 w 4072299"/>
                    <a:gd name="connsiteY35" fmla="*/ 2496503 h 4686300"/>
                    <a:gd name="connsiteX36" fmla="*/ 1683401 w 4072299"/>
                    <a:gd name="connsiteY36" fmla="*/ 2496503 h 4686300"/>
                    <a:gd name="connsiteX37" fmla="*/ 1683401 w 4072299"/>
                    <a:gd name="connsiteY37" fmla="*/ 2979411 h 4686300"/>
                    <a:gd name="connsiteX38" fmla="*/ 1731026 w 4072299"/>
                    <a:gd name="connsiteY38" fmla="*/ 3027036 h 4686300"/>
                    <a:gd name="connsiteX39" fmla="*/ 2341283 w 4072299"/>
                    <a:gd name="connsiteY39" fmla="*/ 3027036 h 4686300"/>
                    <a:gd name="connsiteX40" fmla="*/ 2388908 w 4072299"/>
                    <a:gd name="connsiteY40" fmla="*/ 2979411 h 4686300"/>
                    <a:gd name="connsiteX41" fmla="*/ 2388908 w 4072299"/>
                    <a:gd name="connsiteY41" fmla="*/ 2496503 h 4686300"/>
                    <a:gd name="connsiteX42" fmla="*/ 2871807 w 4072299"/>
                    <a:gd name="connsiteY42" fmla="*/ 2496503 h 4686300"/>
                    <a:gd name="connsiteX43" fmla="*/ 2919432 w 4072299"/>
                    <a:gd name="connsiteY43" fmla="*/ 2448878 h 4686300"/>
                    <a:gd name="connsiteX44" fmla="*/ 2919432 w 4072299"/>
                    <a:gd name="connsiteY44" fmla="*/ 1838630 h 4686300"/>
                    <a:gd name="connsiteX45" fmla="*/ 2871807 w 4072299"/>
                    <a:gd name="connsiteY45" fmla="*/ 1791005 h 4686300"/>
                    <a:gd name="connsiteX46" fmla="*/ 2388908 w 4072299"/>
                    <a:gd name="connsiteY46" fmla="*/ 1791005 h 4686300"/>
                    <a:gd name="connsiteX47" fmla="*/ 2388908 w 4072299"/>
                    <a:gd name="connsiteY47" fmla="*/ 1308097 h 4686300"/>
                    <a:gd name="connsiteX48" fmla="*/ 2341283 w 4072299"/>
                    <a:gd name="connsiteY48"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476241 w 4072299"/>
                    <a:gd name="connsiteY20" fmla="*/ 966968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476241 w 4072299"/>
                    <a:gd name="connsiteY26" fmla="*/ 966968 h 4686300"/>
                    <a:gd name="connsiteX27" fmla="*/ 2341283 w 4072299"/>
                    <a:gd name="connsiteY27" fmla="*/ 1260472 h 4686300"/>
                    <a:gd name="connsiteX28" fmla="*/ 1731026 w 4072299"/>
                    <a:gd name="connsiteY28" fmla="*/ 1260472 h 4686300"/>
                    <a:gd name="connsiteX29" fmla="*/ 1683401 w 4072299"/>
                    <a:gd name="connsiteY29" fmla="*/ 1308097 h 4686300"/>
                    <a:gd name="connsiteX30" fmla="*/ 1683401 w 4072299"/>
                    <a:gd name="connsiteY30" fmla="*/ 1791005 h 4686300"/>
                    <a:gd name="connsiteX31" fmla="*/ 1200493 w 4072299"/>
                    <a:gd name="connsiteY31" fmla="*/ 1791005 h 4686300"/>
                    <a:gd name="connsiteX32" fmla="*/ 1152868 w 4072299"/>
                    <a:gd name="connsiteY32" fmla="*/ 1838630 h 4686300"/>
                    <a:gd name="connsiteX33" fmla="*/ 1152868 w 4072299"/>
                    <a:gd name="connsiteY33" fmla="*/ 2448878 h 4686300"/>
                    <a:gd name="connsiteX34" fmla="*/ 1200493 w 4072299"/>
                    <a:gd name="connsiteY34" fmla="*/ 2496503 h 4686300"/>
                    <a:gd name="connsiteX35" fmla="*/ 1683401 w 4072299"/>
                    <a:gd name="connsiteY35" fmla="*/ 2496503 h 4686300"/>
                    <a:gd name="connsiteX36" fmla="*/ 1683401 w 4072299"/>
                    <a:gd name="connsiteY36" fmla="*/ 2979411 h 4686300"/>
                    <a:gd name="connsiteX37" fmla="*/ 1731026 w 4072299"/>
                    <a:gd name="connsiteY37" fmla="*/ 3027036 h 4686300"/>
                    <a:gd name="connsiteX38" fmla="*/ 2341283 w 4072299"/>
                    <a:gd name="connsiteY38" fmla="*/ 3027036 h 4686300"/>
                    <a:gd name="connsiteX39" fmla="*/ 2388908 w 4072299"/>
                    <a:gd name="connsiteY39" fmla="*/ 2979411 h 4686300"/>
                    <a:gd name="connsiteX40" fmla="*/ 2388908 w 4072299"/>
                    <a:gd name="connsiteY40" fmla="*/ 2496503 h 4686300"/>
                    <a:gd name="connsiteX41" fmla="*/ 2871807 w 4072299"/>
                    <a:gd name="connsiteY41" fmla="*/ 2496503 h 4686300"/>
                    <a:gd name="connsiteX42" fmla="*/ 2919432 w 4072299"/>
                    <a:gd name="connsiteY42" fmla="*/ 2448878 h 4686300"/>
                    <a:gd name="connsiteX43" fmla="*/ 2919432 w 4072299"/>
                    <a:gd name="connsiteY43" fmla="*/ 1838630 h 4686300"/>
                    <a:gd name="connsiteX44" fmla="*/ 2871807 w 4072299"/>
                    <a:gd name="connsiteY44" fmla="*/ 1791005 h 4686300"/>
                    <a:gd name="connsiteX45" fmla="*/ 2388908 w 4072299"/>
                    <a:gd name="connsiteY45" fmla="*/ 1791005 h 4686300"/>
                    <a:gd name="connsiteX46" fmla="*/ 2388908 w 4072299"/>
                    <a:gd name="connsiteY46" fmla="*/ 1308097 h 4686300"/>
                    <a:gd name="connsiteX47" fmla="*/ 2341283 w 4072299"/>
                    <a:gd name="connsiteY47"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3596050 w 4072299"/>
                    <a:gd name="connsiteY20" fmla="*/ 2340531 h 4686300"/>
                    <a:gd name="connsiteX21" fmla="*/ 476241 w 4072299"/>
                    <a:gd name="connsiteY21" fmla="*/ 2340531 h 4686300"/>
                    <a:gd name="connsiteX22" fmla="*/ 521265 w 4072299"/>
                    <a:gd name="connsiteY22" fmla="*/ 2675039 h 4686300"/>
                    <a:gd name="connsiteX23" fmla="*/ 2035874 w 4072299"/>
                    <a:gd name="connsiteY23" fmla="*/ 4188181 h 4686300"/>
                    <a:gd name="connsiteX24" fmla="*/ 3115075 w 4072299"/>
                    <a:gd name="connsiteY24" fmla="*/ 3442573 h 4686300"/>
                    <a:gd name="connsiteX25" fmla="*/ 3596050 w 4072299"/>
                    <a:gd name="connsiteY25" fmla="*/ 2340531 h 4686300"/>
                    <a:gd name="connsiteX26" fmla="*/ 2341283 w 4072299"/>
                    <a:gd name="connsiteY26" fmla="*/ 1260472 h 4686300"/>
                    <a:gd name="connsiteX27" fmla="*/ 1731026 w 4072299"/>
                    <a:gd name="connsiteY27" fmla="*/ 1260472 h 4686300"/>
                    <a:gd name="connsiteX28" fmla="*/ 1683401 w 4072299"/>
                    <a:gd name="connsiteY28" fmla="*/ 1308097 h 4686300"/>
                    <a:gd name="connsiteX29" fmla="*/ 1683401 w 4072299"/>
                    <a:gd name="connsiteY29" fmla="*/ 1791005 h 4686300"/>
                    <a:gd name="connsiteX30" fmla="*/ 1200493 w 4072299"/>
                    <a:gd name="connsiteY30" fmla="*/ 1791005 h 4686300"/>
                    <a:gd name="connsiteX31" fmla="*/ 1152868 w 4072299"/>
                    <a:gd name="connsiteY31" fmla="*/ 1838630 h 4686300"/>
                    <a:gd name="connsiteX32" fmla="*/ 1152868 w 4072299"/>
                    <a:gd name="connsiteY32" fmla="*/ 2448878 h 4686300"/>
                    <a:gd name="connsiteX33" fmla="*/ 1200493 w 4072299"/>
                    <a:gd name="connsiteY33" fmla="*/ 2496503 h 4686300"/>
                    <a:gd name="connsiteX34" fmla="*/ 1683401 w 4072299"/>
                    <a:gd name="connsiteY34" fmla="*/ 2496503 h 4686300"/>
                    <a:gd name="connsiteX35" fmla="*/ 1683401 w 4072299"/>
                    <a:gd name="connsiteY35" fmla="*/ 2979411 h 4686300"/>
                    <a:gd name="connsiteX36" fmla="*/ 1731026 w 4072299"/>
                    <a:gd name="connsiteY36" fmla="*/ 3027036 h 4686300"/>
                    <a:gd name="connsiteX37" fmla="*/ 2341283 w 4072299"/>
                    <a:gd name="connsiteY37" fmla="*/ 3027036 h 4686300"/>
                    <a:gd name="connsiteX38" fmla="*/ 2388908 w 4072299"/>
                    <a:gd name="connsiteY38" fmla="*/ 2979411 h 4686300"/>
                    <a:gd name="connsiteX39" fmla="*/ 2388908 w 4072299"/>
                    <a:gd name="connsiteY39" fmla="*/ 2496503 h 4686300"/>
                    <a:gd name="connsiteX40" fmla="*/ 2871807 w 4072299"/>
                    <a:gd name="connsiteY40" fmla="*/ 2496503 h 4686300"/>
                    <a:gd name="connsiteX41" fmla="*/ 2919432 w 4072299"/>
                    <a:gd name="connsiteY41" fmla="*/ 2448878 h 4686300"/>
                    <a:gd name="connsiteX42" fmla="*/ 2919432 w 4072299"/>
                    <a:gd name="connsiteY42" fmla="*/ 1838630 h 4686300"/>
                    <a:gd name="connsiteX43" fmla="*/ 2871807 w 4072299"/>
                    <a:gd name="connsiteY43" fmla="*/ 1791005 h 4686300"/>
                    <a:gd name="connsiteX44" fmla="*/ 2388908 w 4072299"/>
                    <a:gd name="connsiteY44" fmla="*/ 1791005 h 4686300"/>
                    <a:gd name="connsiteX45" fmla="*/ 2388908 w 4072299"/>
                    <a:gd name="connsiteY45" fmla="*/ 1308097 h 4686300"/>
                    <a:gd name="connsiteX46" fmla="*/ 2341283 w 4072299"/>
                    <a:gd name="connsiteY46"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3596050 w 4072299"/>
                    <a:gd name="connsiteY20" fmla="*/ 2340531 h 4686300"/>
                    <a:gd name="connsiteX21" fmla="*/ 521265 w 4072299"/>
                    <a:gd name="connsiteY21" fmla="*/ 2675039 h 4686300"/>
                    <a:gd name="connsiteX22" fmla="*/ 2035874 w 4072299"/>
                    <a:gd name="connsiteY22" fmla="*/ 4188181 h 4686300"/>
                    <a:gd name="connsiteX23" fmla="*/ 3115075 w 4072299"/>
                    <a:gd name="connsiteY23" fmla="*/ 3442573 h 4686300"/>
                    <a:gd name="connsiteX24" fmla="*/ 3596050 w 4072299"/>
                    <a:gd name="connsiteY24" fmla="*/ 2340531 h 4686300"/>
                    <a:gd name="connsiteX25" fmla="*/ 2341283 w 4072299"/>
                    <a:gd name="connsiteY25" fmla="*/ 1260472 h 4686300"/>
                    <a:gd name="connsiteX26" fmla="*/ 1731026 w 4072299"/>
                    <a:gd name="connsiteY26" fmla="*/ 1260472 h 4686300"/>
                    <a:gd name="connsiteX27" fmla="*/ 1683401 w 4072299"/>
                    <a:gd name="connsiteY27" fmla="*/ 1308097 h 4686300"/>
                    <a:gd name="connsiteX28" fmla="*/ 1683401 w 4072299"/>
                    <a:gd name="connsiteY28" fmla="*/ 1791005 h 4686300"/>
                    <a:gd name="connsiteX29" fmla="*/ 1200493 w 4072299"/>
                    <a:gd name="connsiteY29" fmla="*/ 1791005 h 4686300"/>
                    <a:gd name="connsiteX30" fmla="*/ 1152868 w 4072299"/>
                    <a:gd name="connsiteY30" fmla="*/ 1838630 h 4686300"/>
                    <a:gd name="connsiteX31" fmla="*/ 1152868 w 4072299"/>
                    <a:gd name="connsiteY31" fmla="*/ 2448878 h 4686300"/>
                    <a:gd name="connsiteX32" fmla="*/ 1200493 w 4072299"/>
                    <a:gd name="connsiteY32" fmla="*/ 2496503 h 4686300"/>
                    <a:gd name="connsiteX33" fmla="*/ 1683401 w 4072299"/>
                    <a:gd name="connsiteY33" fmla="*/ 2496503 h 4686300"/>
                    <a:gd name="connsiteX34" fmla="*/ 1683401 w 4072299"/>
                    <a:gd name="connsiteY34" fmla="*/ 2979411 h 4686300"/>
                    <a:gd name="connsiteX35" fmla="*/ 1731026 w 4072299"/>
                    <a:gd name="connsiteY35" fmla="*/ 3027036 h 4686300"/>
                    <a:gd name="connsiteX36" fmla="*/ 2341283 w 4072299"/>
                    <a:gd name="connsiteY36" fmla="*/ 3027036 h 4686300"/>
                    <a:gd name="connsiteX37" fmla="*/ 2388908 w 4072299"/>
                    <a:gd name="connsiteY37" fmla="*/ 2979411 h 4686300"/>
                    <a:gd name="connsiteX38" fmla="*/ 2388908 w 4072299"/>
                    <a:gd name="connsiteY38" fmla="*/ 2496503 h 4686300"/>
                    <a:gd name="connsiteX39" fmla="*/ 2871807 w 4072299"/>
                    <a:gd name="connsiteY39" fmla="*/ 2496503 h 4686300"/>
                    <a:gd name="connsiteX40" fmla="*/ 2919432 w 4072299"/>
                    <a:gd name="connsiteY40" fmla="*/ 2448878 h 4686300"/>
                    <a:gd name="connsiteX41" fmla="*/ 2919432 w 4072299"/>
                    <a:gd name="connsiteY41" fmla="*/ 1838630 h 4686300"/>
                    <a:gd name="connsiteX42" fmla="*/ 2871807 w 4072299"/>
                    <a:gd name="connsiteY42" fmla="*/ 1791005 h 4686300"/>
                    <a:gd name="connsiteX43" fmla="*/ 2388908 w 4072299"/>
                    <a:gd name="connsiteY43" fmla="*/ 1791005 h 4686300"/>
                    <a:gd name="connsiteX44" fmla="*/ 2388908 w 4072299"/>
                    <a:gd name="connsiteY44" fmla="*/ 1308097 h 4686300"/>
                    <a:gd name="connsiteX45" fmla="*/ 2341283 w 4072299"/>
                    <a:gd name="connsiteY45"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3596050 w 4072299"/>
                    <a:gd name="connsiteY20" fmla="*/ 2340531 h 4686300"/>
                    <a:gd name="connsiteX21" fmla="*/ 2035874 w 4072299"/>
                    <a:gd name="connsiteY21" fmla="*/ 4188181 h 4686300"/>
                    <a:gd name="connsiteX22" fmla="*/ 3115075 w 4072299"/>
                    <a:gd name="connsiteY22" fmla="*/ 3442573 h 4686300"/>
                    <a:gd name="connsiteX23" fmla="*/ 3596050 w 4072299"/>
                    <a:gd name="connsiteY23" fmla="*/ 2340531 h 4686300"/>
                    <a:gd name="connsiteX24" fmla="*/ 2341283 w 4072299"/>
                    <a:gd name="connsiteY24" fmla="*/ 1260472 h 4686300"/>
                    <a:gd name="connsiteX25" fmla="*/ 1731026 w 4072299"/>
                    <a:gd name="connsiteY25" fmla="*/ 1260472 h 4686300"/>
                    <a:gd name="connsiteX26" fmla="*/ 1683401 w 4072299"/>
                    <a:gd name="connsiteY26" fmla="*/ 1308097 h 4686300"/>
                    <a:gd name="connsiteX27" fmla="*/ 1683401 w 4072299"/>
                    <a:gd name="connsiteY27" fmla="*/ 1791005 h 4686300"/>
                    <a:gd name="connsiteX28" fmla="*/ 1200493 w 4072299"/>
                    <a:gd name="connsiteY28" fmla="*/ 1791005 h 4686300"/>
                    <a:gd name="connsiteX29" fmla="*/ 1152868 w 4072299"/>
                    <a:gd name="connsiteY29" fmla="*/ 1838630 h 4686300"/>
                    <a:gd name="connsiteX30" fmla="*/ 1152868 w 4072299"/>
                    <a:gd name="connsiteY30" fmla="*/ 2448878 h 4686300"/>
                    <a:gd name="connsiteX31" fmla="*/ 1200493 w 4072299"/>
                    <a:gd name="connsiteY31" fmla="*/ 2496503 h 4686300"/>
                    <a:gd name="connsiteX32" fmla="*/ 1683401 w 4072299"/>
                    <a:gd name="connsiteY32" fmla="*/ 2496503 h 4686300"/>
                    <a:gd name="connsiteX33" fmla="*/ 1683401 w 4072299"/>
                    <a:gd name="connsiteY33" fmla="*/ 2979411 h 4686300"/>
                    <a:gd name="connsiteX34" fmla="*/ 1731026 w 4072299"/>
                    <a:gd name="connsiteY34" fmla="*/ 3027036 h 4686300"/>
                    <a:gd name="connsiteX35" fmla="*/ 2341283 w 4072299"/>
                    <a:gd name="connsiteY35" fmla="*/ 3027036 h 4686300"/>
                    <a:gd name="connsiteX36" fmla="*/ 2388908 w 4072299"/>
                    <a:gd name="connsiteY36" fmla="*/ 2979411 h 4686300"/>
                    <a:gd name="connsiteX37" fmla="*/ 2388908 w 4072299"/>
                    <a:gd name="connsiteY37" fmla="*/ 2496503 h 4686300"/>
                    <a:gd name="connsiteX38" fmla="*/ 2871807 w 4072299"/>
                    <a:gd name="connsiteY38" fmla="*/ 2496503 h 4686300"/>
                    <a:gd name="connsiteX39" fmla="*/ 2919432 w 4072299"/>
                    <a:gd name="connsiteY39" fmla="*/ 2448878 h 4686300"/>
                    <a:gd name="connsiteX40" fmla="*/ 2919432 w 4072299"/>
                    <a:gd name="connsiteY40" fmla="*/ 1838630 h 4686300"/>
                    <a:gd name="connsiteX41" fmla="*/ 2871807 w 4072299"/>
                    <a:gd name="connsiteY41" fmla="*/ 1791005 h 4686300"/>
                    <a:gd name="connsiteX42" fmla="*/ 2388908 w 4072299"/>
                    <a:gd name="connsiteY42" fmla="*/ 1791005 h 4686300"/>
                    <a:gd name="connsiteX43" fmla="*/ 2388908 w 4072299"/>
                    <a:gd name="connsiteY43" fmla="*/ 1308097 h 4686300"/>
                    <a:gd name="connsiteX44" fmla="*/ 2341283 w 4072299"/>
                    <a:gd name="connsiteY44"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3596050 w 4072299"/>
                    <a:gd name="connsiteY20" fmla="*/ 2340531 h 4686300"/>
                    <a:gd name="connsiteX21" fmla="*/ 3115075 w 4072299"/>
                    <a:gd name="connsiteY21" fmla="*/ 3442573 h 4686300"/>
                    <a:gd name="connsiteX22" fmla="*/ 3596050 w 4072299"/>
                    <a:gd name="connsiteY22" fmla="*/ 2340531 h 4686300"/>
                    <a:gd name="connsiteX23" fmla="*/ 2341283 w 4072299"/>
                    <a:gd name="connsiteY23" fmla="*/ 1260472 h 4686300"/>
                    <a:gd name="connsiteX24" fmla="*/ 1731026 w 4072299"/>
                    <a:gd name="connsiteY24" fmla="*/ 1260472 h 4686300"/>
                    <a:gd name="connsiteX25" fmla="*/ 1683401 w 4072299"/>
                    <a:gd name="connsiteY25" fmla="*/ 1308097 h 4686300"/>
                    <a:gd name="connsiteX26" fmla="*/ 1683401 w 4072299"/>
                    <a:gd name="connsiteY26" fmla="*/ 1791005 h 4686300"/>
                    <a:gd name="connsiteX27" fmla="*/ 1200493 w 4072299"/>
                    <a:gd name="connsiteY27" fmla="*/ 1791005 h 4686300"/>
                    <a:gd name="connsiteX28" fmla="*/ 1152868 w 4072299"/>
                    <a:gd name="connsiteY28" fmla="*/ 1838630 h 4686300"/>
                    <a:gd name="connsiteX29" fmla="*/ 1152868 w 4072299"/>
                    <a:gd name="connsiteY29" fmla="*/ 2448878 h 4686300"/>
                    <a:gd name="connsiteX30" fmla="*/ 1200493 w 4072299"/>
                    <a:gd name="connsiteY30" fmla="*/ 2496503 h 4686300"/>
                    <a:gd name="connsiteX31" fmla="*/ 1683401 w 4072299"/>
                    <a:gd name="connsiteY31" fmla="*/ 2496503 h 4686300"/>
                    <a:gd name="connsiteX32" fmla="*/ 1683401 w 4072299"/>
                    <a:gd name="connsiteY32" fmla="*/ 2979411 h 4686300"/>
                    <a:gd name="connsiteX33" fmla="*/ 1731026 w 4072299"/>
                    <a:gd name="connsiteY33" fmla="*/ 3027036 h 4686300"/>
                    <a:gd name="connsiteX34" fmla="*/ 2341283 w 4072299"/>
                    <a:gd name="connsiteY34" fmla="*/ 3027036 h 4686300"/>
                    <a:gd name="connsiteX35" fmla="*/ 2388908 w 4072299"/>
                    <a:gd name="connsiteY35" fmla="*/ 2979411 h 4686300"/>
                    <a:gd name="connsiteX36" fmla="*/ 2388908 w 4072299"/>
                    <a:gd name="connsiteY36" fmla="*/ 2496503 h 4686300"/>
                    <a:gd name="connsiteX37" fmla="*/ 2871807 w 4072299"/>
                    <a:gd name="connsiteY37" fmla="*/ 2496503 h 4686300"/>
                    <a:gd name="connsiteX38" fmla="*/ 2919432 w 4072299"/>
                    <a:gd name="connsiteY38" fmla="*/ 2448878 h 4686300"/>
                    <a:gd name="connsiteX39" fmla="*/ 2919432 w 4072299"/>
                    <a:gd name="connsiteY39" fmla="*/ 1838630 h 4686300"/>
                    <a:gd name="connsiteX40" fmla="*/ 2871807 w 4072299"/>
                    <a:gd name="connsiteY40" fmla="*/ 1791005 h 4686300"/>
                    <a:gd name="connsiteX41" fmla="*/ 2388908 w 4072299"/>
                    <a:gd name="connsiteY41" fmla="*/ 1791005 h 4686300"/>
                    <a:gd name="connsiteX42" fmla="*/ 2388908 w 4072299"/>
                    <a:gd name="connsiteY42" fmla="*/ 1308097 h 4686300"/>
                    <a:gd name="connsiteX43" fmla="*/ 2341283 w 4072299"/>
                    <a:gd name="connsiteY43"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41283 w 4072299"/>
                    <a:gd name="connsiteY20" fmla="*/ 1260472 h 4686300"/>
                    <a:gd name="connsiteX21" fmla="*/ 1731026 w 4072299"/>
                    <a:gd name="connsiteY21" fmla="*/ 1260472 h 4686300"/>
                    <a:gd name="connsiteX22" fmla="*/ 1683401 w 4072299"/>
                    <a:gd name="connsiteY22" fmla="*/ 1308097 h 4686300"/>
                    <a:gd name="connsiteX23" fmla="*/ 1683401 w 4072299"/>
                    <a:gd name="connsiteY23" fmla="*/ 1791005 h 4686300"/>
                    <a:gd name="connsiteX24" fmla="*/ 1200493 w 4072299"/>
                    <a:gd name="connsiteY24" fmla="*/ 1791005 h 4686300"/>
                    <a:gd name="connsiteX25" fmla="*/ 1152868 w 4072299"/>
                    <a:gd name="connsiteY25" fmla="*/ 1838630 h 4686300"/>
                    <a:gd name="connsiteX26" fmla="*/ 1152868 w 4072299"/>
                    <a:gd name="connsiteY26" fmla="*/ 2448878 h 4686300"/>
                    <a:gd name="connsiteX27" fmla="*/ 1200493 w 4072299"/>
                    <a:gd name="connsiteY27" fmla="*/ 2496503 h 4686300"/>
                    <a:gd name="connsiteX28" fmla="*/ 1683401 w 4072299"/>
                    <a:gd name="connsiteY28" fmla="*/ 2496503 h 4686300"/>
                    <a:gd name="connsiteX29" fmla="*/ 1683401 w 4072299"/>
                    <a:gd name="connsiteY29" fmla="*/ 2979411 h 4686300"/>
                    <a:gd name="connsiteX30" fmla="*/ 1731026 w 4072299"/>
                    <a:gd name="connsiteY30" fmla="*/ 3027036 h 4686300"/>
                    <a:gd name="connsiteX31" fmla="*/ 2341283 w 4072299"/>
                    <a:gd name="connsiteY31" fmla="*/ 3027036 h 4686300"/>
                    <a:gd name="connsiteX32" fmla="*/ 2388908 w 4072299"/>
                    <a:gd name="connsiteY32" fmla="*/ 2979411 h 4686300"/>
                    <a:gd name="connsiteX33" fmla="*/ 2388908 w 4072299"/>
                    <a:gd name="connsiteY33" fmla="*/ 2496503 h 4686300"/>
                    <a:gd name="connsiteX34" fmla="*/ 2871807 w 4072299"/>
                    <a:gd name="connsiteY34" fmla="*/ 2496503 h 4686300"/>
                    <a:gd name="connsiteX35" fmla="*/ 2919432 w 4072299"/>
                    <a:gd name="connsiteY35" fmla="*/ 2448878 h 4686300"/>
                    <a:gd name="connsiteX36" fmla="*/ 2919432 w 4072299"/>
                    <a:gd name="connsiteY36" fmla="*/ 1838630 h 4686300"/>
                    <a:gd name="connsiteX37" fmla="*/ 2871807 w 4072299"/>
                    <a:gd name="connsiteY37" fmla="*/ 1791005 h 4686300"/>
                    <a:gd name="connsiteX38" fmla="*/ 2388908 w 4072299"/>
                    <a:gd name="connsiteY38" fmla="*/ 1791005 h 4686300"/>
                    <a:gd name="connsiteX39" fmla="*/ 2388908 w 4072299"/>
                    <a:gd name="connsiteY39" fmla="*/ 1308097 h 4686300"/>
                    <a:gd name="connsiteX40" fmla="*/ 2341283 w 4072299"/>
                    <a:gd name="connsiteY40" fmla="*/ 1260472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1308097 h 4686300"/>
                    <a:gd name="connsiteX21" fmla="*/ 1731026 w 4072299"/>
                    <a:gd name="connsiteY21" fmla="*/ 1260472 h 4686300"/>
                    <a:gd name="connsiteX22" fmla="*/ 1683401 w 4072299"/>
                    <a:gd name="connsiteY22" fmla="*/ 1308097 h 4686300"/>
                    <a:gd name="connsiteX23" fmla="*/ 1683401 w 4072299"/>
                    <a:gd name="connsiteY23" fmla="*/ 1791005 h 4686300"/>
                    <a:gd name="connsiteX24" fmla="*/ 1200493 w 4072299"/>
                    <a:gd name="connsiteY24" fmla="*/ 1791005 h 4686300"/>
                    <a:gd name="connsiteX25" fmla="*/ 1152868 w 4072299"/>
                    <a:gd name="connsiteY25" fmla="*/ 1838630 h 4686300"/>
                    <a:gd name="connsiteX26" fmla="*/ 1152868 w 4072299"/>
                    <a:gd name="connsiteY26" fmla="*/ 2448878 h 4686300"/>
                    <a:gd name="connsiteX27" fmla="*/ 1200493 w 4072299"/>
                    <a:gd name="connsiteY27" fmla="*/ 2496503 h 4686300"/>
                    <a:gd name="connsiteX28" fmla="*/ 1683401 w 4072299"/>
                    <a:gd name="connsiteY28" fmla="*/ 2496503 h 4686300"/>
                    <a:gd name="connsiteX29" fmla="*/ 1683401 w 4072299"/>
                    <a:gd name="connsiteY29" fmla="*/ 2979411 h 4686300"/>
                    <a:gd name="connsiteX30" fmla="*/ 1731026 w 4072299"/>
                    <a:gd name="connsiteY30" fmla="*/ 3027036 h 4686300"/>
                    <a:gd name="connsiteX31" fmla="*/ 2341283 w 4072299"/>
                    <a:gd name="connsiteY31" fmla="*/ 3027036 h 4686300"/>
                    <a:gd name="connsiteX32" fmla="*/ 2388908 w 4072299"/>
                    <a:gd name="connsiteY32" fmla="*/ 2979411 h 4686300"/>
                    <a:gd name="connsiteX33" fmla="*/ 2388908 w 4072299"/>
                    <a:gd name="connsiteY33" fmla="*/ 2496503 h 4686300"/>
                    <a:gd name="connsiteX34" fmla="*/ 2871807 w 4072299"/>
                    <a:gd name="connsiteY34" fmla="*/ 2496503 h 4686300"/>
                    <a:gd name="connsiteX35" fmla="*/ 2919432 w 4072299"/>
                    <a:gd name="connsiteY35" fmla="*/ 2448878 h 4686300"/>
                    <a:gd name="connsiteX36" fmla="*/ 2919432 w 4072299"/>
                    <a:gd name="connsiteY36" fmla="*/ 1838630 h 4686300"/>
                    <a:gd name="connsiteX37" fmla="*/ 2871807 w 4072299"/>
                    <a:gd name="connsiteY37" fmla="*/ 1791005 h 4686300"/>
                    <a:gd name="connsiteX38" fmla="*/ 2388908 w 4072299"/>
                    <a:gd name="connsiteY38" fmla="*/ 1791005 h 4686300"/>
                    <a:gd name="connsiteX39" fmla="*/ 2388908 w 4072299"/>
                    <a:gd name="connsiteY39" fmla="*/ 1308097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1308097 h 4686300"/>
                    <a:gd name="connsiteX21" fmla="*/ 1731026 w 4072299"/>
                    <a:gd name="connsiteY21" fmla="*/ 1260472 h 4686300"/>
                    <a:gd name="connsiteX22" fmla="*/ 1683401 w 4072299"/>
                    <a:gd name="connsiteY22" fmla="*/ 1791005 h 4686300"/>
                    <a:gd name="connsiteX23" fmla="*/ 1200493 w 4072299"/>
                    <a:gd name="connsiteY23" fmla="*/ 1791005 h 4686300"/>
                    <a:gd name="connsiteX24" fmla="*/ 1152868 w 4072299"/>
                    <a:gd name="connsiteY24" fmla="*/ 1838630 h 4686300"/>
                    <a:gd name="connsiteX25" fmla="*/ 1152868 w 4072299"/>
                    <a:gd name="connsiteY25" fmla="*/ 2448878 h 4686300"/>
                    <a:gd name="connsiteX26" fmla="*/ 1200493 w 4072299"/>
                    <a:gd name="connsiteY26" fmla="*/ 2496503 h 4686300"/>
                    <a:gd name="connsiteX27" fmla="*/ 1683401 w 4072299"/>
                    <a:gd name="connsiteY27" fmla="*/ 2496503 h 4686300"/>
                    <a:gd name="connsiteX28" fmla="*/ 1683401 w 4072299"/>
                    <a:gd name="connsiteY28" fmla="*/ 2979411 h 4686300"/>
                    <a:gd name="connsiteX29" fmla="*/ 1731026 w 4072299"/>
                    <a:gd name="connsiteY29" fmla="*/ 3027036 h 4686300"/>
                    <a:gd name="connsiteX30" fmla="*/ 2341283 w 4072299"/>
                    <a:gd name="connsiteY30" fmla="*/ 3027036 h 4686300"/>
                    <a:gd name="connsiteX31" fmla="*/ 2388908 w 4072299"/>
                    <a:gd name="connsiteY31" fmla="*/ 2979411 h 4686300"/>
                    <a:gd name="connsiteX32" fmla="*/ 2388908 w 4072299"/>
                    <a:gd name="connsiteY32" fmla="*/ 2496503 h 4686300"/>
                    <a:gd name="connsiteX33" fmla="*/ 2871807 w 4072299"/>
                    <a:gd name="connsiteY33" fmla="*/ 2496503 h 4686300"/>
                    <a:gd name="connsiteX34" fmla="*/ 2919432 w 4072299"/>
                    <a:gd name="connsiteY34" fmla="*/ 2448878 h 4686300"/>
                    <a:gd name="connsiteX35" fmla="*/ 2919432 w 4072299"/>
                    <a:gd name="connsiteY35" fmla="*/ 1838630 h 4686300"/>
                    <a:gd name="connsiteX36" fmla="*/ 2871807 w 4072299"/>
                    <a:gd name="connsiteY36" fmla="*/ 1791005 h 4686300"/>
                    <a:gd name="connsiteX37" fmla="*/ 2388908 w 4072299"/>
                    <a:gd name="connsiteY37" fmla="*/ 1791005 h 4686300"/>
                    <a:gd name="connsiteX38" fmla="*/ 2388908 w 4072299"/>
                    <a:gd name="connsiteY38" fmla="*/ 1308097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1791005 h 4686300"/>
                    <a:gd name="connsiteX21" fmla="*/ 1731026 w 4072299"/>
                    <a:gd name="connsiteY21" fmla="*/ 1260472 h 4686300"/>
                    <a:gd name="connsiteX22" fmla="*/ 1683401 w 4072299"/>
                    <a:gd name="connsiteY22" fmla="*/ 1791005 h 4686300"/>
                    <a:gd name="connsiteX23" fmla="*/ 1200493 w 4072299"/>
                    <a:gd name="connsiteY23" fmla="*/ 1791005 h 4686300"/>
                    <a:gd name="connsiteX24" fmla="*/ 1152868 w 4072299"/>
                    <a:gd name="connsiteY24" fmla="*/ 1838630 h 4686300"/>
                    <a:gd name="connsiteX25" fmla="*/ 1152868 w 4072299"/>
                    <a:gd name="connsiteY25" fmla="*/ 2448878 h 4686300"/>
                    <a:gd name="connsiteX26" fmla="*/ 1200493 w 4072299"/>
                    <a:gd name="connsiteY26" fmla="*/ 2496503 h 4686300"/>
                    <a:gd name="connsiteX27" fmla="*/ 1683401 w 4072299"/>
                    <a:gd name="connsiteY27" fmla="*/ 2496503 h 4686300"/>
                    <a:gd name="connsiteX28" fmla="*/ 1683401 w 4072299"/>
                    <a:gd name="connsiteY28" fmla="*/ 2979411 h 4686300"/>
                    <a:gd name="connsiteX29" fmla="*/ 1731026 w 4072299"/>
                    <a:gd name="connsiteY29" fmla="*/ 3027036 h 4686300"/>
                    <a:gd name="connsiteX30" fmla="*/ 2341283 w 4072299"/>
                    <a:gd name="connsiteY30" fmla="*/ 3027036 h 4686300"/>
                    <a:gd name="connsiteX31" fmla="*/ 2388908 w 4072299"/>
                    <a:gd name="connsiteY31" fmla="*/ 2979411 h 4686300"/>
                    <a:gd name="connsiteX32" fmla="*/ 2388908 w 4072299"/>
                    <a:gd name="connsiteY32" fmla="*/ 2496503 h 4686300"/>
                    <a:gd name="connsiteX33" fmla="*/ 2871807 w 4072299"/>
                    <a:gd name="connsiteY33" fmla="*/ 2496503 h 4686300"/>
                    <a:gd name="connsiteX34" fmla="*/ 2919432 w 4072299"/>
                    <a:gd name="connsiteY34" fmla="*/ 2448878 h 4686300"/>
                    <a:gd name="connsiteX35" fmla="*/ 2919432 w 4072299"/>
                    <a:gd name="connsiteY35" fmla="*/ 1838630 h 4686300"/>
                    <a:gd name="connsiteX36" fmla="*/ 2871807 w 4072299"/>
                    <a:gd name="connsiteY36" fmla="*/ 1791005 h 4686300"/>
                    <a:gd name="connsiteX37" fmla="*/ 2388908 w 4072299"/>
                    <a:gd name="connsiteY37" fmla="*/ 1791005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1791005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32" fmla="*/ 2871807 w 4072299"/>
                    <a:gd name="connsiteY32" fmla="*/ 2496503 h 4686300"/>
                    <a:gd name="connsiteX33" fmla="*/ 2919432 w 4072299"/>
                    <a:gd name="connsiteY33" fmla="*/ 2448878 h 4686300"/>
                    <a:gd name="connsiteX34" fmla="*/ 2919432 w 4072299"/>
                    <a:gd name="connsiteY34" fmla="*/ 1838630 h 4686300"/>
                    <a:gd name="connsiteX35" fmla="*/ 2871807 w 4072299"/>
                    <a:gd name="connsiteY35" fmla="*/ 1791005 h 4686300"/>
                    <a:gd name="connsiteX36" fmla="*/ 2388908 w 4072299"/>
                    <a:gd name="connsiteY36" fmla="*/ 1791005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871807 w 4072299"/>
                    <a:gd name="connsiteY20" fmla="*/ 1791005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32" fmla="*/ 2871807 w 4072299"/>
                    <a:gd name="connsiteY32" fmla="*/ 2496503 h 4686300"/>
                    <a:gd name="connsiteX33" fmla="*/ 2919432 w 4072299"/>
                    <a:gd name="connsiteY33" fmla="*/ 2448878 h 4686300"/>
                    <a:gd name="connsiteX34" fmla="*/ 2919432 w 4072299"/>
                    <a:gd name="connsiteY34" fmla="*/ 1838630 h 4686300"/>
                    <a:gd name="connsiteX35" fmla="*/ 2871807 w 4072299"/>
                    <a:gd name="connsiteY35" fmla="*/ 1791005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919432 w 4072299"/>
                    <a:gd name="connsiteY20" fmla="*/ 1838630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32" fmla="*/ 2871807 w 4072299"/>
                    <a:gd name="connsiteY32" fmla="*/ 2496503 h 4686300"/>
                    <a:gd name="connsiteX33" fmla="*/ 2919432 w 4072299"/>
                    <a:gd name="connsiteY33" fmla="*/ 2448878 h 4686300"/>
                    <a:gd name="connsiteX34" fmla="*/ 2919432 w 4072299"/>
                    <a:gd name="connsiteY34" fmla="*/ 183863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919432 w 4072299"/>
                    <a:gd name="connsiteY20" fmla="*/ 2448878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32" fmla="*/ 2871807 w 4072299"/>
                    <a:gd name="connsiteY32" fmla="*/ 2496503 h 4686300"/>
                    <a:gd name="connsiteX33" fmla="*/ 2919432 w 4072299"/>
                    <a:gd name="connsiteY33" fmla="*/ 2448878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871807 w 4072299"/>
                    <a:gd name="connsiteY20" fmla="*/ 2496503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32" fmla="*/ 2871807 w 4072299"/>
                    <a:gd name="connsiteY32" fmla="*/ 2496503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2496503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31" fmla="*/ 2388908 w 4072299"/>
                    <a:gd name="connsiteY31" fmla="*/ 2496503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88908 w 4072299"/>
                    <a:gd name="connsiteY20" fmla="*/ 2979411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30" fmla="*/ 2388908 w 4072299"/>
                    <a:gd name="connsiteY30" fmla="*/ 2979411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2341283 w 4072299"/>
                    <a:gd name="connsiteY20" fmla="*/ 3027036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29" fmla="*/ 2341283 w 4072299"/>
                    <a:gd name="connsiteY29" fmla="*/ 3027036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731026 w 4072299"/>
                    <a:gd name="connsiteY20" fmla="*/ 3027036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28" fmla="*/ 1731026 w 4072299"/>
                    <a:gd name="connsiteY28" fmla="*/ 3027036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683401 w 4072299"/>
                    <a:gd name="connsiteY20" fmla="*/ 2979411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27" fmla="*/ 1683401 w 4072299"/>
                    <a:gd name="connsiteY27" fmla="*/ 2979411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683401 w 4072299"/>
                    <a:gd name="connsiteY20" fmla="*/ 2496503 h 4686300"/>
                    <a:gd name="connsiteX21" fmla="*/ 1683401 w 4072299"/>
                    <a:gd name="connsiteY21" fmla="*/ 1791005 h 4686300"/>
                    <a:gd name="connsiteX22" fmla="*/ 1200493 w 4072299"/>
                    <a:gd name="connsiteY22" fmla="*/ 1791005 h 4686300"/>
                    <a:gd name="connsiteX23" fmla="*/ 1152868 w 4072299"/>
                    <a:gd name="connsiteY23" fmla="*/ 1838630 h 4686300"/>
                    <a:gd name="connsiteX24" fmla="*/ 1152868 w 4072299"/>
                    <a:gd name="connsiteY24" fmla="*/ 2448878 h 4686300"/>
                    <a:gd name="connsiteX25" fmla="*/ 1200493 w 4072299"/>
                    <a:gd name="connsiteY25" fmla="*/ 2496503 h 4686300"/>
                    <a:gd name="connsiteX26" fmla="*/ 1683401 w 4072299"/>
                    <a:gd name="connsiteY26" fmla="*/ 2496503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683401 w 4072299"/>
                    <a:gd name="connsiteY20" fmla="*/ 2496503 h 4686300"/>
                    <a:gd name="connsiteX21" fmla="*/ 1200493 w 4072299"/>
                    <a:gd name="connsiteY21" fmla="*/ 1791005 h 4686300"/>
                    <a:gd name="connsiteX22" fmla="*/ 1152868 w 4072299"/>
                    <a:gd name="connsiteY22" fmla="*/ 1838630 h 4686300"/>
                    <a:gd name="connsiteX23" fmla="*/ 1152868 w 4072299"/>
                    <a:gd name="connsiteY23" fmla="*/ 2448878 h 4686300"/>
                    <a:gd name="connsiteX24" fmla="*/ 1200493 w 4072299"/>
                    <a:gd name="connsiteY24" fmla="*/ 2496503 h 4686300"/>
                    <a:gd name="connsiteX25" fmla="*/ 1683401 w 4072299"/>
                    <a:gd name="connsiteY25" fmla="*/ 2496503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200493 w 4072299"/>
                    <a:gd name="connsiteY20" fmla="*/ 2496503 h 4686300"/>
                    <a:gd name="connsiteX21" fmla="*/ 1200493 w 4072299"/>
                    <a:gd name="connsiteY21" fmla="*/ 1791005 h 4686300"/>
                    <a:gd name="connsiteX22" fmla="*/ 1152868 w 4072299"/>
                    <a:gd name="connsiteY22" fmla="*/ 1838630 h 4686300"/>
                    <a:gd name="connsiteX23" fmla="*/ 1152868 w 4072299"/>
                    <a:gd name="connsiteY23" fmla="*/ 2448878 h 4686300"/>
                    <a:gd name="connsiteX24" fmla="*/ 1200493 w 4072299"/>
                    <a:gd name="connsiteY24" fmla="*/ 2496503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152868 w 4072299"/>
                    <a:gd name="connsiteY20" fmla="*/ 2448878 h 4686300"/>
                    <a:gd name="connsiteX21" fmla="*/ 1200493 w 4072299"/>
                    <a:gd name="connsiteY21" fmla="*/ 1791005 h 4686300"/>
                    <a:gd name="connsiteX22" fmla="*/ 1152868 w 4072299"/>
                    <a:gd name="connsiteY22" fmla="*/ 1838630 h 4686300"/>
                    <a:gd name="connsiteX23" fmla="*/ 1152868 w 4072299"/>
                    <a:gd name="connsiteY23" fmla="*/ 2448878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20" fmla="*/ 1152868 w 4072299"/>
                    <a:gd name="connsiteY20" fmla="*/ 2448878 h 4686300"/>
                    <a:gd name="connsiteX21" fmla="*/ 1200493 w 4072299"/>
                    <a:gd name="connsiteY21" fmla="*/ 1791005 h 4686300"/>
                    <a:gd name="connsiteX22" fmla="*/ 1152868 w 4072299"/>
                    <a:gd name="connsiteY22" fmla="*/ 2448878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1529286 w 4072299"/>
                    <a:gd name="connsiteY18" fmla="*/ 285750 h 4686300"/>
                    <a:gd name="connsiteX19" fmla="*/ 285741 w 4072299"/>
                    <a:gd name="connsiteY19" fmla="*/ 812159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85741 w 4072299"/>
                    <a:gd name="connsiteY10" fmla="*/ 812159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18" fmla="*/ 285741 w 4072299"/>
                    <a:gd name="connsiteY18" fmla="*/ 812159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285741 w 4072299"/>
                    <a:gd name="connsiteY11" fmla="*/ 2340531 h 4686300"/>
                    <a:gd name="connsiteX12" fmla="*/ 337204 w 4072299"/>
                    <a:gd name="connsiteY12" fmla="*/ 2724150 h 4686300"/>
                    <a:gd name="connsiteX13" fmla="*/ 2036045 w 4072299"/>
                    <a:gd name="connsiteY13" fmla="*/ 4388816 h 4686300"/>
                    <a:gd name="connsiteX14" fmla="*/ 3257598 w 4072299"/>
                    <a:gd name="connsiteY14" fmla="*/ 3568980 h 4686300"/>
                    <a:gd name="connsiteX15" fmla="*/ 3786550 w 4072299"/>
                    <a:gd name="connsiteY15" fmla="*/ 2340531 h 4686300"/>
                    <a:gd name="connsiteX16" fmla="*/ 3786550 w 4072299"/>
                    <a:gd name="connsiteY16" fmla="*/ 812159 h 4686300"/>
                    <a:gd name="connsiteX17" fmla="*/ 2543013 w 4072299"/>
                    <a:gd name="connsiteY17"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337204 w 4072299"/>
                    <a:gd name="connsiteY11" fmla="*/ 2724150 h 4686300"/>
                    <a:gd name="connsiteX12" fmla="*/ 2036045 w 4072299"/>
                    <a:gd name="connsiteY12" fmla="*/ 4388816 h 4686300"/>
                    <a:gd name="connsiteX13" fmla="*/ 3257598 w 4072299"/>
                    <a:gd name="connsiteY13" fmla="*/ 3568980 h 4686300"/>
                    <a:gd name="connsiteX14" fmla="*/ 3786550 w 4072299"/>
                    <a:gd name="connsiteY14" fmla="*/ 2340531 h 4686300"/>
                    <a:gd name="connsiteX15" fmla="*/ 3786550 w 4072299"/>
                    <a:gd name="connsiteY15" fmla="*/ 812159 h 4686300"/>
                    <a:gd name="connsiteX16" fmla="*/ 2543013 w 4072299"/>
                    <a:gd name="connsiteY16"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2036045 w 4072299"/>
                    <a:gd name="connsiteY11" fmla="*/ 4388816 h 4686300"/>
                    <a:gd name="connsiteX12" fmla="*/ 3257598 w 4072299"/>
                    <a:gd name="connsiteY12" fmla="*/ 3568980 h 4686300"/>
                    <a:gd name="connsiteX13" fmla="*/ 3786550 w 4072299"/>
                    <a:gd name="connsiteY13" fmla="*/ 2340531 h 4686300"/>
                    <a:gd name="connsiteX14" fmla="*/ 3786550 w 4072299"/>
                    <a:gd name="connsiteY14" fmla="*/ 812159 h 4686300"/>
                    <a:gd name="connsiteX15" fmla="*/ 2543013 w 4072299"/>
                    <a:gd name="connsiteY15"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3257598 w 4072299"/>
                    <a:gd name="connsiteY11" fmla="*/ 3568980 h 4686300"/>
                    <a:gd name="connsiteX12" fmla="*/ 3786550 w 4072299"/>
                    <a:gd name="connsiteY12" fmla="*/ 2340531 h 4686300"/>
                    <a:gd name="connsiteX13" fmla="*/ 3786550 w 4072299"/>
                    <a:gd name="connsiteY13" fmla="*/ 812159 h 4686300"/>
                    <a:gd name="connsiteX14" fmla="*/ 2543013 w 4072299"/>
                    <a:gd name="connsiteY14"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3786550 w 4072299"/>
                    <a:gd name="connsiteY11" fmla="*/ 2340531 h 4686300"/>
                    <a:gd name="connsiteX12" fmla="*/ 3786550 w 4072299"/>
                    <a:gd name="connsiteY12" fmla="*/ 812159 h 4686300"/>
                    <a:gd name="connsiteX13" fmla="*/ 2543013 w 4072299"/>
                    <a:gd name="connsiteY13"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 name="connsiteX10" fmla="*/ 2543013 w 4072299"/>
                    <a:gd name="connsiteY10" fmla="*/ 285750 h 4686300"/>
                    <a:gd name="connsiteX11" fmla="*/ 3786550 w 4072299"/>
                    <a:gd name="connsiteY11" fmla="*/ 812159 h 4686300"/>
                    <a:gd name="connsiteX12" fmla="*/ 2543013 w 4072299"/>
                    <a:gd name="connsiteY12" fmla="*/ 285750 h 4686300"/>
                    <a:gd name="connsiteX0" fmla="*/ 84296 w 4072299"/>
                    <a:gd name="connsiteY0" fmla="*/ 553288 h 4686300"/>
                    <a:gd name="connsiteX1" fmla="*/ 1439637 w 4072299"/>
                    <a:gd name="connsiteY1" fmla="*/ 0 h 4686300"/>
                    <a:gd name="connsiteX2" fmla="*/ 2632653 w 4072299"/>
                    <a:gd name="connsiteY2" fmla="*/ 0 h 4686300"/>
                    <a:gd name="connsiteX3" fmla="*/ 3988003 w 4072299"/>
                    <a:gd name="connsiteY3" fmla="*/ 553288 h 4686300"/>
                    <a:gd name="connsiteX4" fmla="*/ 4072300 w 4072299"/>
                    <a:gd name="connsiteY4" fmla="*/ 647890 h 4686300"/>
                    <a:gd name="connsiteX5" fmla="*/ 4072300 w 4072299"/>
                    <a:gd name="connsiteY5" fmla="*/ 2340521 h 4686300"/>
                    <a:gd name="connsiteX6" fmla="*/ 2036150 w 4072299"/>
                    <a:gd name="connsiteY6" fmla="*/ 4686300 h 4686300"/>
                    <a:gd name="connsiteX7" fmla="*/ 0 w 4072299"/>
                    <a:gd name="connsiteY7" fmla="*/ 2340531 h 4686300"/>
                    <a:gd name="connsiteX8" fmla="*/ 0 w 4072299"/>
                    <a:gd name="connsiteY8" fmla="*/ 647890 h 4686300"/>
                    <a:gd name="connsiteX9" fmla="*/ 84296 w 4072299"/>
                    <a:gd name="connsiteY9" fmla="*/ 553288 h 468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2299" h="4686300">
                      <a:moveTo>
                        <a:pt x="84296" y="553288"/>
                      </a:moveTo>
                      <a:cubicBezTo>
                        <a:pt x="618125" y="491480"/>
                        <a:pt x="1083545" y="254146"/>
                        <a:pt x="1439637" y="0"/>
                      </a:cubicBezTo>
                      <a:lnTo>
                        <a:pt x="2632653" y="0"/>
                      </a:lnTo>
                      <a:cubicBezTo>
                        <a:pt x="2988755" y="254146"/>
                        <a:pt x="3454165" y="491480"/>
                        <a:pt x="3988003" y="553288"/>
                      </a:cubicBezTo>
                      <a:cubicBezTo>
                        <a:pt x="4036286" y="558879"/>
                        <a:pt x="4072300" y="599284"/>
                        <a:pt x="4072300" y="647890"/>
                      </a:cubicBezTo>
                      <a:lnTo>
                        <a:pt x="4072300" y="2340521"/>
                      </a:lnTo>
                      <a:cubicBezTo>
                        <a:pt x="4072300" y="3488408"/>
                        <a:pt x="2906954" y="4452966"/>
                        <a:pt x="2036150" y="4686300"/>
                      </a:cubicBezTo>
                      <a:cubicBezTo>
                        <a:pt x="1165346" y="4452966"/>
                        <a:pt x="0" y="3488408"/>
                        <a:pt x="0" y="2340531"/>
                      </a:cubicBezTo>
                      <a:lnTo>
                        <a:pt x="0" y="647890"/>
                      </a:lnTo>
                      <a:cubicBezTo>
                        <a:pt x="0" y="599284"/>
                        <a:pt x="36005" y="558879"/>
                        <a:pt x="84296" y="553288"/>
                      </a:cubicBezTo>
                      <a:close/>
                    </a:path>
                  </a:pathLst>
                </a:custGeom>
                <a:noFill/>
                <a:ln w="12700" cap="flat">
                  <a:gradFill>
                    <a:gsLst>
                      <a:gs pos="0">
                        <a:schemeClr val="accent1"/>
                      </a:gs>
                      <a:gs pos="100000">
                        <a:schemeClr val="accent3"/>
                      </a:gs>
                    </a:gsLst>
                    <a:lin ang="5400000" scaled="1"/>
                  </a:gradFill>
                  <a:prstDash val="solid"/>
                  <a:miter/>
                </a:ln>
              </p:spPr>
              <p:txBody>
                <a:bodyPr rtlCol="0" anchor="ctr"/>
                <a:lstStyle/>
                <a:p>
                  <a:endParaRPr lang="en-US" noProof="0"/>
                </a:p>
              </p:txBody>
            </p:sp>
          </p:grpSp>
        </p:grpSp>
      </p:grpSp>
      <p:grpSp>
        <p:nvGrpSpPr>
          <p:cNvPr id="6" name="Group 5">
            <a:extLst>
              <a:ext uri="{FF2B5EF4-FFF2-40B4-BE49-F238E27FC236}">
                <a16:creationId xmlns:a16="http://schemas.microsoft.com/office/drawing/2014/main" id="{3B4F316D-6E3D-628F-374D-A7E35ADD3EC4}"/>
              </a:ext>
            </a:extLst>
          </p:cNvPr>
          <p:cNvGrpSpPr/>
          <p:nvPr/>
        </p:nvGrpSpPr>
        <p:grpSpPr>
          <a:xfrm>
            <a:off x="4375490" y="244775"/>
            <a:ext cx="5417020" cy="3584630"/>
            <a:chOff x="6583456" y="244775"/>
            <a:chExt cx="5417020" cy="3584630"/>
          </a:xfrm>
        </p:grpSpPr>
        <p:sp>
          <p:nvSpPr>
            <p:cNvPr id="41" name="Text Placeholder 11">
              <a:extLst>
                <a:ext uri="{FF2B5EF4-FFF2-40B4-BE49-F238E27FC236}">
                  <a16:creationId xmlns:a16="http://schemas.microsoft.com/office/drawing/2014/main" id="{923CC41E-7C99-C323-63E0-E620FBA0D3A9}"/>
                </a:ext>
              </a:extLst>
            </p:cNvPr>
            <p:cNvSpPr txBox="1">
              <a:spLocks/>
            </p:cNvSpPr>
            <p:nvPr/>
          </p:nvSpPr>
          <p:spPr>
            <a:xfrm>
              <a:off x="6583456" y="1559232"/>
              <a:ext cx="5417020" cy="2270173"/>
            </a:xfrm>
            <a:prstGeom prst="rect">
              <a:avLst/>
            </a:prstGeom>
          </p:spPr>
          <p:txBody>
            <a:bodyPr wrap="square" lIns="0" tIns="0" rIns="0" bIns="0" anchor="t" anchorCtr="0">
              <a:sp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4766" marR="48281" algn="ctr" defTabSz="767592">
                <a:lnSpc>
                  <a:spcPct val="150000"/>
                </a:lnSpc>
                <a:spcBef>
                  <a:spcPts val="3600"/>
                </a:spcBef>
                <a:defRPr/>
              </a:pPr>
              <a:r>
                <a:rPr lang="en-US" sz="1600" kern="0" spc="-4" noProof="0">
                  <a:solidFill>
                    <a:schemeClr val="bg1"/>
                  </a:solidFill>
                  <a:latin typeface="Calibri" panose="020F0502020204030204"/>
                  <a:cs typeface="Calibri"/>
                </a:rPr>
                <a:t>Efgartigimod PH20 SC + background IIM treatment </a:t>
              </a:r>
              <a:br>
                <a:rPr lang="en-US" sz="1600" kern="0" spc="-4" noProof="0">
                  <a:solidFill>
                    <a:schemeClr val="bg1"/>
                  </a:solidFill>
                  <a:latin typeface="Calibri" panose="020F0502020204030204"/>
                  <a:cs typeface="Calibri"/>
                </a:rPr>
              </a:br>
              <a:r>
                <a:rPr lang="en-US" sz="1600" b="1" kern="0" spc="-4" noProof="0">
                  <a:solidFill>
                    <a:schemeClr val="bg1"/>
                  </a:solidFill>
                  <a:latin typeface="Calibri" panose="020F0502020204030204"/>
                  <a:cs typeface="Calibri"/>
                </a:rPr>
                <a:t>led to significant improvement over </a:t>
              </a:r>
              <a:br>
                <a:rPr lang="en-US" sz="1600" b="1" kern="0" spc="-4" noProof="0">
                  <a:solidFill>
                    <a:schemeClr val="bg1"/>
                  </a:solidFill>
                  <a:latin typeface="Calibri" panose="020F0502020204030204"/>
                  <a:cs typeface="Calibri"/>
                </a:rPr>
              </a:br>
              <a:r>
                <a:rPr lang="en-US" sz="1600" b="1" kern="0" spc="-4" noProof="0">
                  <a:solidFill>
                    <a:schemeClr val="bg1"/>
                  </a:solidFill>
                  <a:latin typeface="Calibri" panose="020F0502020204030204"/>
                  <a:cs typeface="Calibri"/>
                </a:rPr>
                <a:t>placebo PH20 SC + background IIM treatment in TIS </a:t>
              </a:r>
              <a:br>
                <a:rPr lang="en-US" sz="1600" b="1" kern="0" spc="-4" noProof="0">
                  <a:solidFill>
                    <a:schemeClr val="bg1"/>
                  </a:solidFill>
                  <a:latin typeface="Calibri" panose="020F0502020204030204"/>
                  <a:cs typeface="Calibri"/>
                </a:rPr>
              </a:br>
              <a:r>
                <a:rPr lang="en-US" sz="1600" kern="0" spc="-4" noProof="0">
                  <a:solidFill>
                    <a:schemeClr val="bg1"/>
                  </a:solidFill>
                  <a:latin typeface="Calibri" panose="020F0502020204030204"/>
                  <a:cs typeface="Calibri"/>
                </a:rPr>
                <a:t>and key secondary endpoints, with good safety and tolerability</a:t>
              </a:r>
            </a:p>
            <a:p>
              <a:pPr marL="14766" marR="48281" algn="ctr" defTabSz="767592">
                <a:lnSpc>
                  <a:spcPct val="150000"/>
                </a:lnSpc>
                <a:spcBef>
                  <a:spcPts val="3600"/>
                </a:spcBef>
                <a:defRPr/>
              </a:pPr>
              <a:endParaRPr lang="en-US" sz="1600" kern="0" spc="-4" noProof="0">
                <a:solidFill>
                  <a:schemeClr val="bg1"/>
                </a:solidFill>
                <a:latin typeface="Calibri" panose="020F0502020204030204"/>
                <a:cs typeface="Calibri"/>
              </a:endParaRPr>
            </a:p>
          </p:txBody>
        </p:sp>
        <p:grpSp>
          <p:nvGrpSpPr>
            <p:cNvPr id="3" name="Group 2">
              <a:extLst>
                <a:ext uri="{FF2B5EF4-FFF2-40B4-BE49-F238E27FC236}">
                  <a16:creationId xmlns:a16="http://schemas.microsoft.com/office/drawing/2014/main" id="{0C5FF48D-6D54-DA4A-CA87-9BD11A47C32F}"/>
                </a:ext>
              </a:extLst>
            </p:cNvPr>
            <p:cNvGrpSpPr/>
            <p:nvPr/>
          </p:nvGrpSpPr>
          <p:grpSpPr>
            <a:xfrm>
              <a:off x="8646512" y="244775"/>
              <a:ext cx="1290908" cy="1290908"/>
              <a:chOff x="3940499" y="234401"/>
              <a:chExt cx="1290908" cy="1290908"/>
            </a:xfrm>
          </p:grpSpPr>
          <p:sp>
            <p:nvSpPr>
              <p:cNvPr id="5" name="Freeform 4">
                <a:extLst>
                  <a:ext uri="{FF2B5EF4-FFF2-40B4-BE49-F238E27FC236}">
                    <a16:creationId xmlns:a16="http://schemas.microsoft.com/office/drawing/2014/main" id="{7CC610C1-5271-1749-B7C5-808028B9BE2F}"/>
                  </a:ext>
                </a:extLst>
              </p:cNvPr>
              <p:cNvSpPr>
                <a:spLocks noChangeAspect="1"/>
              </p:cNvSpPr>
              <p:nvPr/>
            </p:nvSpPr>
            <p:spPr>
              <a:xfrm>
                <a:off x="3940499" y="234401"/>
                <a:ext cx="1290908" cy="1290908"/>
              </a:xfrm>
              <a:custGeom>
                <a:avLst/>
                <a:gdLst>
                  <a:gd name="connsiteX0" fmla="*/ 849411 w 961787"/>
                  <a:gd name="connsiteY0" fmla="*/ 120671 h 986370"/>
                  <a:gd name="connsiteX1" fmla="*/ 800888 w 961787"/>
                  <a:gd name="connsiteY1" fmla="*/ 93167 h 986370"/>
                  <a:gd name="connsiteX2" fmla="*/ 669399 w 961787"/>
                  <a:gd name="connsiteY2" fmla="*/ 39771 h 986370"/>
                  <a:gd name="connsiteX3" fmla="*/ 601657 w 961787"/>
                  <a:gd name="connsiteY3" fmla="*/ 23838 h 986370"/>
                  <a:gd name="connsiteX4" fmla="*/ 423262 w 961787"/>
                  <a:gd name="connsiteY4" fmla="*/ 507 h 986370"/>
                  <a:gd name="connsiteX5" fmla="*/ 337918 w 961787"/>
                  <a:gd name="connsiteY5" fmla="*/ 2973 h 986370"/>
                  <a:gd name="connsiteX6" fmla="*/ 291868 w 961787"/>
                  <a:gd name="connsiteY6" fmla="*/ 11319 h 986370"/>
                  <a:gd name="connsiteX7" fmla="*/ 215658 w 961787"/>
                  <a:gd name="connsiteY7" fmla="*/ 52290 h 986370"/>
                  <a:gd name="connsiteX8" fmla="*/ 208142 w 961787"/>
                  <a:gd name="connsiteY8" fmla="*/ 58076 h 986370"/>
                  <a:gd name="connsiteX9" fmla="*/ 120990 w 961787"/>
                  <a:gd name="connsiteY9" fmla="*/ 791767 h 986370"/>
                  <a:gd name="connsiteX10" fmla="*/ 696229 w 961787"/>
                  <a:gd name="connsiteY10" fmla="*/ 966275 h 986370"/>
                  <a:gd name="connsiteX11" fmla="*/ 792515 w 961787"/>
                  <a:gd name="connsiteY11" fmla="*/ 871908 h 986370"/>
                  <a:gd name="connsiteX12" fmla="*/ 800888 w 961787"/>
                  <a:gd name="connsiteY12" fmla="*/ 851897 h 986370"/>
                  <a:gd name="connsiteX13" fmla="*/ 817633 w 961787"/>
                  <a:gd name="connsiteY13" fmla="*/ 814340 h 986370"/>
                  <a:gd name="connsiteX14" fmla="*/ 825149 w 961787"/>
                  <a:gd name="connsiteY14" fmla="*/ 790155 h 986370"/>
                  <a:gd name="connsiteX15" fmla="*/ 913919 w 961787"/>
                  <a:gd name="connsiteY15" fmla="*/ 517202 h 986370"/>
                  <a:gd name="connsiteX16" fmla="*/ 927334 w 961787"/>
                  <a:gd name="connsiteY16" fmla="*/ 482206 h 986370"/>
                  <a:gd name="connsiteX17" fmla="*/ 956638 w 961787"/>
                  <a:gd name="connsiteY17" fmla="*/ 383666 h 986370"/>
                  <a:gd name="connsiteX18" fmla="*/ 960824 w 961787"/>
                  <a:gd name="connsiteY18" fmla="*/ 342789 h 986370"/>
                  <a:gd name="connsiteX19" fmla="*/ 959112 w 961787"/>
                  <a:gd name="connsiteY19" fmla="*/ 280194 h 986370"/>
                  <a:gd name="connsiteX20" fmla="*/ 947409 w 961787"/>
                  <a:gd name="connsiteY20" fmla="*/ 235998 h 986370"/>
                  <a:gd name="connsiteX21" fmla="*/ 925716 w 961787"/>
                  <a:gd name="connsiteY21" fmla="*/ 194932 h 986370"/>
                  <a:gd name="connsiteX22" fmla="*/ 893938 w 961787"/>
                  <a:gd name="connsiteY22" fmla="*/ 158228 h 986370"/>
                  <a:gd name="connsiteX23" fmla="*/ 849506 w 961787"/>
                  <a:gd name="connsiteY23" fmla="*/ 120671 h 98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61787" h="986370">
                    <a:moveTo>
                      <a:pt x="849411" y="120671"/>
                    </a:moveTo>
                    <a:cubicBezTo>
                      <a:pt x="833807" y="110618"/>
                      <a:pt x="817538" y="101418"/>
                      <a:pt x="800888" y="93167"/>
                    </a:cubicBezTo>
                    <a:cubicBezTo>
                      <a:pt x="758834" y="71259"/>
                      <a:pt x="714783" y="53334"/>
                      <a:pt x="669399" y="39771"/>
                    </a:cubicBezTo>
                    <a:cubicBezTo>
                      <a:pt x="647611" y="34176"/>
                      <a:pt x="625062" y="28865"/>
                      <a:pt x="601657" y="23838"/>
                    </a:cubicBezTo>
                    <a:cubicBezTo>
                      <a:pt x="542762" y="12078"/>
                      <a:pt x="483202" y="4301"/>
                      <a:pt x="423262" y="507"/>
                    </a:cubicBezTo>
                    <a:cubicBezTo>
                      <a:pt x="394814" y="-631"/>
                      <a:pt x="366271" y="128"/>
                      <a:pt x="337918" y="2973"/>
                    </a:cubicBezTo>
                    <a:cubicBezTo>
                      <a:pt x="321173" y="5249"/>
                      <a:pt x="305854" y="8000"/>
                      <a:pt x="291868" y="11319"/>
                    </a:cubicBezTo>
                    <a:cubicBezTo>
                      <a:pt x="263706" y="19001"/>
                      <a:pt x="237636" y="33038"/>
                      <a:pt x="215658" y="52290"/>
                    </a:cubicBezTo>
                    <a:cubicBezTo>
                      <a:pt x="213470" y="53903"/>
                      <a:pt x="210901" y="55894"/>
                      <a:pt x="208142" y="58076"/>
                    </a:cubicBezTo>
                    <a:cubicBezTo>
                      <a:pt x="-36378" y="375794"/>
                      <a:pt x="-65492" y="620389"/>
                      <a:pt x="120990" y="791767"/>
                    </a:cubicBezTo>
                    <a:cubicBezTo>
                      <a:pt x="306901" y="963145"/>
                      <a:pt x="498711" y="1021378"/>
                      <a:pt x="696229" y="966275"/>
                    </a:cubicBezTo>
                    <a:cubicBezTo>
                      <a:pt x="733621" y="950626"/>
                      <a:pt x="765780" y="919234"/>
                      <a:pt x="792515" y="871908"/>
                    </a:cubicBezTo>
                    <a:lnTo>
                      <a:pt x="800888" y="851897"/>
                    </a:lnTo>
                    <a:cubicBezTo>
                      <a:pt x="805930" y="839662"/>
                      <a:pt x="811449" y="827143"/>
                      <a:pt x="817633" y="814340"/>
                    </a:cubicBezTo>
                    <a:cubicBezTo>
                      <a:pt x="819821" y="806563"/>
                      <a:pt x="822390" y="798501"/>
                      <a:pt x="825149" y="790155"/>
                    </a:cubicBezTo>
                    <a:cubicBezTo>
                      <a:pt x="850838" y="697211"/>
                      <a:pt x="880428" y="606258"/>
                      <a:pt x="913919" y="517202"/>
                    </a:cubicBezTo>
                    <a:cubicBezTo>
                      <a:pt x="918390" y="505537"/>
                      <a:pt x="922862" y="493871"/>
                      <a:pt x="927334" y="482206"/>
                    </a:cubicBezTo>
                    <a:cubicBezTo>
                      <a:pt x="938751" y="449865"/>
                      <a:pt x="948551" y="416955"/>
                      <a:pt x="956638" y="383666"/>
                    </a:cubicBezTo>
                    <a:cubicBezTo>
                      <a:pt x="958826" y="368681"/>
                      <a:pt x="960254" y="355024"/>
                      <a:pt x="960824" y="342789"/>
                    </a:cubicBezTo>
                    <a:cubicBezTo>
                      <a:pt x="962537" y="321924"/>
                      <a:pt x="961966" y="300964"/>
                      <a:pt x="959112" y="280194"/>
                    </a:cubicBezTo>
                    <a:cubicBezTo>
                      <a:pt x="956162" y="265209"/>
                      <a:pt x="952261" y="250414"/>
                      <a:pt x="947409" y="235998"/>
                    </a:cubicBezTo>
                    <a:cubicBezTo>
                      <a:pt x="941130" y="221772"/>
                      <a:pt x="933899" y="208020"/>
                      <a:pt x="925716" y="194932"/>
                    </a:cubicBezTo>
                    <a:cubicBezTo>
                      <a:pt x="916107" y="181938"/>
                      <a:pt x="905451" y="169609"/>
                      <a:pt x="893938" y="158228"/>
                    </a:cubicBezTo>
                    <a:cubicBezTo>
                      <a:pt x="880047" y="144666"/>
                      <a:pt x="865205" y="132052"/>
                      <a:pt x="849506" y="120671"/>
                    </a:cubicBezTo>
                  </a:path>
                </a:pathLst>
              </a:custGeom>
              <a:solidFill>
                <a:srgbClr val="245176"/>
              </a:solidFill>
              <a:ln w="9509" cap="flat">
                <a:noFill/>
                <a:prstDash val="solid"/>
                <a:miter/>
              </a:ln>
              <a:effectLst>
                <a:outerShdw blurRad="190500" sx="115000" sy="115000" algn="ctr" rotWithShape="0">
                  <a:prstClr val="black">
                    <a:alpha val="20000"/>
                  </a:prstClr>
                </a:outerShdw>
              </a:effectLst>
            </p:spPr>
            <p:txBody>
              <a:bodyPr rtlCol="0" anchor="ctr"/>
              <a:lstStyle/>
              <a:p>
                <a:pPr algn="ctr"/>
                <a:endParaRPr lang="en-US" sz="1600" noProof="0">
                  <a:solidFill>
                    <a:schemeClr val="bg1"/>
                  </a:solidFill>
                </a:endParaRPr>
              </a:p>
            </p:txBody>
          </p:sp>
          <p:grpSp>
            <p:nvGrpSpPr>
              <p:cNvPr id="11" name="Group 10">
                <a:extLst>
                  <a:ext uri="{FF2B5EF4-FFF2-40B4-BE49-F238E27FC236}">
                    <a16:creationId xmlns:a16="http://schemas.microsoft.com/office/drawing/2014/main" id="{93389DE0-8EDB-F100-997C-9646DC1D3520}"/>
                  </a:ext>
                </a:extLst>
              </p:cNvPr>
              <p:cNvGrpSpPr>
                <a:grpSpLocks noChangeAspect="1"/>
              </p:cNvGrpSpPr>
              <p:nvPr/>
            </p:nvGrpSpPr>
            <p:grpSpPr>
              <a:xfrm>
                <a:off x="4256202" y="454659"/>
                <a:ext cx="659502" cy="850392"/>
                <a:chOff x="8937091" y="3843476"/>
                <a:chExt cx="636436" cy="820650"/>
              </a:xfrm>
            </p:grpSpPr>
            <p:sp>
              <p:nvSpPr>
                <p:cNvPr id="12" name="Freeform 11">
                  <a:extLst>
                    <a:ext uri="{FF2B5EF4-FFF2-40B4-BE49-F238E27FC236}">
                      <a16:creationId xmlns:a16="http://schemas.microsoft.com/office/drawing/2014/main" id="{5FEDA4EE-BF1B-7337-D7A4-B8F5809667C4}"/>
                    </a:ext>
                  </a:extLst>
                </p:cNvPr>
                <p:cNvSpPr/>
                <p:nvPr/>
              </p:nvSpPr>
              <p:spPr>
                <a:xfrm>
                  <a:off x="9120057" y="3843476"/>
                  <a:ext cx="307721" cy="820650"/>
                </a:xfrm>
                <a:custGeom>
                  <a:avLst/>
                  <a:gdLst>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4 w 270502"/>
                    <a:gd name="connsiteY39" fmla="*/ 30058 h 721392"/>
                    <a:gd name="connsiteX40" fmla="*/ 90148 w 270502"/>
                    <a:gd name="connsiteY40" fmla="*/ 75145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90149 w 270502"/>
                    <a:gd name="connsiteY44" fmla="*/ 75145 h 721392"/>
                    <a:gd name="connsiteX45" fmla="*/ 103382 w 270502"/>
                    <a:gd name="connsiteY45" fmla="*/ 43280 h 721392"/>
                    <a:gd name="connsiteX46" fmla="*/ 135235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90149 w 270502"/>
                    <a:gd name="connsiteY45" fmla="*/ 75145 h 721392"/>
                    <a:gd name="connsiteX46" fmla="*/ 135235 w 270502"/>
                    <a:gd name="connsiteY46" fmla="*/ 30058 h 721392"/>
                    <a:gd name="connsiteX47" fmla="*/ 135234 w 270502"/>
                    <a:gd name="connsiteY47" fmla="*/ 30058 h 721392"/>
                    <a:gd name="connsiteX48" fmla="*/ 135234 w 270502"/>
                    <a:gd name="connsiteY48" fmla="*/ 0 h 721392"/>
                    <a:gd name="connsiteX49" fmla="*/ 210379 w 270502"/>
                    <a:gd name="connsiteY49" fmla="*/ 75145 h 721392"/>
                    <a:gd name="connsiteX50" fmla="*/ 135234 w 270502"/>
                    <a:gd name="connsiteY50" fmla="*/ 150290 h 721392"/>
                    <a:gd name="connsiteX51" fmla="*/ 60089 w 270502"/>
                    <a:gd name="connsiteY51" fmla="*/ 75145 h 721392"/>
                    <a:gd name="connsiteX52" fmla="*/ 135234 w 270502"/>
                    <a:gd name="connsiteY52"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0 h 721392"/>
                    <a:gd name="connsiteX47" fmla="*/ 210379 w 270502"/>
                    <a:gd name="connsiteY47" fmla="*/ 75145 h 721392"/>
                    <a:gd name="connsiteX48" fmla="*/ 135234 w 270502"/>
                    <a:gd name="connsiteY48" fmla="*/ 150290 h 721392"/>
                    <a:gd name="connsiteX49" fmla="*/ 60089 w 270502"/>
                    <a:gd name="connsiteY49" fmla="*/ 75145 h 721392"/>
                    <a:gd name="connsiteX50" fmla="*/ 135234 w 270502"/>
                    <a:gd name="connsiteY50"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5 w 270502"/>
                    <a:gd name="connsiteY44" fmla="*/ 30058 h 721392"/>
                    <a:gd name="connsiteX45" fmla="*/ 135234 w 270502"/>
                    <a:gd name="connsiteY45" fmla="*/ 0 h 721392"/>
                    <a:gd name="connsiteX46" fmla="*/ 210379 w 270502"/>
                    <a:gd name="connsiteY46" fmla="*/ 75145 h 721392"/>
                    <a:gd name="connsiteX47" fmla="*/ 135234 w 270502"/>
                    <a:gd name="connsiteY47" fmla="*/ 150290 h 721392"/>
                    <a:gd name="connsiteX48" fmla="*/ 60089 w 270502"/>
                    <a:gd name="connsiteY48" fmla="*/ 75145 h 721392"/>
                    <a:gd name="connsiteX49" fmla="*/ 135234 w 270502"/>
                    <a:gd name="connsiteY49"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03371 w 270502"/>
                    <a:gd name="connsiteY40" fmla="*/ 107010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4 w 270502"/>
                    <a:gd name="connsiteY44" fmla="*/ 0 h 721392"/>
                    <a:gd name="connsiteX45" fmla="*/ 210379 w 270502"/>
                    <a:gd name="connsiteY45" fmla="*/ 75145 h 721392"/>
                    <a:gd name="connsiteX46" fmla="*/ 135234 w 270502"/>
                    <a:gd name="connsiteY46" fmla="*/ 150290 h 721392"/>
                    <a:gd name="connsiteX47" fmla="*/ 60089 w 270502"/>
                    <a:gd name="connsiteY47" fmla="*/ 75145 h 721392"/>
                    <a:gd name="connsiteX48" fmla="*/ 135234 w 270502"/>
                    <a:gd name="connsiteY48"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120232 h 721392"/>
                    <a:gd name="connsiteX41" fmla="*/ 135234 w 270502"/>
                    <a:gd name="connsiteY41" fmla="*/ 120232 h 721392"/>
                    <a:gd name="connsiteX42" fmla="*/ 135235 w 270502"/>
                    <a:gd name="connsiteY42" fmla="*/ 120232 h 721392"/>
                    <a:gd name="connsiteX43" fmla="*/ 135234 w 270502"/>
                    <a:gd name="connsiteY43" fmla="*/ 0 h 721392"/>
                    <a:gd name="connsiteX44" fmla="*/ 210379 w 270502"/>
                    <a:gd name="connsiteY44" fmla="*/ 75145 h 721392"/>
                    <a:gd name="connsiteX45" fmla="*/ 135234 w 270502"/>
                    <a:gd name="connsiteY45" fmla="*/ 150290 h 721392"/>
                    <a:gd name="connsiteX46" fmla="*/ 60089 w 270502"/>
                    <a:gd name="connsiteY46" fmla="*/ 75145 h 721392"/>
                    <a:gd name="connsiteX47" fmla="*/ 135234 w 270502"/>
                    <a:gd name="connsiteY47" fmla="*/ 0 h 721392"/>
                    <a:gd name="connsiteX0" fmla="*/ 35142 w 270502"/>
                    <a:gd name="connsiteY0" fmla="*/ 447684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5 w 270502"/>
                    <a:gd name="connsiteY39" fmla="*/ 120232 h 721392"/>
                    <a:gd name="connsiteX40" fmla="*/ 135234 w 270502"/>
                    <a:gd name="connsiteY40" fmla="*/ 120232 h 721392"/>
                    <a:gd name="connsiteX41" fmla="*/ 135235 w 270502"/>
                    <a:gd name="connsiteY41" fmla="*/ 120232 h 721392"/>
                    <a:gd name="connsiteX42" fmla="*/ 135234 w 270502"/>
                    <a:gd name="connsiteY42" fmla="*/ 0 h 721392"/>
                    <a:gd name="connsiteX43" fmla="*/ 210379 w 270502"/>
                    <a:gd name="connsiteY43" fmla="*/ 75145 h 721392"/>
                    <a:gd name="connsiteX44" fmla="*/ 135234 w 270502"/>
                    <a:gd name="connsiteY44" fmla="*/ 150290 h 721392"/>
                    <a:gd name="connsiteX45" fmla="*/ 60089 w 270502"/>
                    <a:gd name="connsiteY45" fmla="*/ 75145 h 721392"/>
                    <a:gd name="connsiteX46" fmla="*/ 135234 w 270502"/>
                    <a:gd name="connsiteY46" fmla="*/ 0 h 721392"/>
                    <a:gd name="connsiteX0" fmla="*/ 35142 w 270502"/>
                    <a:gd name="connsiteY0" fmla="*/ 447684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35142 w 270502"/>
                    <a:gd name="connsiteY22" fmla="*/ 447684 h 721392"/>
                    <a:gd name="connsiteX23" fmla="*/ 96852 w 270502"/>
                    <a:gd name="connsiteY23" fmla="*/ 180349 h 721392"/>
                    <a:gd name="connsiteX24" fmla="*/ 173589 w 270502"/>
                    <a:gd name="connsiteY24" fmla="*/ 180349 h 721392"/>
                    <a:gd name="connsiteX25" fmla="*/ 250238 w 270502"/>
                    <a:gd name="connsiteY25" fmla="*/ 253359 h 721392"/>
                    <a:gd name="connsiteX26" fmla="*/ 270166 w 270502"/>
                    <a:gd name="connsiteY26" fmla="*/ 427937 h 721392"/>
                    <a:gd name="connsiteX27" fmla="*/ 257782 w 270502"/>
                    <a:gd name="connsiteY27" fmla="*/ 467703 h 721392"/>
                    <a:gd name="connsiteX28" fmla="*/ 226913 w 270502"/>
                    <a:gd name="connsiteY28" fmla="*/ 482882 h 721392"/>
                    <a:gd name="connsiteX29" fmla="*/ 210320 w 270502"/>
                    <a:gd name="connsiteY29" fmla="*/ 707475 h 721392"/>
                    <a:gd name="connsiteX30" fmla="*/ 195351 w 270502"/>
                    <a:gd name="connsiteY30" fmla="*/ 721392 h 721392"/>
                    <a:gd name="connsiteX31" fmla="*/ 75119 w 270502"/>
                    <a:gd name="connsiteY31" fmla="*/ 721392 h 721392"/>
                    <a:gd name="connsiteX32" fmla="*/ 60151 w 270502"/>
                    <a:gd name="connsiteY32" fmla="*/ 707475 h 721392"/>
                    <a:gd name="connsiteX33" fmla="*/ 43558 w 270502"/>
                    <a:gd name="connsiteY33" fmla="*/ 482882 h 721392"/>
                    <a:gd name="connsiteX34" fmla="*/ 12689 w 270502"/>
                    <a:gd name="connsiteY34" fmla="*/ 467703 h 721392"/>
                    <a:gd name="connsiteX35" fmla="*/ 335 w 270502"/>
                    <a:gd name="connsiteY35" fmla="*/ 427937 h 721392"/>
                    <a:gd name="connsiteX36" fmla="*/ 20264 w 270502"/>
                    <a:gd name="connsiteY36" fmla="*/ 253359 h 721392"/>
                    <a:gd name="connsiteX37" fmla="*/ 96852 w 270502"/>
                    <a:gd name="connsiteY37" fmla="*/ 180349 h 721392"/>
                    <a:gd name="connsiteX38" fmla="*/ 135235 w 270502"/>
                    <a:gd name="connsiteY38" fmla="*/ 120232 h 721392"/>
                    <a:gd name="connsiteX39" fmla="*/ 135234 w 270502"/>
                    <a:gd name="connsiteY39" fmla="*/ 120232 h 721392"/>
                    <a:gd name="connsiteX40" fmla="*/ 135235 w 270502"/>
                    <a:gd name="connsiteY40" fmla="*/ 120232 h 721392"/>
                    <a:gd name="connsiteX41" fmla="*/ 135234 w 270502"/>
                    <a:gd name="connsiteY41" fmla="*/ 0 h 721392"/>
                    <a:gd name="connsiteX42" fmla="*/ 210379 w 270502"/>
                    <a:gd name="connsiteY42" fmla="*/ 75145 h 721392"/>
                    <a:gd name="connsiteX43" fmla="*/ 135234 w 270502"/>
                    <a:gd name="connsiteY43" fmla="*/ 150290 h 721392"/>
                    <a:gd name="connsiteX44" fmla="*/ 60089 w 270502"/>
                    <a:gd name="connsiteY44" fmla="*/ 75145 h 721392"/>
                    <a:gd name="connsiteX45" fmla="*/ 135234 w 270502"/>
                    <a:gd name="connsiteY45" fmla="*/ 0 h 721392"/>
                    <a:gd name="connsiteX0" fmla="*/ 46144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96852 w 270502"/>
                    <a:gd name="connsiteY22" fmla="*/ 180349 h 721392"/>
                    <a:gd name="connsiteX23" fmla="*/ 173589 w 270502"/>
                    <a:gd name="connsiteY23" fmla="*/ 180349 h 721392"/>
                    <a:gd name="connsiteX24" fmla="*/ 250238 w 270502"/>
                    <a:gd name="connsiteY24" fmla="*/ 253359 h 721392"/>
                    <a:gd name="connsiteX25" fmla="*/ 270166 w 270502"/>
                    <a:gd name="connsiteY25" fmla="*/ 427937 h 721392"/>
                    <a:gd name="connsiteX26" fmla="*/ 257782 w 270502"/>
                    <a:gd name="connsiteY26" fmla="*/ 467703 h 721392"/>
                    <a:gd name="connsiteX27" fmla="*/ 226913 w 270502"/>
                    <a:gd name="connsiteY27" fmla="*/ 482882 h 721392"/>
                    <a:gd name="connsiteX28" fmla="*/ 210320 w 270502"/>
                    <a:gd name="connsiteY28" fmla="*/ 707475 h 721392"/>
                    <a:gd name="connsiteX29" fmla="*/ 195351 w 270502"/>
                    <a:gd name="connsiteY29" fmla="*/ 721392 h 721392"/>
                    <a:gd name="connsiteX30" fmla="*/ 75119 w 270502"/>
                    <a:gd name="connsiteY30" fmla="*/ 721392 h 721392"/>
                    <a:gd name="connsiteX31" fmla="*/ 60151 w 270502"/>
                    <a:gd name="connsiteY31" fmla="*/ 707475 h 721392"/>
                    <a:gd name="connsiteX32" fmla="*/ 43558 w 270502"/>
                    <a:gd name="connsiteY32" fmla="*/ 482882 h 721392"/>
                    <a:gd name="connsiteX33" fmla="*/ 12689 w 270502"/>
                    <a:gd name="connsiteY33" fmla="*/ 467703 h 721392"/>
                    <a:gd name="connsiteX34" fmla="*/ 335 w 270502"/>
                    <a:gd name="connsiteY34" fmla="*/ 427937 h 721392"/>
                    <a:gd name="connsiteX35" fmla="*/ 20264 w 270502"/>
                    <a:gd name="connsiteY35" fmla="*/ 253359 h 721392"/>
                    <a:gd name="connsiteX36" fmla="*/ 96852 w 270502"/>
                    <a:gd name="connsiteY36" fmla="*/ 180349 h 721392"/>
                    <a:gd name="connsiteX37" fmla="*/ 135235 w 270502"/>
                    <a:gd name="connsiteY37" fmla="*/ 120232 h 721392"/>
                    <a:gd name="connsiteX38" fmla="*/ 135234 w 270502"/>
                    <a:gd name="connsiteY38" fmla="*/ 120232 h 721392"/>
                    <a:gd name="connsiteX39" fmla="*/ 135235 w 270502"/>
                    <a:gd name="connsiteY39" fmla="*/ 120232 h 721392"/>
                    <a:gd name="connsiteX40" fmla="*/ 135234 w 270502"/>
                    <a:gd name="connsiteY40" fmla="*/ 0 h 721392"/>
                    <a:gd name="connsiteX41" fmla="*/ 210379 w 270502"/>
                    <a:gd name="connsiteY41" fmla="*/ 75145 h 721392"/>
                    <a:gd name="connsiteX42" fmla="*/ 135234 w 270502"/>
                    <a:gd name="connsiteY42" fmla="*/ 150290 h 721392"/>
                    <a:gd name="connsiteX43" fmla="*/ 60089 w 270502"/>
                    <a:gd name="connsiteY43" fmla="*/ 75145 h 721392"/>
                    <a:gd name="connsiteX44" fmla="*/ 135234 w 270502"/>
                    <a:gd name="connsiteY44" fmla="*/ 0 h 721392"/>
                    <a:gd name="connsiteX0" fmla="*/ 57565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96852 w 270502"/>
                    <a:gd name="connsiteY21" fmla="*/ 180349 h 721392"/>
                    <a:gd name="connsiteX22" fmla="*/ 173589 w 270502"/>
                    <a:gd name="connsiteY22" fmla="*/ 180349 h 721392"/>
                    <a:gd name="connsiteX23" fmla="*/ 250238 w 270502"/>
                    <a:gd name="connsiteY23" fmla="*/ 253359 h 721392"/>
                    <a:gd name="connsiteX24" fmla="*/ 270166 w 270502"/>
                    <a:gd name="connsiteY24" fmla="*/ 427937 h 721392"/>
                    <a:gd name="connsiteX25" fmla="*/ 257782 w 270502"/>
                    <a:gd name="connsiteY25" fmla="*/ 467703 h 721392"/>
                    <a:gd name="connsiteX26" fmla="*/ 226913 w 270502"/>
                    <a:gd name="connsiteY26" fmla="*/ 482882 h 721392"/>
                    <a:gd name="connsiteX27" fmla="*/ 210320 w 270502"/>
                    <a:gd name="connsiteY27" fmla="*/ 707475 h 721392"/>
                    <a:gd name="connsiteX28" fmla="*/ 195351 w 270502"/>
                    <a:gd name="connsiteY28" fmla="*/ 721392 h 721392"/>
                    <a:gd name="connsiteX29" fmla="*/ 75119 w 270502"/>
                    <a:gd name="connsiteY29" fmla="*/ 721392 h 721392"/>
                    <a:gd name="connsiteX30" fmla="*/ 60151 w 270502"/>
                    <a:gd name="connsiteY30" fmla="*/ 707475 h 721392"/>
                    <a:gd name="connsiteX31" fmla="*/ 43558 w 270502"/>
                    <a:gd name="connsiteY31" fmla="*/ 482882 h 721392"/>
                    <a:gd name="connsiteX32" fmla="*/ 12689 w 270502"/>
                    <a:gd name="connsiteY32" fmla="*/ 467703 h 721392"/>
                    <a:gd name="connsiteX33" fmla="*/ 335 w 270502"/>
                    <a:gd name="connsiteY33" fmla="*/ 427937 h 721392"/>
                    <a:gd name="connsiteX34" fmla="*/ 20264 w 270502"/>
                    <a:gd name="connsiteY34" fmla="*/ 253359 h 721392"/>
                    <a:gd name="connsiteX35" fmla="*/ 96852 w 270502"/>
                    <a:gd name="connsiteY35" fmla="*/ 180349 h 721392"/>
                    <a:gd name="connsiteX36" fmla="*/ 135235 w 270502"/>
                    <a:gd name="connsiteY36" fmla="*/ 120232 h 721392"/>
                    <a:gd name="connsiteX37" fmla="*/ 135234 w 270502"/>
                    <a:gd name="connsiteY37" fmla="*/ 120232 h 721392"/>
                    <a:gd name="connsiteX38" fmla="*/ 135235 w 270502"/>
                    <a:gd name="connsiteY38" fmla="*/ 120232 h 721392"/>
                    <a:gd name="connsiteX39" fmla="*/ 135234 w 270502"/>
                    <a:gd name="connsiteY39" fmla="*/ 0 h 721392"/>
                    <a:gd name="connsiteX40" fmla="*/ 210379 w 270502"/>
                    <a:gd name="connsiteY40" fmla="*/ 75145 h 721392"/>
                    <a:gd name="connsiteX41" fmla="*/ 135234 w 270502"/>
                    <a:gd name="connsiteY41" fmla="*/ 150290 h 721392"/>
                    <a:gd name="connsiteX42" fmla="*/ 60089 w 270502"/>
                    <a:gd name="connsiteY42" fmla="*/ 75145 h 721392"/>
                    <a:gd name="connsiteX43" fmla="*/ 135234 w 270502"/>
                    <a:gd name="connsiteY43" fmla="*/ 0 h 721392"/>
                    <a:gd name="connsiteX0" fmla="*/ 72565 w 270502"/>
                    <a:gd name="connsiteY0" fmla="*/ 466800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96852 w 270502"/>
                    <a:gd name="connsiteY20" fmla="*/ 180349 h 721392"/>
                    <a:gd name="connsiteX21" fmla="*/ 173589 w 270502"/>
                    <a:gd name="connsiteY21" fmla="*/ 180349 h 721392"/>
                    <a:gd name="connsiteX22" fmla="*/ 250238 w 270502"/>
                    <a:gd name="connsiteY22" fmla="*/ 253359 h 721392"/>
                    <a:gd name="connsiteX23" fmla="*/ 270166 w 270502"/>
                    <a:gd name="connsiteY23" fmla="*/ 427937 h 721392"/>
                    <a:gd name="connsiteX24" fmla="*/ 257782 w 270502"/>
                    <a:gd name="connsiteY24" fmla="*/ 467703 h 721392"/>
                    <a:gd name="connsiteX25" fmla="*/ 226913 w 270502"/>
                    <a:gd name="connsiteY25" fmla="*/ 482882 h 721392"/>
                    <a:gd name="connsiteX26" fmla="*/ 210320 w 270502"/>
                    <a:gd name="connsiteY26" fmla="*/ 707475 h 721392"/>
                    <a:gd name="connsiteX27" fmla="*/ 195351 w 270502"/>
                    <a:gd name="connsiteY27" fmla="*/ 721392 h 721392"/>
                    <a:gd name="connsiteX28" fmla="*/ 75119 w 270502"/>
                    <a:gd name="connsiteY28" fmla="*/ 721392 h 721392"/>
                    <a:gd name="connsiteX29" fmla="*/ 60151 w 270502"/>
                    <a:gd name="connsiteY29" fmla="*/ 707475 h 721392"/>
                    <a:gd name="connsiteX30" fmla="*/ 43558 w 270502"/>
                    <a:gd name="connsiteY30" fmla="*/ 482882 h 721392"/>
                    <a:gd name="connsiteX31" fmla="*/ 12689 w 270502"/>
                    <a:gd name="connsiteY31" fmla="*/ 467703 h 721392"/>
                    <a:gd name="connsiteX32" fmla="*/ 335 w 270502"/>
                    <a:gd name="connsiteY32" fmla="*/ 427937 h 721392"/>
                    <a:gd name="connsiteX33" fmla="*/ 20264 w 270502"/>
                    <a:gd name="connsiteY33" fmla="*/ 253359 h 721392"/>
                    <a:gd name="connsiteX34" fmla="*/ 96852 w 270502"/>
                    <a:gd name="connsiteY34" fmla="*/ 180349 h 721392"/>
                    <a:gd name="connsiteX35" fmla="*/ 135235 w 270502"/>
                    <a:gd name="connsiteY35" fmla="*/ 120232 h 721392"/>
                    <a:gd name="connsiteX36" fmla="*/ 135234 w 270502"/>
                    <a:gd name="connsiteY36" fmla="*/ 120232 h 721392"/>
                    <a:gd name="connsiteX37" fmla="*/ 135235 w 270502"/>
                    <a:gd name="connsiteY37" fmla="*/ 120232 h 721392"/>
                    <a:gd name="connsiteX38" fmla="*/ 135234 w 270502"/>
                    <a:gd name="connsiteY38" fmla="*/ 0 h 721392"/>
                    <a:gd name="connsiteX39" fmla="*/ 210379 w 270502"/>
                    <a:gd name="connsiteY39" fmla="*/ 75145 h 721392"/>
                    <a:gd name="connsiteX40" fmla="*/ 135234 w 270502"/>
                    <a:gd name="connsiteY40" fmla="*/ 150290 h 721392"/>
                    <a:gd name="connsiteX41" fmla="*/ 60089 w 270502"/>
                    <a:gd name="connsiteY41" fmla="*/ 75145 h 721392"/>
                    <a:gd name="connsiteX42" fmla="*/ 135234 w 270502"/>
                    <a:gd name="connsiteY42" fmla="*/ 0 h 721392"/>
                    <a:gd name="connsiteX0" fmla="*/ 72565 w 270502"/>
                    <a:gd name="connsiteY0" fmla="*/ 466800 h 721392"/>
                    <a:gd name="connsiteX1" fmla="*/ 35142 w 270502"/>
                    <a:gd name="connsiteY1" fmla="*/ 447685 h 721392"/>
                    <a:gd name="connsiteX2" fmla="*/ 57565 w 270502"/>
                    <a:gd name="connsiteY2" fmla="*/ 452884 h 721392"/>
                    <a:gd name="connsiteX3" fmla="*/ 72565 w 270502"/>
                    <a:gd name="connsiteY3" fmla="*/ 466801 h 721392"/>
                    <a:gd name="connsiteX4" fmla="*/ 89097 w 270502"/>
                    <a:gd name="connsiteY4" fmla="*/ 691334 h 721392"/>
                    <a:gd name="connsiteX5" fmla="*/ 181404 w 270502"/>
                    <a:gd name="connsiteY5" fmla="*/ 691334 h 721392"/>
                    <a:gd name="connsiteX6" fmla="*/ 197967 w 270502"/>
                    <a:gd name="connsiteY6" fmla="*/ 466801 h 721392"/>
                    <a:gd name="connsiteX7" fmla="*/ 212965 w 270502"/>
                    <a:gd name="connsiteY7" fmla="*/ 452884 h 721392"/>
                    <a:gd name="connsiteX8" fmla="*/ 224418 w 270502"/>
                    <a:gd name="connsiteY8" fmla="*/ 452884 h 721392"/>
                    <a:gd name="connsiteX9" fmla="*/ 235419 w 270502"/>
                    <a:gd name="connsiteY9" fmla="*/ 447685 h 721392"/>
                    <a:gd name="connsiteX10" fmla="*/ 240348 w 270502"/>
                    <a:gd name="connsiteY10" fmla="*/ 431333 h 721392"/>
                    <a:gd name="connsiteX11" fmla="*/ 240348 w 270502"/>
                    <a:gd name="connsiteY11" fmla="*/ 431332 h 721392"/>
                    <a:gd name="connsiteX12" fmla="*/ 235419 w 270502"/>
                    <a:gd name="connsiteY12" fmla="*/ 447684 h 721392"/>
                    <a:gd name="connsiteX13" fmla="*/ 224418 w 270502"/>
                    <a:gd name="connsiteY13" fmla="*/ 452883 h 721392"/>
                    <a:gd name="connsiteX14" fmla="*/ 212965 w 270502"/>
                    <a:gd name="connsiteY14" fmla="*/ 452883 h 721392"/>
                    <a:gd name="connsiteX15" fmla="*/ 197967 w 270502"/>
                    <a:gd name="connsiteY15" fmla="*/ 466800 h 721392"/>
                    <a:gd name="connsiteX16" fmla="*/ 181404 w 270502"/>
                    <a:gd name="connsiteY16" fmla="*/ 691333 h 721392"/>
                    <a:gd name="connsiteX17" fmla="*/ 89097 w 270502"/>
                    <a:gd name="connsiteY17" fmla="*/ 691333 h 721392"/>
                    <a:gd name="connsiteX18" fmla="*/ 72565 w 270502"/>
                    <a:gd name="connsiteY18" fmla="*/ 466800 h 721392"/>
                    <a:gd name="connsiteX19" fmla="*/ 96852 w 270502"/>
                    <a:gd name="connsiteY19" fmla="*/ 180349 h 721392"/>
                    <a:gd name="connsiteX20" fmla="*/ 173589 w 270502"/>
                    <a:gd name="connsiteY20" fmla="*/ 180349 h 721392"/>
                    <a:gd name="connsiteX21" fmla="*/ 250238 w 270502"/>
                    <a:gd name="connsiteY21" fmla="*/ 253359 h 721392"/>
                    <a:gd name="connsiteX22" fmla="*/ 270166 w 270502"/>
                    <a:gd name="connsiteY22" fmla="*/ 427937 h 721392"/>
                    <a:gd name="connsiteX23" fmla="*/ 257782 w 270502"/>
                    <a:gd name="connsiteY23" fmla="*/ 467703 h 721392"/>
                    <a:gd name="connsiteX24" fmla="*/ 226913 w 270502"/>
                    <a:gd name="connsiteY24" fmla="*/ 482882 h 721392"/>
                    <a:gd name="connsiteX25" fmla="*/ 210320 w 270502"/>
                    <a:gd name="connsiteY25" fmla="*/ 707475 h 721392"/>
                    <a:gd name="connsiteX26" fmla="*/ 195351 w 270502"/>
                    <a:gd name="connsiteY26" fmla="*/ 721392 h 721392"/>
                    <a:gd name="connsiteX27" fmla="*/ 75119 w 270502"/>
                    <a:gd name="connsiteY27" fmla="*/ 721392 h 721392"/>
                    <a:gd name="connsiteX28" fmla="*/ 60151 w 270502"/>
                    <a:gd name="connsiteY28" fmla="*/ 707475 h 721392"/>
                    <a:gd name="connsiteX29" fmla="*/ 43558 w 270502"/>
                    <a:gd name="connsiteY29" fmla="*/ 482882 h 721392"/>
                    <a:gd name="connsiteX30" fmla="*/ 12689 w 270502"/>
                    <a:gd name="connsiteY30" fmla="*/ 467703 h 721392"/>
                    <a:gd name="connsiteX31" fmla="*/ 335 w 270502"/>
                    <a:gd name="connsiteY31" fmla="*/ 427937 h 721392"/>
                    <a:gd name="connsiteX32" fmla="*/ 20264 w 270502"/>
                    <a:gd name="connsiteY32" fmla="*/ 253359 h 721392"/>
                    <a:gd name="connsiteX33" fmla="*/ 96852 w 270502"/>
                    <a:gd name="connsiteY33" fmla="*/ 180349 h 721392"/>
                    <a:gd name="connsiteX34" fmla="*/ 135235 w 270502"/>
                    <a:gd name="connsiteY34" fmla="*/ 120232 h 721392"/>
                    <a:gd name="connsiteX35" fmla="*/ 135234 w 270502"/>
                    <a:gd name="connsiteY35" fmla="*/ 120232 h 721392"/>
                    <a:gd name="connsiteX36" fmla="*/ 135235 w 270502"/>
                    <a:gd name="connsiteY36" fmla="*/ 120232 h 721392"/>
                    <a:gd name="connsiteX37" fmla="*/ 135234 w 270502"/>
                    <a:gd name="connsiteY37" fmla="*/ 0 h 721392"/>
                    <a:gd name="connsiteX38" fmla="*/ 210379 w 270502"/>
                    <a:gd name="connsiteY38" fmla="*/ 75145 h 721392"/>
                    <a:gd name="connsiteX39" fmla="*/ 135234 w 270502"/>
                    <a:gd name="connsiteY39" fmla="*/ 150290 h 721392"/>
                    <a:gd name="connsiteX40" fmla="*/ 60089 w 270502"/>
                    <a:gd name="connsiteY40" fmla="*/ 75145 h 721392"/>
                    <a:gd name="connsiteX41" fmla="*/ 135234 w 270502"/>
                    <a:gd name="connsiteY41" fmla="*/ 0 h 721392"/>
                    <a:gd name="connsiteX0" fmla="*/ 72565 w 270502"/>
                    <a:gd name="connsiteY0" fmla="*/ 466800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72565 w 270502"/>
                    <a:gd name="connsiteY17" fmla="*/ 466800 h 721392"/>
                    <a:gd name="connsiteX18" fmla="*/ 96852 w 270502"/>
                    <a:gd name="connsiteY18" fmla="*/ 180349 h 721392"/>
                    <a:gd name="connsiteX19" fmla="*/ 173589 w 270502"/>
                    <a:gd name="connsiteY19" fmla="*/ 180349 h 721392"/>
                    <a:gd name="connsiteX20" fmla="*/ 250238 w 270502"/>
                    <a:gd name="connsiteY20" fmla="*/ 253359 h 721392"/>
                    <a:gd name="connsiteX21" fmla="*/ 270166 w 270502"/>
                    <a:gd name="connsiteY21" fmla="*/ 427937 h 721392"/>
                    <a:gd name="connsiteX22" fmla="*/ 257782 w 270502"/>
                    <a:gd name="connsiteY22" fmla="*/ 467703 h 721392"/>
                    <a:gd name="connsiteX23" fmla="*/ 226913 w 270502"/>
                    <a:gd name="connsiteY23" fmla="*/ 482882 h 721392"/>
                    <a:gd name="connsiteX24" fmla="*/ 210320 w 270502"/>
                    <a:gd name="connsiteY24" fmla="*/ 707475 h 721392"/>
                    <a:gd name="connsiteX25" fmla="*/ 195351 w 270502"/>
                    <a:gd name="connsiteY25" fmla="*/ 721392 h 721392"/>
                    <a:gd name="connsiteX26" fmla="*/ 75119 w 270502"/>
                    <a:gd name="connsiteY26" fmla="*/ 721392 h 721392"/>
                    <a:gd name="connsiteX27" fmla="*/ 60151 w 270502"/>
                    <a:gd name="connsiteY27" fmla="*/ 707475 h 721392"/>
                    <a:gd name="connsiteX28" fmla="*/ 43558 w 270502"/>
                    <a:gd name="connsiteY28" fmla="*/ 482882 h 721392"/>
                    <a:gd name="connsiteX29" fmla="*/ 12689 w 270502"/>
                    <a:gd name="connsiteY29" fmla="*/ 467703 h 721392"/>
                    <a:gd name="connsiteX30" fmla="*/ 335 w 270502"/>
                    <a:gd name="connsiteY30" fmla="*/ 427937 h 721392"/>
                    <a:gd name="connsiteX31" fmla="*/ 20264 w 270502"/>
                    <a:gd name="connsiteY31" fmla="*/ 253359 h 721392"/>
                    <a:gd name="connsiteX32" fmla="*/ 96852 w 270502"/>
                    <a:gd name="connsiteY32" fmla="*/ 180349 h 721392"/>
                    <a:gd name="connsiteX33" fmla="*/ 135235 w 270502"/>
                    <a:gd name="connsiteY33" fmla="*/ 120232 h 721392"/>
                    <a:gd name="connsiteX34" fmla="*/ 135234 w 270502"/>
                    <a:gd name="connsiteY34" fmla="*/ 120232 h 721392"/>
                    <a:gd name="connsiteX35" fmla="*/ 135235 w 270502"/>
                    <a:gd name="connsiteY35" fmla="*/ 120232 h 721392"/>
                    <a:gd name="connsiteX36" fmla="*/ 135234 w 270502"/>
                    <a:gd name="connsiteY36" fmla="*/ 0 h 721392"/>
                    <a:gd name="connsiteX37" fmla="*/ 210379 w 270502"/>
                    <a:gd name="connsiteY37" fmla="*/ 75145 h 721392"/>
                    <a:gd name="connsiteX38" fmla="*/ 135234 w 270502"/>
                    <a:gd name="connsiteY38" fmla="*/ 150290 h 721392"/>
                    <a:gd name="connsiteX39" fmla="*/ 60089 w 270502"/>
                    <a:gd name="connsiteY39" fmla="*/ 75145 h 721392"/>
                    <a:gd name="connsiteX40" fmla="*/ 135234 w 270502"/>
                    <a:gd name="connsiteY40" fmla="*/ 0 h 721392"/>
                    <a:gd name="connsiteX0" fmla="*/ 89097 w 270502"/>
                    <a:gd name="connsiteY0" fmla="*/ 691333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96852 w 270502"/>
                    <a:gd name="connsiteY17" fmla="*/ 180349 h 721392"/>
                    <a:gd name="connsiteX18" fmla="*/ 173589 w 270502"/>
                    <a:gd name="connsiteY18" fmla="*/ 180349 h 721392"/>
                    <a:gd name="connsiteX19" fmla="*/ 250238 w 270502"/>
                    <a:gd name="connsiteY19" fmla="*/ 253359 h 721392"/>
                    <a:gd name="connsiteX20" fmla="*/ 270166 w 270502"/>
                    <a:gd name="connsiteY20" fmla="*/ 427937 h 721392"/>
                    <a:gd name="connsiteX21" fmla="*/ 257782 w 270502"/>
                    <a:gd name="connsiteY21" fmla="*/ 467703 h 721392"/>
                    <a:gd name="connsiteX22" fmla="*/ 226913 w 270502"/>
                    <a:gd name="connsiteY22" fmla="*/ 482882 h 721392"/>
                    <a:gd name="connsiteX23" fmla="*/ 210320 w 270502"/>
                    <a:gd name="connsiteY23" fmla="*/ 707475 h 721392"/>
                    <a:gd name="connsiteX24" fmla="*/ 195351 w 270502"/>
                    <a:gd name="connsiteY24" fmla="*/ 721392 h 721392"/>
                    <a:gd name="connsiteX25" fmla="*/ 75119 w 270502"/>
                    <a:gd name="connsiteY25" fmla="*/ 721392 h 721392"/>
                    <a:gd name="connsiteX26" fmla="*/ 60151 w 270502"/>
                    <a:gd name="connsiteY26" fmla="*/ 707475 h 721392"/>
                    <a:gd name="connsiteX27" fmla="*/ 43558 w 270502"/>
                    <a:gd name="connsiteY27" fmla="*/ 482882 h 721392"/>
                    <a:gd name="connsiteX28" fmla="*/ 12689 w 270502"/>
                    <a:gd name="connsiteY28" fmla="*/ 467703 h 721392"/>
                    <a:gd name="connsiteX29" fmla="*/ 335 w 270502"/>
                    <a:gd name="connsiteY29" fmla="*/ 427937 h 721392"/>
                    <a:gd name="connsiteX30" fmla="*/ 20264 w 270502"/>
                    <a:gd name="connsiteY30" fmla="*/ 253359 h 721392"/>
                    <a:gd name="connsiteX31" fmla="*/ 96852 w 270502"/>
                    <a:gd name="connsiteY31" fmla="*/ 180349 h 721392"/>
                    <a:gd name="connsiteX32" fmla="*/ 135235 w 270502"/>
                    <a:gd name="connsiteY32" fmla="*/ 120232 h 721392"/>
                    <a:gd name="connsiteX33" fmla="*/ 135234 w 270502"/>
                    <a:gd name="connsiteY33" fmla="*/ 120232 h 721392"/>
                    <a:gd name="connsiteX34" fmla="*/ 135235 w 270502"/>
                    <a:gd name="connsiteY34" fmla="*/ 120232 h 721392"/>
                    <a:gd name="connsiteX35" fmla="*/ 135234 w 270502"/>
                    <a:gd name="connsiteY35" fmla="*/ 0 h 721392"/>
                    <a:gd name="connsiteX36" fmla="*/ 210379 w 270502"/>
                    <a:gd name="connsiteY36" fmla="*/ 75145 h 721392"/>
                    <a:gd name="connsiteX37" fmla="*/ 135234 w 270502"/>
                    <a:gd name="connsiteY37" fmla="*/ 150290 h 721392"/>
                    <a:gd name="connsiteX38" fmla="*/ 60089 w 270502"/>
                    <a:gd name="connsiteY38" fmla="*/ 75145 h 721392"/>
                    <a:gd name="connsiteX39" fmla="*/ 135234 w 270502"/>
                    <a:gd name="connsiteY39" fmla="*/ 0 h 721392"/>
                    <a:gd name="connsiteX0" fmla="*/ 89097 w 270502"/>
                    <a:gd name="connsiteY0" fmla="*/ 691333 h 721392"/>
                    <a:gd name="connsiteX1" fmla="*/ 57565 w 270502"/>
                    <a:gd name="connsiteY1" fmla="*/ 452884 h 721392"/>
                    <a:gd name="connsiteX2" fmla="*/ 89097 w 270502"/>
                    <a:gd name="connsiteY2" fmla="*/ 691334 h 721392"/>
                    <a:gd name="connsiteX3" fmla="*/ 181404 w 270502"/>
                    <a:gd name="connsiteY3" fmla="*/ 691334 h 721392"/>
                    <a:gd name="connsiteX4" fmla="*/ 197967 w 270502"/>
                    <a:gd name="connsiteY4" fmla="*/ 466801 h 721392"/>
                    <a:gd name="connsiteX5" fmla="*/ 212965 w 270502"/>
                    <a:gd name="connsiteY5" fmla="*/ 452884 h 721392"/>
                    <a:gd name="connsiteX6" fmla="*/ 224418 w 270502"/>
                    <a:gd name="connsiteY6" fmla="*/ 452884 h 721392"/>
                    <a:gd name="connsiteX7" fmla="*/ 235419 w 270502"/>
                    <a:gd name="connsiteY7" fmla="*/ 447685 h 721392"/>
                    <a:gd name="connsiteX8" fmla="*/ 240348 w 270502"/>
                    <a:gd name="connsiteY8" fmla="*/ 431333 h 721392"/>
                    <a:gd name="connsiteX9" fmla="*/ 240348 w 270502"/>
                    <a:gd name="connsiteY9" fmla="*/ 431332 h 721392"/>
                    <a:gd name="connsiteX10" fmla="*/ 235419 w 270502"/>
                    <a:gd name="connsiteY10" fmla="*/ 447684 h 721392"/>
                    <a:gd name="connsiteX11" fmla="*/ 224418 w 270502"/>
                    <a:gd name="connsiteY11" fmla="*/ 452883 h 721392"/>
                    <a:gd name="connsiteX12" fmla="*/ 212965 w 270502"/>
                    <a:gd name="connsiteY12" fmla="*/ 452883 h 721392"/>
                    <a:gd name="connsiteX13" fmla="*/ 197967 w 270502"/>
                    <a:gd name="connsiteY13" fmla="*/ 466800 h 721392"/>
                    <a:gd name="connsiteX14" fmla="*/ 181404 w 270502"/>
                    <a:gd name="connsiteY14" fmla="*/ 691333 h 721392"/>
                    <a:gd name="connsiteX15" fmla="*/ 89097 w 270502"/>
                    <a:gd name="connsiteY15" fmla="*/ 691333 h 721392"/>
                    <a:gd name="connsiteX16" fmla="*/ 96852 w 270502"/>
                    <a:gd name="connsiteY16" fmla="*/ 180349 h 721392"/>
                    <a:gd name="connsiteX17" fmla="*/ 173589 w 270502"/>
                    <a:gd name="connsiteY17" fmla="*/ 180349 h 721392"/>
                    <a:gd name="connsiteX18" fmla="*/ 250238 w 270502"/>
                    <a:gd name="connsiteY18" fmla="*/ 253359 h 721392"/>
                    <a:gd name="connsiteX19" fmla="*/ 270166 w 270502"/>
                    <a:gd name="connsiteY19" fmla="*/ 427937 h 721392"/>
                    <a:gd name="connsiteX20" fmla="*/ 257782 w 270502"/>
                    <a:gd name="connsiteY20" fmla="*/ 467703 h 721392"/>
                    <a:gd name="connsiteX21" fmla="*/ 226913 w 270502"/>
                    <a:gd name="connsiteY21" fmla="*/ 482882 h 721392"/>
                    <a:gd name="connsiteX22" fmla="*/ 210320 w 270502"/>
                    <a:gd name="connsiteY22" fmla="*/ 707475 h 721392"/>
                    <a:gd name="connsiteX23" fmla="*/ 195351 w 270502"/>
                    <a:gd name="connsiteY23" fmla="*/ 721392 h 721392"/>
                    <a:gd name="connsiteX24" fmla="*/ 75119 w 270502"/>
                    <a:gd name="connsiteY24" fmla="*/ 721392 h 721392"/>
                    <a:gd name="connsiteX25" fmla="*/ 60151 w 270502"/>
                    <a:gd name="connsiteY25" fmla="*/ 707475 h 721392"/>
                    <a:gd name="connsiteX26" fmla="*/ 43558 w 270502"/>
                    <a:gd name="connsiteY26" fmla="*/ 482882 h 721392"/>
                    <a:gd name="connsiteX27" fmla="*/ 12689 w 270502"/>
                    <a:gd name="connsiteY27" fmla="*/ 467703 h 721392"/>
                    <a:gd name="connsiteX28" fmla="*/ 335 w 270502"/>
                    <a:gd name="connsiteY28" fmla="*/ 427937 h 721392"/>
                    <a:gd name="connsiteX29" fmla="*/ 20264 w 270502"/>
                    <a:gd name="connsiteY29" fmla="*/ 253359 h 721392"/>
                    <a:gd name="connsiteX30" fmla="*/ 96852 w 270502"/>
                    <a:gd name="connsiteY30" fmla="*/ 180349 h 721392"/>
                    <a:gd name="connsiteX31" fmla="*/ 135235 w 270502"/>
                    <a:gd name="connsiteY31" fmla="*/ 120232 h 721392"/>
                    <a:gd name="connsiteX32" fmla="*/ 135234 w 270502"/>
                    <a:gd name="connsiteY32" fmla="*/ 120232 h 721392"/>
                    <a:gd name="connsiteX33" fmla="*/ 135235 w 270502"/>
                    <a:gd name="connsiteY33" fmla="*/ 120232 h 721392"/>
                    <a:gd name="connsiteX34" fmla="*/ 135234 w 270502"/>
                    <a:gd name="connsiteY34" fmla="*/ 0 h 721392"/>
                    <a:gd name="connsiteX35" fmla="*/ 210379 w 270502"/>
                    <a:gd name="connsiteY35" fmla="*/ 75145 h 721392"/>
                    <a:gd name="connsiteX36" fmla="*/ 135234 w 270502"/>
                    <a:gd name="connsiteY36" fmla="*/ 150290 h 721392"/>
                    <a:gd name="connsiteX37" fmla="*/ 60089 w 270502"/>
                    <a:gd name="connsiteY37" fmla="*/ 75145 h 721392"/>
                    <a:gd name="connsiteX38" fmla="*/ 135234 w 270502"/>
                    <a:gd name="connsiteY3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97967 w 270502"/>
                    <a:gd name="connsiteY12" fmla="*/ 466800 h 721392"/>
                    <a:gd name="connsiteX13" fmla="*/ 181404 w 270502"/>
                    <a:gd name="connsiteY13" fmla="*/ 691333 h 721392"/>
                    <a:gd name="connsiteX14" fmla="*/ 89097 w 270502"/>
                    <a:gd name="connsiteY14" fmla="*/ 691333 h 721392"/>
                    <a:gd name="connsiteX15" fmla="*/ 96852 w 270502"/>
                    <a:gd name="connsiteY15" fmla="*/ 180349 h 721392"/>
                    <a:gd name="connsiteX16" fmla="*/ 173589 w 270502"/>
                    <a:gd name="connsiteY16" fmla="*/ 180349 h 721392"/>
                    <a:gd name="connsiteX17" fmla="*/ 250238 w 270502"/>
                    <a:gd name="connsiteY17" fmla="*/ 253359 h 721392"/>
                    <a:gd name="connsiteX18" fmla="*/ 270166 w 270502"/>
                    <a:gd name="connsiteY18" fmla="*/ 427937 h 721392"/>
                    <a:gd name="connsiteX19" fmla="*/ 257782 w 270502"/>
                    <a:gd name="connsiteY19" fmla="*/ 467703 h 721392"/>
                    <a:gd name="connsiteX20" fmla="*/ 226913 w 270502"/>
                    <a:gd name="connsiteY20" fmla="*/ 482882 h 721392"/>
                    <a:gd name="connsiteX21" fmla="*/ 210320 w 270502"/>
                    <a:gd name="connsiteY21" fmla="*/ 707475 h 721392"/>
                    <a:gd name="connsiteX22" fmla="*/ 195351 w 270502"/>
                    <a:gd name="connsiteY22" fmla="*/ 721392 h 721392"/>
                    <a:gd name="connsiteX23" fmla="*/ 75119 w 270502"/>
                    <a:gd name="connsiteY23" fmla="*/ 721392 h 721392"/>
                    <a:gd name="connsiteX24" fmla="*/ 60151 w 270502"/>
                    <a:gd name="connsiteY24" fmla="*/ 707475 h 721392"/>
                    <a:gd name="connsiteX25" fmla="*/ 43558 w 270502"/>
                    <a:gd name="connsiteY25" fmla="*/ 482882 h 721392"/>
                    <a:gd name="connsiteX26" fmla="*/ 12689 w 270502"/>
                    <a:gd name="connsiteY26" fmla="*/ 467703 h 721392"/>
                    <a:gd name="connsiteX27" fmla="*/ 335 w 270502"/>
                    <a:gd name="connsiteY27" fmla="*/ 427937 h 721392"/>
                    <a:gd name="connsiteX28" fmla="*/ 20264 w 270502"/>
                    <a:gd name="connsiteY28" fmla="*/ 253359 h 721392"/>
                    <a:gd name="connsiteX29" fmla="*/ 96852 w 270502"/>
                    <a:gd name="connsiteY29" fmla="*/ 180349 h 721392"/>
                    <a:gd name="connsiteX30" fmla="*/ 135235 w 270502"/>
                    <a:gd name="connsiteY30" fmla="*/ 120232 h 721392"/>
                    <a:gd name="connsiteX31" fmla="*/ 135234 w 270502"/>
                    <a:gd name="connsiteY31" fmla="*/ 120232 h 721392"/>
                    <a:gd name="connsiteX32" fmla="*/ 135235 w 270502"/>
                    <a:gd name="connsiteY32" fmla="*/ 120232 h 721392"/>
                    <a:gd name="connsiteX33" fmla="*/ 135234 w 270502"/>
                    <a:gd name="connsiteY33" fmla="*/ 0 h 721392"/>
                    <a:gd name="connsiteX34" fmla="*/ 210379 w 270502"/>
                    <a:gd name="connsiteY34" fmla="*/ 75145 h 721392"/>
                    <a:gd name="connsiteX35" fmla="*/ 135234 w 270502"/>
                    <a:gd name="connsiteY35" fmla="*/ 150290 h 721392"/>
                    <a:gd name="connsiteX36" fmla="*/ 60089 w 270502"/>
                    <a:gd name="connsiteY36" fmla="*/ 75145 h 721392"/>
                    <a:gd name="connsiteX37" fmla="*/ 135234 w 270502"/>
                    <a:gd name="connsiteY3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81404 w 270502"/>
                    <a:gd name="connsiteY12" fmla="*/ 691333 h 721392"/>
                    <a:gd name="connsiteX13" fmla="*/ 89097 w 270502"/>
                    <a:gd name="connsiteY13" fmla="*/ 691333 h 721392"/>
                    <a:gd name="connsiteX14" fmla="*/ 96852 w 270502"/>
                    <a:gd name="connsiteY14" fmla="*/ 180349 h 721392"/>
                    <a:gd name="connsiteX15" fmla="*/ 173589 w 270502"/>
                    <a:gd name="connsiteY15" fmla="*/ 180349 h 721392"/>
                    <a:gd name="connsiteX16" fmla="*/ 250238 w 270502"/>
                    <a:gd name="connsiteY16" fmla="*/ 253359 h 721392"/>
                    <a:gd name="connsiteX17" fmla="*/ 270166 w 270502"/>
                    <a:gd name="connsiteY17" fmla="*/ 427937 h 721392"/>
                    <a:gd name="connsiteX18" fmla="*/ 257782 w 270502"/>
                    <a:gd name="connsiteY18" fmla="*/ 467703 h 721392"/>
                    <a:gd name="connsiteX19" fmla="*/ 226913 w 270502"/>
                    <a:gd name="connsiteY19" fmla="*/ 482882 h 721392"/>
                    <a:gd name="connsiteX20" fmla="*/ 210320 w 270502"/>
                    <a:gd name="connsiteY20" fmla="*/ 707475 h 721392"/>
                    <a:gd name="connsiteX21" fmla="*/ 195351 w 270502"/>
                    <a:gd name="connsiteY21" fmla="*/ 721392 h 721392"/>
                    <a:gd name="connsiteX22" fmla="*/ 75119 w 270502"/>
                    <a:gd name="connsiteY22" fmla="*/ 721392 h 721392"/>
                    <a:gd name="connsiteX23" fmla="*/ 60151 w 270502"/>
                    <a:gd name="connsiteY23" fmla="*/ 707475 h 721392"/>
                    <a:gd name="connsiteX24" fmla="*/ 43558 w 270502"/>
                    <a:gd name="connsiteY24" fmla="*/ 482882 h 721392"/>
                    <a:gd name="connsiteX25" fmla="*/ 12689 w 270502"/>
                    <a:gd name="connsiteY25" fmla="*/ 467703 h 721392"/>
                    <a:gd name="connsiteX26" fmla="*/ 335 w 270502"/>
                    <a:gd name="connsiteY26" fmla="*/ 427937 h 721392"/>
                    <a:gd name="connsiteX27" fmla="*/ 20264 w 270502"/>
                    <a:gd name="connsiteY27" fmla="*/ 253359 h 721392"/>
                    <a:gd name="connsiteX28" fmla="*/ 96852 w 270502"/>
                    <a:gd name="connsiteY28" fmla="*/ 180349 h 721392"/>
                    <a:gd name="connsiteX29" fmla="*/ 135235 w 270502"/>
                    <a:gd name="connsiteY29" fmla="*/ 120232 h 721392"/>
                    <a:gd name="connsiteX30" fmla="*/ 135234 w 270502"/>
                    <a:gd name="connsiteY30" fmla="*/ 120232 h 721392"/>
                    <a:gd name="connsiteX31" fmla="*/ 135235 w 270502"/>
                    <a:gd name="connsiteY31" fmla="*/ 120232 h 721392"/>
                    <a:gd name="connsiteX32" fmla="*/ 135234 w 270502"/>
                    <a:gd name="connsiteY32" fmla="*/ 0 h 721392"/>
                    <a:gd name="connsiteX33" fmla="*/ 210379 w 270502"/>
                    <a:gd name="connsiteY33" fmla="*/ 75145 h 721392"/>
                    <a:gd name="connsiteX34" fmla="*/ 135234 w 270502"/>
                    <a:gd name="connsiteY34" fmla="*/ 150290 h 721392"/>
                    <a:gd name="connsiteX35" fmla="*/ 60089 w 270502"/>
                    <a:gd name="connsiteY35" fmla="*/ 75145 h 721392"/>
                    <a:gd name="connsiteX36" fmla="*/ 135234 w 270502"/>
                    <a:gd name="connsiteY36"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181404 w 270502"/>
                    <a:gd name="connsiteY11" fmla="*/ 691333 h 721392"/>
                    <a:gd name="connsiteX12" fmla="*/ 89097 w 270502"/>
                    <a:gd name="connsiteY12" fmla="*/ 691333 h 721392"/>
                    <a:gd name="connsiteX13" fmla="*/ 96852 w 270502"/>
                    <a:gd name="connsiteY13" fmla="*/ 180349 h 721392"/>
                    <a:gd name="connsiteX14" fmla="*/ 173589 w 270502"/>
                    <a:gd name="connsiteY14" fmla="*/ 180349 h 721392"/>
                    <a:gd name="connsiteX15" fmla="*/ 250238 w 270502"/>
                    <a:gd name="connsiteY15" fmla="*/ 253359 h 721392"/>
                    <a:gd name="connsiteX16" fmla="*/ 270166 w 270502"/>
                    <a:gd name="connsiteY16" fmla="*/ 427937 h 721392"/>
                    <a:gd name="connsiteX17" fmla="*/ 257782 w 270502"/>
                    <a:gd name="connsiteY17" fmla="*/ 467703 h 721392"/>
                    <a:gd name="connsiteX18" fmla="*/ 226913 w 270502"/>
                    <a:gd name="connsiteY18" fmla="*/ 482882 h 721392"/>
                    <a:gd name="connsiteX19" fmla="*/ 210320 w 270502"/>
                    <a:gd name="connsiteY19" fmla="*/ 707475 h 721392"/>
                    <a:gd name="connsiteX20" fmla="*/ 195351 w 270502"/>
                    <a:gd name="connsiteY20" fmla="*/ 721392 h 721392"/>
                    <a:gd name="connsiteX21" fmla="*/ 75119 w 270502"/>
                    <a:gd name="connsiteY21" fmla="*/ 721392 h 721392"/>
                    <a:gd name="connsiteX22" fmla="*/ 60151 w 270502"/>
                    <a:gd name="connsiteY22" fmla="*/ 707475 h 721392"/>
                    <a:gd name="connsiteX23" fmla="*/ 43558 w 270502"/>
                    <a:gd name="connsiteY23" fmla="*/ 482882 h 721392"/>
                    <a:gd name="connsiteX24" fmla="*/ 12689 w 270502"/>
                    <a:gd name="connsiteY24" fmla="*/ 467703 h 721392"/>
                    <a:gd name="connsiteX25" fmla="*/ 335 w 270502"/>
                    <a:gd name="connsiteY25" fmla="*/ 427937 h 721392"/>
                    <a:gd name="connsiteX26" fmla="*/ 20264 w 270502"/>
                    <a:gd name="connsiteY26" fmla="*/ 253359 h 721392"/>
                    <a:gd name="connsiteX27" fmla="*/ 96852 w 270502"/>
                    <a:gd name="connsiteY27" fmla="*/ 180349 h 721392"/>
                    <a:gd name="connsiteX28" fmla="*/ 135235 w 270502"/>
                    <a:gd name="connsiteY28" fmla="*/ 120232 h 721392"/>
                    <a:gd name="connsiteX29" fmla="*/ 135234 w 270502"/>
                    <a:gd name="connsiteY29" fmla="*/ 120232 h 721392"/>
                    <a:gd name="connsiteX30" fmla="*/ 135235 w 270502"/>
                    <a:gd name="connsiteY30" fmla="*/ 120232 h 721392"/>
                    <a:gd name="connsiteX31" fmla="*/ 135234 w 270502"/>
                    <a:gd name="connsiteY31" fmla="*/ 0 h 721392"/>
                    <a:gd name="connsiteX32" fmla="*/ 210379 w 270502"/>
                    <a:gd name="connsiteY32" fmla="*/ 75145 h 721392"/>
                    <a:gd name="connsiteX33" fmla="*/ 135234 w 270502"/>
                    <a:gd name="connsiteY33" fmla="*/ 150290 h 721392"/>
                    <a:gd name="connsiteX34" fmla="*/ 60089 w 270502"/>
                    <a:gd name="connsiteY34" fmla="*/ 75145 h 721392"/>
                    <a:gd name="connsiteX35" fmla="*/ 135234 w 270502"/>
                    <a:gd name="connsiteY35"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181404 w 270502"/>
                    <a:gd name="connsiteY10" fmla="*/ 691333 h 721392"/>
                    <a:gd name="connsiteX11" fmla="*/ 89097 w 270502"/>
                    <a:gd name="connsiteY11" fmla="*/ 691333 h 721392"/>
                    <a:gd name="connsiteX12" fmla="*/ 96852 w 270502"/>
                    <a:gd name="connsiteY12" fmla="*/ 180349 h 721392"/>
                    <a:gd name="connsiteX13" fmla="*/ 173589 w 270502"/>
                    <a:gd name="connsiteY13" fmla="*/ 180349 h 721392"/>
                    <a:gd name="connsiteX14" fmla="*/ 250238 w 270502"/>
                    <a:gd name="connsiteY14" fmla="*/ 253359 h 721392"/>
                    <a:gd name="connsiteX15" fmla="*/ 270166 w 270502"/>
                    <a:gd name="connsiteY15" fmla="*/ 427937 h 721392"/>
                    <a:gd name="connsiteX16" fmla="*/ 257782 w 270502"/>
                    <a:gd name="connsiteY16" fmla="*/ 467703 h 721392"/>
                    <a:gd name="connsiteX17" fmla="*/ 226913 w 270502"/>
                    <a:gd name="connsiteY17" fmla="*/ 482882 h 721392"/>
                    <a:gd name="connsiteX18" fmla="*/ 210320 w 270502"/>
                    <a:gd name="connsiteY18" fmla="*/ 707475 h 721392"/>
                    <a:gd name="connsiteX19" fmla="*/ 195351 w 270502"/>
                    <a:gd name="connsiteY19" fmla="*/ 721392 h 721392"/>
                    <a:gd name="connsiteX20" fmla="*/ 75119 w 270502"/>
                    <a:gd name="connsiteY20" fmla="*/ 721392 h 721392"/>
                    <a:gd name="connsiteX21" fmla="*/ 60151 w 270502"/>
                    <a:gd name="connsiteY21" fmla="*/ 707475 h 721392"/>
                    <a:gd name="connsiteX22" fmla="*/ 43558 w 270502"/>
                    <a:gd name="connsiteY22" fmla="*/ 482882 h 721392"/>
                    <a:gd name="connsiteX23" fmla="*/ 12689 w 270502"/>
                    <a:gd name="connsiteY23" fmla="*/ 467703 h 721392"/>
                    <a:gd name="connsiteX24" fmla="*/ 335 w 270502"/>
                    <a:gd name="connsiteY24" fmla="*/ 427937 h 721392"/>
                    <a:gd name="connsiteX25" fmla="*/ 20264 w 270502"/>
                    <a:gd name="connsiteY25" fmla="*/ 253359 h 721392"/>
                    <a:gd name="connsiteX26" fmla="*/ 96852 w 270502"/>
                    <a:gd name="connsiteY26" fmla="*/ 180349 h 721392"/>
                    <a:gd name="connsiteX27" fmla="*/ 135235 w 270502"/>
                    <a:gd name="connsiteY27" fmla="*/ 120232 h 721392"/>
                    <a:gd name="connsiteX28" fmla="*/ 135234 w 270502"/>
                    <a:gd name="connsiteY28" fmla="*/ 120232 h 721392"/>
                    <a:gd name="connsiteX29" fmla="*/ 135235 w 270502"/>
                    <a:gd name="connsiteY29" fmla="*/ 120232 h 721392"/>
                    <a:gd name="connsiteX30" fmla="*/ 135234 w 270502"/>
                    <a:gd name="connsiteY30" fmla="*/ 0 h 721392"/>
                    <a:gd name="connsiteX31" fmla="*/ 210379 w 270502"/>
                    <a:gd name="connsiteY31" fmla="*/ 75145 h 721392"/>
                    <a:gd name="connsiteX32" fmla="*/ 135234 w 270502"/>
                    <a:gd name="connsiteY32" fmla="*/ 150290 h 721392"/>
                    <a:gd name="connsiteX33" fmla="*/ 60089 w 270502"/>
                    <a:gd name="connsiteY33" fmla="*/ 75145 h 721392"/>
                    <a:gd name="connsiteX34" fmla="*/ 135234 w 270502"/>
                    <a:gd name="connsiteY34"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235419 w 270502"/>
                    <a:gd name="connsiteY8" fmla="*/ 447684 h 721392"/>
                    <a:gd name="connsiteX9" fmla="*/ 181404 w 270502"/>
                    <a:gd name="connsiteY9" fmla="*/ 691333 h 721392"/>
                    <a:gd name="connsiteX10" fmla="*/ 89097 w 270502"/>
                    <a:gd name="connsiteY10" fmla="*/ 691333 h 721392"/>
                    <a:gd name="connsiteX11" fmla="*/ 96852 w 270502"/>
                    <a:gd name="connsiteY11" fmla="*/ 180349 h 721392"/>
                    <a:gd name="connsiteX12" fmla="*/ 173589 w 270502"/>
                    <a:gd name="connsiteY12" fmla="*/ 180349 h 721392"/>
                    <a:gd name="connsiteX13" fmla="*/ 250238 w 270502"/>
                    <a:gd name="connsiteY13" fmla="*/ 253359 h 721392"/>
                    <a:gd name="connsiteX14" fmla="*/ 270166 w 270502"/>
                    <a:gd name="connsiteY14" fmla="*/ 427937 h 721392"/>
                    <a:gd name="connsiteX15" fmla="*/ 257782 w 270502"/>
                    <a:gd name="connsiteY15" fmla="*/ 467703 h 721392"/>
                    <a:gd name="connsiteX16" fmla="*/ 226913 w 270502"/>
                    <a:gd name="connsiteY16" fmla="*/ 482882 h 721392"/>
                    <a:gd name="connsiteX17" fmla="*/ 210320 w 270502"/>
                    <a:gd name="connsiteY17" fmla="*/ 707475 h 721392"/>
                    <a:gd name="connsiteX18" fmla="*/ 195351 w 270502"/>
                    <a:gd name="connsiteY18" fmla="*/ 721392 h 721392"/>
                    <a:gd name="connsiteX19" fmla="*/ 75119 w 270502"/>
                    <a:gd name="connsiteY19" fmla="*/ 721392 h 721392"/>
                    <a:gd name="connsiteX20" fmla="*/ 60151 w 270502"/>
                    <a:gd name="connsiteY20" fmla="*/ 707475 h 721392"/>
                    <a:gd name="connsiteX21" fmla="*/ 43558 w 270502"/>
                    <a:gd name="connsiteY21" fmla="*/ 482882 h 721392"/>
                    <a:gd name="connsiteX22" fmla="*/ 12689 w 270502"/>
                    <a:gd name="connsiteY22" fmla="*/ 467703 h 721392"/>
                    <a:gd name="connsiteX23" fmla="*/ 335 w 270502"/>
                    <a:gd name="connsiteY23" fmla="*/ 427937 h 721392"/>
                    <a:gd name="connsiteX24" fmla="*/ 20264 w 270502"/>
                    <a:gd name="connsiteY24" fmla="*/ 253359 h 721392"/>
                    <a:gd name="connsiteX25" fmla="*/ 96852 w 270502"/>
                    <a:gd name="connsiteY25" fmla="*/ 180349 h 721392"/>
                    <a:gd name="connsiteX26" fmla="*/ 135235 w 270502"/>
                    <a:gd name="connsiteY26" fmla="*/ 120232 h 721392"/>
                    <a:gd name="connsiteX27" fmla="*/ 135234 w 270502"/>
                    <a:gd name="connsiteY27" fmla="*/ 120232 h 721392"/>
                    <a:gd name="connsiteX28" fmla="*/ 135235 w 270502"/>
                    <a:gd name="connsiteY28" fmla="*/ 120232 h 721392"/>
                    <a:gd name="connsiteX29" fmla="*/ 135234 w 270502"/>
                    <a:gd name="connsiteY29" fmla="*/ 0 h 721392"/>
                    <a:gd name="connsiteX30" fmla="*/ 210379 w 270502"/>
                    <a:gd name="connsiteY30" fmla="*/ 75145 h 721392"/>
                    <a:gd name="connsiteX31" fmla="*/ 135234 w 270502"/>
                    <a:gd name="connsiteY31" fmla="*/ 150290 h 721392"/>
                    <a:gd name="connsiteX32" fmla="*/ 60089 w 270502"/>
                    <a:gd name="connsiteY32" fmla="*/ 75145 h 721392"/>
                    <a:gd name="connsiteX33" fmla="*/ 135234 w 270502"/>
                    <a:gd name="connsiteY33"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181404 w 270502"/>
                    <a:gd name="connsiteY8" fmla="*/ 691333 h 721392"/>
                    <a:gd name="connsiteX9" fmla="*/ 89097 w 270502"/>
                    <a:gd name="connsiteY9" fmla="*/ 691333 h 721392"/>
                    <a:gd name="connsiteX10" fmla="*/ 96852 w 270502"/>
                    <a:gd name="connsiteY10" fmla="*/ 180349 h 721392"/>
                    <a:gd name="connsiteX11" fmla="*/ 173589 w 270502"/>
                    <a:gd name="connsiteY11" fmla="*/ 180349 h 721392"/>
                    <a:gd name="connsiteX12" fmla="*/ 250238 w 270502"/>
                    <a:gd name="connsiteY12" fmla="*/ 253359 h 721392"/>
                    <a:gd name="connsiteX13" fmla="*/ 270166 w 270502"/>
                    <a:gd name="connsiteY13" fmla="*/ 427937 h 721392"/>
                    <a:gd name="connsiteX14" fmla="*/ 257782 w 270502"/>
                    <a:gd name="connsiteY14" fmla="*/ 467703 h 721392"/>
                    <a:gd name="connsiteX15" fmla="*/ 226913 w 270502"/>
                    <a:gd name="connsiteY15" fmla="*/ 482882 h 721392"/>
                    <a:gd name="connsiteX16" fmla="*/ 210320 w 270502"/>
                    <a:gd name="connsiteY16" fmla="*/ 707475 h 721392"/>
                    <a:gd name="connsiteX17" fmla="*/ 195351 w 270502"/>
                    <a:gd name="connsiteY17" fmla="*/ 721392 h 721392"/>
                    <a:gd name="connsiteX18" fmla="*/ 75119 w 270502"/>
                    <a:gd name="connsiteY18" fmla="*/ 721392 h 721392"/>
                    <a:gd name="connsiteX19" fmla="*/ 60151 w 270502"/>
                    <a:gd name="connsiteY19" fmla="*/ 707475 h 721392"/>
                    <a:gd name="connsiteX20" fmla="*/ 43558 w 270502"/>
                    <a:gd name="connsiteY20" fmla="*/ 482882 h 721392"/>
                    <a:gd name="connsiteX21" fmla="*/ 12689 w 270502"/>
                    <a:gd name="connsiteY21" fmla="*/ 467703 h 721392"/>
                    <a:gd name="connsiteX22" fmla="*/ 335 w 270502"/>
                    <a:gd name="connsiteY22" fmla="*/ 427937 h 721392"/>
                    <a:gd name="connsiteX23" fmla="*/ 20264 w 270502"/>
                    <a:gd name="connsiteY23" fmla="*/ 253359 h 721392"/>
                    <a:gd name="connsiteX24" fmla="*/ 96852 w 270502"/>
                    <a:gd name="connsiteY24" fmla="*/ 180349 h 721392"/>
                    <a:gd name="connsiteX25" fmla="*/ 135235 w 270502"/>
                    <a:gd name="connsiteY25" fmla="*/ 120232 h 721392"/>
                    <a:gd name="connsiteX26" fmla="*/ 135234 w 270502"/>
                    <a:gd name="connsiteY26" fmla="*/ 120232 h 721392"/>
                    <a:gd name="connsiteX27" fmla="*/ 135235 w 270502"/>
                    <a:gd name="connsiteY27" fmla="*/ 120232 h 721392"/>
                    <a:gd name="connsiteX28" fmla="*/ 135234 w 270502"/>
                    <a:gd name="connsiteY28" fmla="*/ 0 h 721392"/>
                    <a:gd name="connsiteX29" fmla="*/ 210379 w 270502"/>
                    <a:gd name="connsiteY29" fmla="*/ 75145 h 721392"/>
                    <a:gd name="connsiteX30" fmla="*/ 135234 w 270502"/>
                    <a:gd name="connsiteY30" fmla="*/ 150290 h 721392"/>
                    <a:gd name="connsiteX31" fmla="*/ 60089 w 270502"/>
                    <a:gd name="connsiteY31" fmla="*/ 75145 h 721392"/>
                    <a:gd name="connsiteX32" fmla="*/ 135234 w 270502"/>
                    <a:gd name="connsiteY32"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181404 w 270502"/>
                    <a:gd name="connsiteY7" fmla="*/ 691333 h 721392"/>
                    <a:gd name="connsiteX8" fmla="*/ 89097 w 270502"/>
                    <a:gd name="connsiteY8" fmla="*/ 691333 h 721392"/>
                    <a:gd name="connsiteX9" fmla="*/ 96852 w 270502"/>
                    <a:gd name="connsiteY9" fmla="*/ 180349 h 721392"/>
                    <a:gd name="connsiteX10" fmla="*/ 173589 w 270502"/>
                    <a:gd name="connsiteY10" fmla="*/ 180349 h 721392"/>
                    <a:gd name="connsiteX11" fmla="*/ 250238 w 270502"/>
                    <a:gd name="connsiteY11" fmla="*/ 253359 h 721392"/>
                    <a:gd name="connsiteX12" fmla="*/ 270166 w 270502"/>
                    <a:gd name="connsiteY12" fmla="*/ 427937 h 721392"/>
                    <a:gd name="connsiteX13" fmla="*/ 257782 w 270502"/>
                    <a:gd name="connsiteY13" fmla="*/ 467703 h 721392"/>
                    <a:gd name="connsiteX14" fmla="*/ 226913 w 270502"/>
                    <a:gd name="connsiteY14" fmla="*/ 482882 h 721392"/>
                    <a:gd name="connsiteX15" fmla="*/ 210320 w 270502"/>
                    <a:gd name="connsiteY15" fmla="*/ 707475 h 721392"/>
                    <a:gd name="connsiteX16" fmla="*/ 195351 w 270502"/>
                    <a:gd name="connsiteY16" fmla="*/ 721392 h 721392"/>
                    <a:gd name="connsiteX17" fmla="*/ 75119 w 270502"/>
                    <a:gd name="connsiteY17" fmla="*/ 721392 h 721392"/>
                    <a:gd name="connsiteX18" fmla="*/ 60151 w 270502"/>
                    <a:gd name="connsiteY18" fmla="*/ 707475 h 721392"/>
                    <a:gd name="connsiteX19" fmla="*/ 43558 w 270502"/>
                    <a:gd name="connsiteY19" fmla="*/ 482882 h 721392"/>
                    <a:gd name="connsiteX20" fmla="*/ 12689 w 270502"/>
                    <a:gd name="connsiteY20" fmla="*/ 467703 h 721392"/>
                    <a:gd name="connsiteX21" fmla="*/ 335 w 270502"/>
                    <a:gd name="connsiteY21" fmla="*/ 427937 h 721392"/>
                    <a:gd name="connsiteX22" fmla="*/ 20264 w 270502"/>
                    <a:gd name="connsiteY22" fmla="*/ 253359 h 721392"/>
                    <a:gd name="connsiteX23" fmla="*/ 96852 w 270502"/>
                    <a:gd name="connsiteY23" fmla="*/ 180349 h 721392"/>
                    <a:gd name="connsiteX24" fmla="*/ 135235 w 270502"/>
                    <a:gd name="connsiteY24" fmla="*/ 120232 h 721392"/>
                    <a:gd name="connsiteX25" fmla="*/ 135234 w 270502"/>
                    <a:gd name="connsiteY25" fmla="*/ 120232 h 721392"/>
                    <a:gd name="connsiteX26" fmla="*/ 135235 w 270502"/>
                    <a:gd name="connsiteY26" fmla="*/ 120232 h 721392"/>
                    <a:gd name="connsiteX27" fmla="*/ 135234 w 270502"/>
                    <a:gd name="connsiteY27" fmla="*/ 0 h 721392"/>
                    <a:gd name="connsiteX28" fmla="*/ 210379 w 270502"/>
                    <a:gd name="connsiteY28" fmla="*/ 75145 h 721392"/>
                    <a:gd name="connsiteX29" fmla="*/ 135234 w 270502"/>
                    <a:gd name="connsiteY29" fmla="*/ 150290 h 721392"/>
                    <a:gd name="connsiteX30" fmla="*/ 60089 w 270502"/>
                    <a:gd name="connsiteY30" fmla="*/ 75145 h 721392"/>
                    <a:gd name="connsiteX31" fmla="*/ 135234 w 270502"/>
                    <a:gd name="connsiteY31"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240348 w 270502"/>
                    <a:gd name="connsiteY5" fmla="*/ 431333 h 721392"/>
                    <a:gd name="connsiteX6" fmla="*/ 181404 w 270502"/>
                    <a:gd name="connsiteY6" fmla="*/ 691333 h 721392"/>
                    <a:gd name="connsiteX7" fmla="*/ 89097 w 270502"/>
                    <a:gd name="connsiteY7" fmla="*/ 691333 h 721392"/>
                    <a:gd name="connsiteX8" fmla="*/ 96852 w 270502"/>
                    <a:gd name="connsiteY8" fmla="*/ 180349 h 721392"/>
                    <a:gd name="connsiteX9" fmla="*/ 173589 w 270502"/>
                    <a:gd name="connsiteY9" fmla="*/ 180349 h 721392"/>
                    <a:gd name="connsiteX10" fmla="*/ 250238 w 270502"/>
                    <a:gd name="connsiteY10" fmla="*/ 253359 h 721392"/>
                    <a:gd name="connsiteX11" fmla="*/ 270166 w 270502"/>
                    <a:gd name="connsiteY11" fmla="*/ 427937 h 721392"/>
                    <a:gd name="connsiteX12" fmla="*/ 257782 w 270502"/>
                    <a:gd name="connsiteY12" fmla="*/ 467703 h 721392"/>
                    <a:gd name="connsiteX13" fmla="*/ 226913 w 270502"/>
                    <a:gd name="connsiteY13" fmla="*/ 482882 h 721392"/>
                    <a:gd name="connsiteX14" fmla="*/ 210320 w 270502"/>
                    <a:gd name="connsiteY14" fmla="*/ 707475 h 721392"/>
                    <a:gd name="connsiteX15" fmla="*/ 195351 w 270502"/>
                    <a:gd name="connsiteY15" fmla="*/ 721392 h 721392"/>
                    <a:gd name="connsiteX16" fmla="*/ 75119 w 270502"/>
                    <a:gd name="connsiteY16" fmla="*/ 721392 h 721392"/>
                    <a:gd name="connsiteX17" fmla="*/ 60151 w 270502"/>
                    <a:gd name="connsiteY17" fmla="*/ 707475 h 721392"/>
                    <a:gd name="connsiteX18" fmla="*/ 43558 w 270502"/>
                    <a:gd name="connsiteY18" fmla="*/ 482882 h 721392"/>
                    <a:gd name="connsiteX19" fmla="*/ 12689 w 270502"/>
                    <a:gd name="connsiteY19" fmla="*/ 467703 h 721392"/>
                    <a:gd name="connsiteX20" fmla="*/ 335 w 270502"/>
                    <a:gd name="connsiteY20" fmla="*/ 427937 h 721392"/>
                    <a:gd name="connsiteX21" fmla="*/ 20264 w 270502"/>
                    <a:gd name="connsiteY21" fmla="*/ 253359 h 721392"/>
                    <a:gd name="connsiteX22" fmla="*/ 96852 w 270502"/>
                    <a:gd name="connsiteY22" fmla="*/ 180349 h 721392"/>
                    <a:gd name="connsiteX23" fmla="*/ 135235 w 270502"/>
                    <a:gd name="connsiteY23" fmla="*/ 120232 h 721392"/>
                    <a:gd name="connsiteX24" fmla="*/ 135234 w 270502"/>
                    <a:gd name="connsiteY24" fmla="*/ 120232 h 721392"/>
                    <a:gd name="connsiteX25" fmla="*/ 135235 w 270502"/>
                    <a:gd name="connsiteY25" fmla="*/ 120232 h 721392"/>
                    <a:gd name="connsiteX26" fmla="*/ 135234 w 270502"/>
                    <a:gd name="connsiteY26" fmla="*/ 0 h 721392"/>
                    <a:gd name="connsiteX27" fmla="*/ 210379 w 270502"/>
                    <a:gd name="connsiteY27" fmla="*/ 75145 h 721392"/>
                    <a:gd name="connsiteX28" fmla="*/ 135234 w 270502"/>
                    <a:gd name="connsiteY28" fmla="*/ 150290 h 721392"/>
                    <a:gd name="connsiteX29" fmla="*/ 60089 w 270502"/>
                    <a:gd name="connsiteY29" fmla="*/ 75145 h 721392"/>
                    <a:gd name="connsiteX30" fmla="*/ 135234 w 270502"/>
                    <a:gd name="connsiteY30"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181404 w 270502"/>
                    <a:gd name="connsiteY5" fmla="*/ 691333 h 721392"/>
                    <a:gd name="connsiteX6" fmla="*/ 89097 w 270502"/>
                    <a:gd name="connsiteY6" fmla="*/ 691333 h 721392"/>
                    <a:gd name="connsiteX7" fmla="*/ 96852 w 270502"/>
                    <a:gd name="connsiteY7" fmla="*/ 180349 h 721392"/>
                    <a:gd name="connsiteX8" fmla="*/ 173589 w 270502"/>
                    <a:gd name="connsiteY8" fmla="*/ 180349 h 721392"/>
                    <a:gd name="connsiteX9" fmla="*/ 250238 w 270502"/>
                    <a:gd name="connsiteY9" fmla="*/ 253359 h 721392"/>
                    <a:gd name="connsiteX10" fmla="*/ 270166 w 270502"/>
                    <a:gd name="connsiteY10" fmla="*/ 427937 h 721392"/>
                    <a:gd name="connsiteX11" fmla="*/ 257782 w 270502"/>
                    <a:gd name="connsiteY11" fmla="*/ 467703 h 721392"/>
                    <a:gd name="connsiteX12" fmla="*/ 226913 w 270502"/>
                    <a:gd name="connsiteY12" fmla="*/ 482882 h 721392"/>
                    <a:gd name="connsiteX13" fmla="*/ 210320 w 270502"/>
                    <a:gd name="connsiteY13" fmla="*/ 707475 h 721392"/>
                    <a:gd name="connsiteX14" fmla="*/ 195351 w 270502"/>
                    <a:gd name="connsiteY14" fmla="*/ 721392 h 721392"/>
                    <a:gd name="connsiteX15" fmla="*/ 75119 w 270502"/>
                    <a:gd name="connsiteY15" fmla="*/ 721392 h 721392"/>
                    <a:gd name="connsiteX16" fmla="*/ 60151 w 270502"/>
                    <a:gd name="connsiteY16" fmla="*/ 707475 h 721392"/>
                    <a:gd name="connsiteX17" fmla="*/ 43558 w 270502"/>
                    <a:gd name="connsiteY17" fmla="*/ 482882 h 721392"/>
                    <a:gd name="connsiteX18" fmla="*/ 12689 w 270502"/>
                    <a:gd name="connsiteY18" fmla="*/ 467703 h 721392"/>
                    <a:gd name="connsiteX19" fmla="*/ 335 w 270502"/>
                    <a:gd name="connsiteY19" fmla="*/ 427937 h 721392"/>
                    <a:gd name="connsiteX20" fmla="*/ 20264 w 270502"/>
                    <a:gd name="connsiteY20" fmla="*/ 253359 h 721392"/>
                    <a:gd name="connsiteX21" fmla="*/ 96852 w 270502"/>
                    <a:gd name="connsiteY21" fmla="*/ 180349 h 721392"/>
                    <a:gd name="connsiteX22" fmla="*/ 135235 w 270502"/>
                    <a:gd name="connsiteY22" fmla="*/ 120232 h 721392"/>
                    <a:gd name="connsiteX23" fmla="*/ 135234 w 270502"/>
                    <a:gd name="connsiteY23" fmla="*/ 120232 h 721392"/>
                    <a:gd name="connsiteX24" fmla="*/ 135235 w 270502"/>
                    <a:gd name="connsiteY24" fmla="*/ 120232 h 721392"/>
                    <a:gd name="connsiteX25" fmla="*/ 135234 w 270502"/>
                    <a:gd name="connsiteY25" fmla="*/ 0 h 721392"/>
                    <a:gd name="connsiteX26" fmla="*/ 210379 w 270502"/>
                    <a:gd name="connsiteY26" fmla="*/ 75145 h 721392"/>
                    <a:gd name="connsiteX27" fmla="*/ 135234 w 270502"/>
                    <a:gd name="connsiteY27" fmla="*/ 150290 h 721392"/>
                    <a:gd name="connsiteX28" fmla="*/ 60089 w 270502"/>
                    <a:gd name="connsiteY28" fmla="*/ 75145 h 721392"/>
                    <a:gd name="connsiteX29" fmla="*/ 135234 w 270502"/>
                    <a:gd name="connsiteY29"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181404 w 270502"/>
                    <a:gd name="connsiteY4" fmla="*/ 691333 h 721392"/>
                    <a:gd name="connsiteX5" fmla="*/ 89097 w 270502"/>
                    <a:gd name="connsiteY5" fmla="*/ 691333 h 721392"/>
                    <a:gd name="connsiteX6" fmla="*/ 96852 w 270502"/>
                    <a:gd name="connsiteY6" fmla="*/ 180349 h 721392"/>
                    <a:gd name="connsiteX7" fmla="*/ 173589 w 270502"/>
                    <a:gd name="connsiteY7" fmla="*/ 180349 h 721392"/>
                    <a:gd name="connsiteX8" fmla="*/ 250238 w 270502"/>
                    <a:gd name="connsiteY8" fmla="*/ 253359 h 721392"/>
                    <a:gd name="connsiteX9" fmla="*/ 270166 w 270502"/>
                    <a:gd name="connsiteY9" fmla="*/ 427937 h 721392"/>
                    <a:gd name="connsiteX10" fmla="*/ 257782 w 270502"/>
                    <a:gd name="connsiteY10" fmla="*/ 467703 h 721392"/>
                    <a:gd name="connsiteX11" fmla="*/ 226913 w 270502"/>
                    <a:gd name="connsiteY11" fmla="*/ 482882 h 721392"/>
                    <a:gd name="connsiteX12" fmla="*/ 210320 w 270502"/>
                    <a:gd name="connsiteY12" fmla="*/ 707475 h 721392"/>
                    <a:gd name="connsiteX13" fmla="*/ 195351 w 270502"/>
                    <a:gd name="connsiteY13" fmla="*/ 721392 h 721392"/>
                    <a:gd name="connsiteX14" fmla="*/ 75119 w 270502"/>
                    <a:gd name="connsiteY14" fmla="*/ 721392 h 721392"/>
                    <a:gd name="connsiteX15" fmla="*/ 60151 w 270502"/>
                    <a:gd name="connsiteY15" fmla="*/ 707475 h 721392"/>
                    <a:gd name="connsiteX16" fmla="*/ 43558 w 270502"/>
                    <a:gd name="connsiteY16" fmla="*/ 482882 h 721392"/>
                    <a:gd name="connsiteX17" fmla="*/ 12689 w 270502"/>
                    <a:gd name="connsiteY17" fmla="*/ 467703 h 721392"/>
                    <a:gd name="connsiteX18" fmla="*/ 335 w 270502"/>
                    <a:gd name="connsiteY18" fmla="*/ 427937 h 721392"/>
                    <a:gd name="connsiteX19" fmla="*/ 20264 w 270502"/>
                    <a:gd name="connsiteY19" fmla="*/ 253359 h 721392"/>
                    <a:gd name="connsiteX20" fmla="*/ 96852 w 270502"/>
                    <a:gd name="connsiteY20" fmla="*/ 180349 h 721392"/>
                    <a:gd name="connsiteX21" fmla="*/ 135235 w 270502"/>
                    <a:gd name="connsiteY21" fmla="*/ 120232 h 721392"/>
                    <a:gd name="connsiteX22" fmla="*/ 135234 w 270502"/>
                    <a:gd name="connsiteY22" fmla="*/ 120232 h 721392"/>
                    <a:gd name="connsiteX23" fmla="*/ 135235 w 270502"/>
                    <a:gd name="connsiteY23" fmla="*/ 120232 h 721392"/>
                    <a:gd name="connsiteX24" fmla="*/ 135234 w 270502"/>
                    <a:gd name="connsiteY24" fmla="*/ 0 h 721392"/>
                    <a:gd name="connsiteX25" fmla="*/ 210379 w 270502"/>
                    <a:gd name="connsiteY25" fmla="*/ 75145 h 721392"/>
                    <a:gd name="connsiteX26" fmla="*/ 135234 w 270502"/>
                    <a:gd name="connsiteY26" fmla="*/ 150290 h 721392"/>
                    <a:gd name="connsiteX27" fmla="*/ 60089 w 270502"/>
                    <a:gd name="connsiteY27" fmla="*/ 75145 h 721392"/>
                    <a:gd name="connsiteX28" fmla="*/ 135234 w 270502"/>
                    <a:gd name="connsiteY2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81404 w 270502"/>
                    <a:gd name="connsiteY3" fmla="*/ 691333 h 721392"/>
                    <a:gd name="connsiteX4" fmla="*/ 89097 w 270502"/>
                    <a:gd name="connsiteY4" fmla="*/ 691333 h 721392"/>
                    <a:gd name="connsiteX5" fmla="*/ 96852 w 270502"/>
                    <a:gd name="connsiteY5" fmla="*/ 180349 h 721392"/>
                    <a:gd name="connsiteX6" fmla="*/ 173589 w 270502"/>
                    <a:gd name="connsiteY6" fmla="*/ 180349 h 721392"/>
                    <a:gd name="connsiteX7" fmla="*/ 250238 w 270502"/>
                    <a:gd name="connsiteY7" fmla="*/ 253359 h 721392"/>
                    <a:gd name="connsiteX8" fmla="*/ 270166 w 270502"/>
                    <a:gd name="connsiteY8" fmla="*/ 427937 h 721392"/>
                    <a:gd name="connsiteX9" fmla="*/ 257782 w 270502"/>
                    <a:gd name="connsiteY9" fmla="*/ 467703 h 721392"/>
                    <a:gd name="connsiteX10" fmla="*/ 226913 w 270502"/>
                    <a:gd name="connsiteY10" fmla="*/ 482882 h 721392"/>
                    <a:gd name="connsiteX11" fmla="*/ 210320 w 270502"/>
                    <a:gd name="connsiteY11" fmla="*/ 707475 h 721392"/>
                    <a:gd name="connsiteX12" fmla="*/ 195351 w 270502"/>
                    <a:gd name="connsiteY12" fmla="*/ 721392 h 721392"/>
                    <a:gd name="connsiteX13" fmla="*/ 75119 w 270502"/>
                    <a:gd name="connsiteY13" fmla="*/ 721392 h 721392"/>
                    <a:gd name="connsiteX14" fmla="*/ 60151 w 270502"/>
                    <a:gd name="connsiteY14" fmla="*/ 707475 h 721392"/>
                    <a:gd name="connsiteX15" fmla="*/ 43558 w 270502"/>
                    <a:gd name="connsiteY15" fmla="*/ 482882 h 721392"/>
                    <a:gd name="connsiteX16" fmla="*/ 12689 w 270502"/>
                    <a:gd name="connsiteY16" fmla="*/ 467703 h 721392"/>
                    <a:gd name="connsiteX17" fmla="*/ 335 w 270502"/>
                    <a:gd name="connsiteY17" fmla="*/ 427937 h 721392"/>
                    <a:gd name="connsiteX18" fmla="*/ 20264 w 270502"/>
                    <a:gd name="connsiteY18" fmla="*/ 253359 h 721392"/>
                    <a:gd name="connsiteX19" fmla="*/ 96852 w 270502"/>
                    <a:gd name="connsiteY19" fmla="*/ 180349 h 721392"/>
                    <a:gd name="connsiteX20" fmla="*/ 135235 w 270502"/>
                    <a:gd name="connsiteY20" fmla="*/ 120232 h 721392"/>
                    <a:gd name="connsiteX21" fmla="*/ 135234 w 270502"/>
                    <a:gd name="connsiteY21" fmla="*/ 120232 h 721392"/>
                    <a:gd name="connsiteX22" fmla="*/ 135235 w 270502"/>
                    <a:gd name="connsiteY22" fmla="*/ 120232 h 721392"/>
                    <a:gd name="connsiteX23" fmla="*/ 135234 w 270502"/>
                    <a:gd name="connsiteY23" fmla="*/ 0 h 721392"/>
                    <a:gd name="connsiteX24" fmla="*/ 210379 w 270502"/>
                    <a:gd name="connsiteY24" fmla="*/ 75145 h 721392"/>
                    <a:gd name="connsiteX25" fmla="*/ 135234 w 270502"/>
                    <a:gd name="connsiteY25" fmla="*/ 150290 h 721392"/>
                    <a:gd name="connsiteX26" fmla="*/ 60089 w 270502"/>
                    <a:gd name="connsiteY26" fmla="*/ 75145 h 721392"/>
                    <a:gd name="connsiteX27" fmla="*/ 135234 w 270502"/>
                    <a:gd name="connsiteY2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89097 w 270502"/>
                    <a:gd name="connsiteY3" fmla="*/ 691333 h 721392"/>
                    <a:gd name="connsiteX4" fmla="*/ 96852 w 270502"/>
                    <a:gd name="connsiteY4" fmla="*/ 180349 h 721392"/>
                    <a:gd name="connsiteX5" fmla="*/ 173589 w 270502"/>
                    <a:gd name="connsiteY5" fmla="*/ 180349 h 721392"/>
                    <a:gd name="connsiteX6" fmla="*/ 250238 w 270502"/>
                    <a:gd name="connsiteY6" fmla="*/ 253359 h 721392"/>
                    <a:gd name="connsiteX7" fmla="*/ 270166 w 270502"/>
                    <a:gd name="connsiteY7" fmla="*/ 427937 h 721392"/>
                    <a:gd name="connsiteX8" fmla="*/ 257782 w 270502"/>
                    <a:gd name="connsiteY8" fmla="*/ 467703 h 721392"/>
                    <a:gd name="connsiteX9" fmla="*/ 226913 w 270502"/>
                    <a:gd name="connsiteY9" fmla="*/ 482882 h 721392"/>
                    <a:gd name="connsiteX10" fmla="*/ 210320 w 270502"/>
                    <a:gd name="connsiteY10" fmla="*/ 707475 h 721392"/>
                    <a:gd name="connsiteX11" fmla="*/ 195351 w 270502"/>
                    <a:gd name="connsiteY11" fmla="*/ 721392 h 721392"/>
                    <a:gd name="connsiteX12" fmla="*/ 75119 w 270502"/>
                    <a:gd name="connsiteY12" fmla="*/ 721392 h 721392"/>
                    <a:gd name="connsiteX13" fmla="*/ 60151 w 270502"/>
                    <a:gd name="connsiteY13" fmla="*/ 707475 h 721392"/>
                    <a:gd name="connsiteX14" fmla="*/ 43558 w 270502"/>
                    <a:gd name="connsiteY14" fmla="*/ 482882 h 721392"/>
                    <a:gd name="connsiteX15" fmla="*/ 12689 w 270502"/>
                    <a:gd name="connsiteY15" fmla="*/ 467703 h 721392"/>
                    <a:gd name="connsiteX16" fmla="*/ 335 w 270502"/>
                    <a:gd name="connsiteY16" fmla="*/ 427937 h 721392"/>
                    <a:gd name="connsiteX17" fmla="*/ 20264 w 270502"/>
                    <a:gd name="connsiteY17" fmla="*/ 253359 h 721392"/>
                    <a:gd name="connsiteX18" fmla="*/ 96852 w 270502"/>
                    <a:gd name="connsiteY18" fmla="*/ 180349 h 721392"/>
                    <a:gd name="connsiteX19" fmla="*/ 135235 w 270502"/>
                    <a:gd name="connsiteY19" fmla="*/ 120232 h 721392"/>
                    <a:gd name="connsiteX20" fmla="*/ 135234 w 270502"/>
                    <a:gd name="connsiteY20" fmla="*/ 120232 h 721392"/>
                    <a:gd name="connsiteX21" fmla="*/ 135235 w 270502"/>
                    <a:gd name="connsiteY21" fmla="*/ 120232 h 721392"/>
                    <a:gd name="connsiteX22" fmla="*/ 135234 w 270502"/>
                    <a:gd name="connsiteY22" fmla="*/ 0 h 721392"/>
                    <a:gd name="connsiteX23" fmla="*/ 210379 w 270502"/>
                    <a:gd name="connsiteY23" fmla="*/ 75145 h 721392"/>
                    <a:gd name="connsiteX24" fmla="*/ 135234 w 270502"/>
                    <a:gd name="connsiteY24" fmla="*/ 150290 h 721392"/>
                    <a:gd name="connsiteX25" fmla="*/ 60089 w 270502"/>
                    <a:gd name="connsiteY25" fmla="*/ 75145 h 721392"/>
                    <a:gd name="connsiteX26" fmla="*/ 135234 w 270502"/>
                    <a:gd name="connsiteY26" fmla="*/ 0 h 721392"/>
                    <a:gd name="connsiteX0" fmla="*/ 89097 w 270502"/>
                    <a:gd name="connsiteY0" fmla="*/ 691333 h 721392"/>
                    <a:gd name="connsiteX1" fmla="*/ 89097 w 270502"/>
                    <a:gd name="connsiteY1" fmla="*/ 691334 h 721392"/>
                    <a:gd name="connsiteX2" fmla="*/ 89097 w 270502"/>
                    <a:gd name="connsiteY2" fmla="*/ 691333 h 721392"/>
                    <a:gd name="connsiteX3" fmla="*/ 96852 w 270502"/>
                    <a:gd name="connsiteY3" fmla="*/ 180349 h 721392"/>
                    <a:gd name="connsiteX4" fmla="*/ 173589 w 270502"/>
                    <a:gd name="connsiteY4" fmla="*/ 180349 h 721392"/>
                    <a:gd name="connsiteX5" fmla="*/ 250238 w 270502"/>
                    <a:gd name="connsiteY5" fmla="*/ 253359 h 721392"/>
                    <a:gd name="connsiteX6" fmla="*/ 270166 w 270502"/>
                    <a:gd name="connsiteY6" fmla="*/ 427937 h 721392"/>
                    <a:gd name="connsiteX7" fmla="*/ 257782 w 270502"/>
                    <a:gd name="connsiteY7" fmla="*/ 467703 h 721392"/>
                    <a:gd name="connsiteX8" fmla="*/ 226913 w 270502"/>
                    <a:gd name="connsiteY8" fmla="*/ 482882 h 721392"/>
                    <a:gd name="connsiteX9" fmla="*/ 210320 w 270502"/>
                    <a:gd name="connsiteY9" fmla="*/ 707475 h 721392"/>
                    <a:gd name="connsiteX10" fmla="*/ 195351 w 270502"/>
                    <a:gd name="connsiteY10" fmla="*/ 721392 h 721392"/>
                    <a:gd name="connsiteX11" fmla="*/ 75119 w 270502"/>
                    <a:gd name="connsiteY11" fmla="*/ 721392 h 721392"/>
                    <a:gd name="connsiteX12" fmla="*/ 60151 w 270502"/>
                    <a:gd name="connsiteY12" fmla="*/ 707475 h 721392"/>
                    <a:gd name="connsiteX13" fmla="*/ 43558 w 270502"/>
                    <a:gd name="connsiteY13" fmla="*/ 482882 h 721392"/>
                    <a:gd name="connsiteX14" fmla="*/ 12689 w 270502"/>
                    <a:gd name="connsiteY14" fmla="*/ 467703 h 721392"/>
                    <a:gd name="connsiteX15" fmla="*/ 335 w 270502"/>
                    <a:gd name="connsiteY15" fmla="*/ 427937 h 721392"/>
                    <a:gd name="connsiteX16" fmla="*/ 20264 w 270502"/>
                    <a:gd name="connsiteY16" fmla="*/ 253359 h 721392"/>
                    <a:gd name="connsiteX17" fmla="*/ 96852 w 270502"/>
                    <a:gd name="connsiteY17" fmla="*/ 180349 h 721392"/>
                    <a:gd name="connsiteX18" fmla="*/ 135235 w 270502"/>
                    <a:gd name="connsiteY18" fmla="*/ 120232 h 721392"/>
                    <a:gd name="connsiteX19" fmla="*/ 135234 w 270502"/>
                    <a:gd name="connsiteY19" fmla="*/ 120232 h 721392"/>
                    <a:gd name="connsiteX20" fmla="*/ 135235 w 270502"/>
                    <a:gd name="connsiteY20" fmla="*/ 120232 h 721392"/>
                    <a:gd name="connsiteX21" fmla="*/ 135234 w 270502"/>
                    <a:gd name="connsiteY21" fmla="*/ 0 h 721392"/>
                    <a:gd name="connsiteX22" fmla="*/ 210379 w 270502"/>
                    <a:gd name="connsiteY22" fmla="*/ 75145 h 721392"/>
                    <a:gd name="connsiteX23" fmla="*/ 135234 w 270502"/>
                    <a:gd name="connsiteY23" fmla="*/ 150290 h 721392"/>
                    <a:gd name="connsiteX24" fmla="*/ 60089 w 270502"/>
                    <a:gd name="connsiteY24" fmla="*/ 75145 h 721392"/>
                    <a:gd name="connsiteX25" fmla="*/ 135234 w 270502"/>
                    <a:gd name="connsiteY25"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5 w 270502"/>
                    <a:gd name="connsiteY15" fmla="*/ 120232 h 721392"/>
                    <a:gd name="connsiteX16" fmla="*/ 135234 w 270502"/>
                    <a:gd name="connsiteY16" fmla="*/ 120232 h 721392"/>
                    <a:gd name="connsiteX17" fmla="*/ 135235 w 270502"/>
                    <a:gd name="connsiteY17" fmla="*/ 120232 h 721392"/>
                    <a:gd name="connsiteX18" fmla="*/ 135234 w 270502"/>
                    <a:gd name="connsiteY18" fmla="*/ 0 h 721392"/>
                    <a:gd name="connsiteX19" fmla="*/ 210379 w 270502"/>
                    <a:gd name="connsiteY19" fmla="*/ 75145 h 721392"/>
                    <a:gd name="connsiteX20" fmla="*/ 135234 w 270502"/>
                    <a:gd name="connsiteY20" fmla="*/ 150290 h 721392"/>
                    <a:gd name="connsiteX21" fmla="*/ 60089 w 270502"/>
                    <a:gd name="connsiteY21" fmla="*/ 75145 h 721392"/>
                    <a:gd name="connsiteX22" fmla="*/ 135234 w 270502"/>
                    <a:gd name="connsiteY22"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4 w 270502"/>
                    <a:gd name="connsiteY15" fmla="*/ 0 h 721392"/>
                    <a:gd name="connsiteX16" fmla="*/ 210379 w 270502"/>
                    <a:gd name="connsiteY16" fmla="*/ 75145 h 721392"/>
                    <a:gd name="connsiteX17" fmla="*/ 135234 w 270502"/>
                    <a:gd name="connsiteY17" fmla="*/ 150290 h 721392"/>
                    <a:gd name="connsiteX18" fmla="*/ 60089 w 270502"/>
                    <a:gd name="connsiteY18" fmla="*/ 75145 h 721392"/>
                    <a:gd name="connsiteX19" fmla="*/ 135234 w 270502"/>
                    <a:gd name="connsiteY19" fmla="*/ 0 h 72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0502" h="721392">
                      <a:moveTo>
                        <a:pt x="96852" y="180349"/>
                      </a:moveTo>
                      <a:lnTo>
                        <a:pt x="173589" y="180349"/>
                      </a:lnTo>
                      <a:cubicBezTo>
                        <a:pt x="212545" y="180349"/>
                        <a:pt x="245518" y="211730"/>
                        <a:pt x="250238" y="253359"/>
                      </a:cubicBezTo>
                      <a:lnTo>
                        <a:pt x="270166" y="427937"/>
                      </a:lnTo>
                      <a:cubicBezTo>
                        <a:pt x="271819" y="442545"/>
                        <a:pt x="267341" y="457033"/>
                        <a:pt x="257782" y="467703"/>
                      </a:cubicBezTo>
                      <a:cubicBezTo>
                        <a:pt x="249576" y="476901"/>
                        <a:pt x="238695" y="482221"/>
                        <a:pt x="226913" y="482882"/>
                      </a:cubicBezTo>
                      <a:lnTo>
                        <a:pt x="210320" y="707475"/>
                      </a:lnTo>
                      <a:cubicBezTo>
                        <a:pt x="209779" y="715320"/>
                        <a:pt x="203227" y="721392"/>
                        <a:pt x="195351" y="721392"/>
                      </a:cubicBezTo>
                      <a:lnTo>
                        <a:pt x="75119" y="721392"/>
                      </a:lnTo>
                      <a:cubicBezTo>
                        <a:pt x="67274" y="721392"/>
                        <a:pt x="60722" y="715320"/>
                        <a:pt x="60151" y="707475"/>
                      </a:cubicBezTo>
                      <a:lnTo>
                        <a:pt x="43558" y="482882"/>
                      </a:lnTo>
                      <a:cubicBezTo>
                        <a:pt x="31746" y="482221"/>
                        <a:pt x="20895" y="476870"/>
                        <a:pt x="12689" y="467703"/>
                      </a:cubicBezTo>
                      <a:cubicBezTo>
                        <a:pt x="3191" y="457062"/>
                        <a:pt x="-1318" y="442545"/>
                        <a:pt x="335" y="427937"/>
                      </a:cubicBezTo>
                      <a:lnTo>
                        <a:pt x="20264" y="253359"/>
                      </a:lnTo>
                      <a:cubicBezTo>
                        <a:pt x="25013" y="211730"/>
                        <a:pt x="57957" y="180349"/>
                        <a:pt x="96852" y="180349"/>
                      </a:cubicBezTo>
                      <a:close/>
                      <a:moveTo>
                        <a:pt x="135234" y="0"/>
                      </a:moveTo>
                      <a:cubicBezTo>
                        <a:pt x="176684" y="0"/>
                        <a:pt x="210379" y="33725"/>
                        <a:pt x="210379" y="75145"/>
                      </a:cubicBezTo>
                      <a:cubicBezTo>
                        <a:pt x="210379" y="116565"/>
                        <a:pt x="176655" y="150290"/>
                        <a:pt x="135234" y="150290"/>
                      </a:cubicBezTo>
                      <a:cubicBezTo>
                        <a:pt x="93814" y="150290"/>
                        <a:pt x="60089" y="116565"/>
                        <a:pt x="60089" y="75145"/>
                      </a:cubicBezTo>
                      <a:cubicBezTo>
                        <a:pt x="60089" y="33725"/>
                        <a:pt x="93814" y="0"/>
                        <a:pt x="135234" y="0"/>
                      </a:cubicBezTo>
                      <a:close/>
                    </a:path>
                  </a:pathLst>
                </a:custGeom>
                <a:solidFill>
                  <a:schemeClr val="bg1">
                    <a:lumMod val="85000"/>
                  </a:schemeClr>
                </a:soli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noProof="0">
                    <a:solidFill>
                      <a:schemeClr val="tx1"/>
                    </a:solidFill>
                  </a:endParaRPr>
                </a:p>
              </p:txBody>
            </p:sp>
            <p:sp>
              <p:nvSpPr>
                <p:cNvPr id="14" name="Oval 13">
                  <a:extLst>
                    <a:ext uri="{FF2B5EF4-FFF2-40B4-BE49-F238E27FC236}">
                      <a16:creationId xmlns:a16="http://schemas.microsoft.com/office/drawing/2014/main" id="{F30BA0BF-BC80-13B1-0AB9-11E1F9CB5FA9}"/>
                    </a:ext>
                  </a:extLst>
                </p:cNvPr>
                <p:cNvSpPr/>
                <p:nvPr/>
              </p:nvSpPr>
              <p:spPr>
                <a:xfrm>
                  <a:off x="8983530" y="4074364"/>
                  <a:ext cx="309454" cy="309454"/>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7" name="Freeform 26">
                  <a:extLst>
                    <a:ext uri="{FF2B5EF4-FFF2-40B4-BE49-F238E27FC236}">
                      <a16:creationId xmlns:a16="http://schemas.microsoft.com/office/drawing/2014/main" id="{24F92DE3-0CEF-CCBD-8A3C-3C34998ABE25}"/>
                    </a:ext>
                  </a:extLst>
                </p:cNvPr>
                <p:cNvSpPr/>
                <p:nvPr/>
              </p:nvSpPr>
              <p:spPr>
                <a:xfrm>
                  <a:off x="9120057" y="4080064"/>
                  <a:ext cx="172927" cy="302626"/>
                </a:xfrm>
                <a:custGeom>
                  <a:avLst/>
                  <a:gdLst>
                    <a:gd name="connsiteX0" fmla="*/ 46431 w 172927"/>
                    <a:gd name="connsiteY0" fmla="*/ 0 h 302626"/>
                    <a:gd name="connsiteX1" fmla="*/ 78427 w 172927"/>
                    <a:gd name="connsiteY1" fmla="*/ 6459 h 302626"/>
                    <a:gd name="connsiteX2" fmla="*/ 172927 w 172927"/>
                    <a:gd name="connsiteY2" fmla="*/ 149027 h 302626"/>
                    <a:gd name="connsiteX3" fmla="*/ 78427 w 172927"/>
                    <a:gd name="connsiteY3" fmla="*/ 291595 h 302626"/>
                    <a:gd name="connsiteX4" fmla="*/ 23787 w 172927"/>
                    <a:gd name="connsiteY4" fmla="*/ 302626 h 302626"/>
                    <a:gd name="connsiteX5" fmla="*/ 14435 w 172927"/>
                    <a:gd name="connsiteY5" fmla="*/ 295468 h 302626"/>
                    <a:gd name="connsiteX6" fmla="*/ 381 w 172927"/>
                    <a:gd name="connsiteY6" fmla="*/ 250230 h 302626"/>
                    <a:gd name="connsiteX7" fmla="*/ 23052 w 172927"/>
                    <a:gd name="connsiteY7" fmla="*/ 51631 h 302626"/>
                    <a:gd name="connsiteX8" fmla="*/ 32723 w 172927"/>
                    <a:gd name="connsiteY8" fmla="*/ 18675 h 302626"/>
                    <a:gd name="connsiteX9" fmla="*/ 46431 w 172927"/>
                    <a:gd name="connsiteY9" fmla="*/ 0 h 30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27" h="302626">
                      <a:moveTo>
                        <a:pt x="46431" y="0"/>
                      </a:moveTo>
                      <a:lnTo>
                        <a:pt x="78427" y="6459"/>
                      </a:lnTo>
                      <a:cubicBezTo>
                        <a:pt x="133960" y="29948"/>
                        <a:pt x="172927" y="84937"/>
                        <a:pt x="172927" y="149027"/>
                      </a:cubicBezTo>
                      <a:cubicBezTo>
                        <a:pt x="172927" y="213117"/>
                        <a:pt x="133960" y="268106"/>
                        <a:pt x="78427" y="291595"/>
                      </a:cubicBezTo>
                      <a:lnTo>
                        <a:pt x="23787" y="302626"/>
                      </a:lnTo>
                      <a:lnTo>
                        <a:pt x="14435" y="295468"/>
                      </a:lnTo>
                      <a:cubicBezTo>
                        <a:pt x="3630" y="283362"/>
                        <a:pt x="-1499" y="266848"/>
                        <a:pt x="381" y="250230"/>
                      </a:cubicBezTo>
                      <a:lnTo>
                        <a:pt x="23052" y="51631"/>
                      </a:lnTo>
                      <a:cubicBezTo>
                        <a:pt x="24403" y="39792"/>
                        <a:pt x="27758" y="28682"/>
                        <a:pt x="32723" y="18675"/>
                      </a:cubicBezTo>
                      <a:lnTo>
                        <a:pt x="46431" y="0"/>
                      </a:lnTo>
                      <a:close/>
                    </a:path>
                  </a:pathLst>
                </a:custGeom>
                <a:solidFill>
                  <a:schemeClr val="accent5"/>
                </a:soli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noProof="0">
                    <a:solidFill>
                      <a:schemeClr val="tx1"/>
                    </a:solidFill>
                  </a:endParaRPr>
                </a:p>
              </p:txBody>
            </p:sp>
            <p:sp>
              <p:nvSpPr>
                <p:cNvPr id="28" name="Graphic 3493">
                  <a:extLst>
                    <a:ext uri="{FF2B5EF4-FFF2-40B4-BE49-F238E27FC236}">
                      <a16:creationId xmlns:a16="http://schemas.microsoft.com/office/drawing/2014/main" id="{26413B6A-FA22-770F-D184-BB90A6C659AA}"/>
                    </a:ext>
                  </a:extLst>
                </p:cNvPr>
                <p:cNvSpPr/>
                <p:nvPr/>
              </p:nvSpPr>
              <p:spPr>
                <a:xfrm flipH="1">
                  <a:off x="8937091" y="4027700"/>
                  <a:ext cx="636436" cy="636426"/>
                </a:xfrm>
                <a:custGeom>
                  <a:avLst/>
                  <a:gdLst>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15254 w 1079629"/>
                    <a:gd name="connsiteY13" fmla="*/ 314410 h 1276592"/>
                    <a:gd name="connsiteX14" fmla="*/ 962197 w 1079629"/>
                    <a:gd name="connsiteY14" fmla="*/ 314416 h 1276592"/>
                    <a:gd name="connsiteX15" fmla="*/ 962197 w 1079629"/>
                    <a:gd name="connsiteY15" fmla="*/ 761353 h 1276592"/>
                    <a:gd name="connsiteX16" fmla="*/ 515254 w 1079629"/>
                    <a:gd name="connsiteY16" fmla="*/ 761353 h 1276592"/>
                    <a:gd name="connsiteX17" fmla="*/ 515254 w 1079629"/>
                    <a:gd name="connsiteY17" fmla="*/ 314410 h 1276592"/>
                    <a:gd name="connsiteX18" fmla="*/ 476495 w 1079629"/>
                    <a:gd name="connsiteY18" fmla="*/ 755879 h 1276592"/>
                    <a:gd name="connsiteX19" fmla="*/ 520725 w 1079629"/>
                    <a:gd name="connsiteY19" fmla="*/ 800112 h 1276592"/>
                    <a:gd name="connsiteX20" fmla="*/ 485729 w 1079629"/>
                    <a:gd name="connsiteY20" fmla="*/ 835108 h 1276592"/>
                    <a:gd name="connsiteX21" fmla="*/ 441497 w 1079629"/>
                    <a:gd name="connsiteY21" fmla="*/ 790876 h 1276592"/>
                    <a:gd name="connsiteX22" fmla="*/ 45632 w 1079629"/>
                    <a:gd name="connsiteY22" fmla="*/ 1110210 h 1276592"/>
                    <a:gd name="connsiteX23" fmla="*/ 365231 w 1079629"/>
                    <a:gd name="connsiteY23" fmla="*/ 824183 h 1276592"/>
                    <a:gd name="connsiteX24" fmla="*/ 452424 w 1079629"/>
                    <a:gd name="connsiteY24" fmla="*/ 911376 h 1276592"/>
                    <a:gd name="connsiteX25" fmla="*/ 166397 w 1079629"/>
                    <a:gd name="connsiteY25" fmla="*/ 1230975 h 1276592"/>
                    <a:gd name="connsiteX26" fmla="*/ 76717 w 1079629"/>
                    <a:gd name="connsiteY26" fmla="*/ 1233463 h 1276592"/>
                    <a:gd name="connsiteX27" fmla="*/ 43144 w 1079629"/>
                    <a:gd name="connsiteY27" fmla="*/ 1199890 h 1276592"/>
                    <a:gd name="connsiteX28" fmla="*/ 45632 w 1079629"/>
                    <a:gd name="connsiteY28" fmla="*/ 1110210 h 1276592"/>
                    <a:gd name="connsiteX29" fmla="*/ 922345 w 1079629"/>
                    <a:gd name="connsiteY29" fmla="*/ 721509 h 1276592"/>
                    <a:gd name="connsiteX30" fmla="*/ 922345 w 1079629"/>
                    <a:gd name="connsiteY30" fmla="*/ 354260 h 1276592"/>
                    <a:gd name="connsiteX31" fmla="*/ 555095 w 1079629"/>
                    <a:gd name="connsiteY31" fmla="*/ 354260 h 1276592"/>
                    <a:gd name="connsiteX32" fmla="*/ 555095 w 1079629"/>
                    <a:gd name="connsiteY32" fmla="*/ 721509 h 1276592"/>
                    <a:gd name="connsiteX33" fmla="*/ 922345 w 1079629"/>
                    <a:gd name="connsiteY33" fmla="*/ 721509 h 1276592"/>
                    <a:gd name="connsiteX34" fmla="*/ 572794 w 1079629"/>
                    <a:gd name="connsiteY34" fmla="*/ 371958 h 1276592"/>
                    <a:gd name="connsiteX35" fmla="*/ 904646 w 1079629"/>
                    <a:gd name="connsiteY35" fmla="*/ 371958 h 1276592"/>
                    <a:gd name="connsiteX36" fmla="*/ 904646 w 1079629"/>
                    <a:gd name="connsiteY36" fmla="*/ 703811 h 1276592"/>
                    <a:gd name="connsiteX37" fmla="*/ 572794 w 1079629"/>
                    <a:gd name="connsiteY37" fmla="*/ 703811 h 1276592"/>
                    <a:gd name="connsiteX38" fmla="*/ 572794 w 1079629"/>
                    <a:gd name="connsiteY38" fmla="*/ 371958 h 1276592"/>
                    <a:gd name="connsiteX39" fmla="*/ 574334 w 1079629"/>
                    <a:gd name="connsiteY39" fmla="*/ 550402 h 1276592"/>
                    <a:gd name="connsiteX40" fmla="*/ 561818 w 1079629"/>
                    <a:gd name="connsiteY40" fmla="*/ 537886 h 1276592"/>
                    <a:gd name="connsiteX41" fmla="*/ 738726 w 1079629"/>
                    <a:gd name="connsiteY41" fmla="*/ 361008 h 1276592"/>
                    <a:gd name="connsiteX42" fmla="*/ 751242 w 1079629"/>
                    <a:gd name="connsiteY42" fmla="*/ 373524 h 1276592"/>
                    <a:gd name="connsiteX43" fmla="*/ 738726 w 1079629"/>
                    <a:gd name="connsiteY43" fmla="*/ 386040 h 1276592"/>
                    <a:gd name="connsiteX44" fmla="*/ 586850 w 1079629"/>
                    <a:gd name="connsiteY44" fmla="*/ 537886 h 1276592"/>
                    <a:gd name="connsiteX45" fmla="*/ 574334 w 1079629"/>
                    <a:gd name="connsiteY45" fmla="*/ 550402 h 1276592"/>
                    <a:gd name="connsiteX46" fmla="*/ 446725 w 1079629"/>
                    <a:gd name="connsiteY46" fmla="*/ 184871 h 1276592"/>
                    <a:gd name="connsiteX47" fmla="*/ 306948 w 1079629"/>
                    <a:gd name="connsiteY47" fmla="*/ 45086 h 1276592"/>
                    <a:gd name="connsiteX48" fmla="*/ 306948 w 1079629"/>
                    <a:gd name="connsiteY48" fmla="*/ 27388 h 1276592"/>
                    <a:gd name="connsiteX49" fmla="*/ 324647 w 1079629"/>
                    <a:gd name="connsiteY49" fmla="*/ 27388 h 1276592"/>
                    <a:gd name="connsiteX50" fmla="*/ 464424 w 1079629"/>
                    <a:gd name="connsiteY50" fmla="*/ 167172 h 1276592"/>
                    <a:gd name="connsiteX51" fmla="*/ 464424 w 1079629"/>
                    <a:gd name="connsiteY51" fmla="*/ 184871 h 1276592"/>
                    <a:gd name="connsiteX52" fmla="*/ 446725 w 1079629"/>
                    <a:gd name="connsiteY52" fmla="*/ 184871 h 1276592"/>
                    <a:gd name="connsiteX53" fmla="*/ 573156 w 1079629"/>
                    <a:gd name="connsiteY53" fmla="*/ 11132 h 1276592"/>
                    <a:gd name="connsiteX54" fmla="*/ 582720 w 1079629"/>
                    <a:gd name="connsiteY54" fmla="*/ 96368 h 1276592"/>
                    <a:gd name="connsiteX55" fmla="*/ 570265 w 1079629"/>
                    <a:gd name="connsiteY55" fmla="*/ 110276 h 1276592"/>
                    <a:gd name="connsiteX56" fmla="*/ 557846 w 1079629"/>
                    <a:gd name="connsiteY56" fmla="*/ 99155 h 1276592"/>
                    <a:gd name="connsiteX57" fmla="*/ 548283 w 1079629"/>
                    <a:gd name="connsiteY57" fmla="*/ 13919 h 1276592"/>
                    <a:gd name="connsiteX58" fmla="*/ 559325 w 1079629"/>
                    <a:gd name="connsiteY58" fmla="*/ 90 h 1276592"/>
                    <a:gd name="connsiteX59" fmla="*/ 573156 w 1079629"/>
                    <a:gd name="connsiteY59" fmla="*/ 11132 h 1276592"/>
                    <a:gd name="connsiteX60" fmla="*/ 378708 w 1079629"/>
                    <a:gd name="connsiteY60" fmla="*/ 278296 h 1276592"/>
                    <a:gd name="connsiteX61" fmla="*/ 389750 w 1079629"/>
                    <a:gd name="connsiteY61" fmla="*/ 292124 h 1276592"/>
                    <a:gd name="connsiteX62" fmla="*/ 375921 w 1079629"/>
                    <a:gd name="connsiteY62" fmla="*/ 303167 h 1276592"/>
                    <a:gd name="connsiteX63" fmla="*/ 290685 w 1079629"/>
                    <a:gd name="connsiteY63" fmla="*/ 293603 h 1276592"/>
                    <a:gd name="connsiteX64" fmla="*/ 279643 w 1079629"/>
                    <a:gd name="connsiteY64" fmla="*/ 279775 h 1276592"/>
                    <a:gd name="connsiteX65" fmla="*/ 293472 w 1079629"/>
                    <a:gd name="connsiteY65" fmla="*/ 268732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4334 w 1079629"/>
                    <a:gd name="connsiteY41" fmla="*/ 550402 h 1276592"/>
                    <a:gd name="connsiteX42" fmla="*/ 561818 w 1079629"/>
                    <a:gd name="connsiteY42" fmla="*/ 537886 h 1276592"/>
                    <a:gd name="connsiteX43" fmla="*/ 738726 w 1079629"/>
                    <a:gd name="connsiteY43" fmla="*/ 361008 h 1276592"/>
                    <a:gd name="connsiteX44" fmla="*/ 751242 w 1079629"/>
                    <a:gd name="connsiteY44" fmla="*/ 373524 h 1276592"/>
                    <a:gd name="connsiteX45" fmla="*/ 586850 w 1079629"/>
                    <a:gd name="connsiteY45" fmla="*/ 537886 h 1276592"/>
                    <a:gd name="connsiteX46" fmla="*/ 574334 w 1079629"/>
                    <a:gd name="connsiteY46" fmla="*/ 550402 h 1276592"/>
                    <a:gd name="connsiteX47" fmla="*/ 446725 w 1079629"/>
                    <a:gd name="connsiteY47" fmla="*/ 184871 h 1276592"/>
                    <a:gd name="connsiteX48" fmla="*/ 306948 w 1079629"/>
                    <a:gd name="connsiteY48" fmla="*/ 45086 h 1276592"/>
                    <a:gd name="connsiteX49" fmla="*/ 306948 w 1079629"/>
                    <a:gd name="connsiteY49" fmla="*/ 27388 h 1276592"/>
                    <a:gd name="connsiteX50" fmla="*/ 324647 w 1079629"/>
                    <a:gd name="connsiteY50" fmla="*/ 27388 h 1276592"/>
                    <a:gd name="connsiteX51" fmla="*/ 464424 w 1079629"/>
                    <a:gd name="connsiteY51" fmla="*/ 167172 h 1276592"/>
                    <a:gd name="connsiteX52" fmla="*/ 464424 w 1079629"/>
                    <a:gd name="connsiteY52" fmla="*/ 184871 h 1276592"/>
                    <a:gd name="connsiteX53" fmla="*/ 446725 w 1079629"/>
                    <a:gd name="connsiteY53" fmla="*/ 184871 h 1276592"/>
                    <a:gd name="connsiteX54" fmla="*/ 573156 w 1079629"/>
                    <a:gd name="connsiteY54" fmla="*/ 11132 h 1276592"/>
                    <a:gd name="connsiteX55" fmla="*/ 582720 w 1079629"/>
                    <a:gd name="connsiteY55" fmla="*/ 96368 h 1276592"/>
                    <a:gd name="connsiteX56" fmla="*/ 570265 w 1079629"/>
                    <a:gd name="connsiteY56" fmla="*/ 110276 h 1276592"/>
                    <a:gd name="connsiteX57" fmla="*/ 557846 w 1079629"/>
                    <a:gd name="connsiteY57" fmla="*/ 99155 h 1276592"/>
                    <a:gd name="connsiteX58" fmla="*/ 548283 w 1079629"/>
                    <a:gd name="connsiteY58" fmla="*/ 13919 h 1276592"/>
                    <a:gd name="connsiteX59" fmla="*/ 559325 w 1079629"/>
                    <a:gd name="connsiteY59" fmla="*/ 90 h 1276592"/>
                    <a:gd name="connsiteX60" fmla="*/ 573156 w 1079629"/>
                    <a:gd name="connsiteY60" fmla="*/ 11132 h 1276592"/>
                    <a:gd name="connsiteX61" fmla="*/ 378708 w 1079629"/>
                    <a:gd name="connsiteY61" fmla="*/ 278296 h 1276592"/>
                    <a:gd name="connsiteX62" fmla="*/ 389750 w 1079629"/>
                    <a:gd name="connsiteY62" fmla="*/ 292124 h 1276592"/>
                    <a:gd name="connsiteX63" fmla="*/ 375921 w 1079629"/>
                    <a:gd name="connsiteY63" fmla="*/ 303167 h 1276592"/>
                    <a:gd name="connsiteX64" fmla="*/ 290685 w 1079629"/>
                    <a:gd name="connsiteY64" fmla="*/ 293603 h 1276592"/>
                    <a:gd name="connsiteX65" fmla="*/ 279643 w 1079629"/>
                    <a:gd name="connsiteY65" fmla="*/ 279775 h 1276592"/>
                    <a:gd name="connsiteX66" fmla="*/ 293472 w 1079629"/>
                    <a:gd name="connsiteY66" fmla="*/ 268732 h 1276592"/>
                    <a:gd name="connsiteX67" fmla="*/ 378708 w 1079629"/>
                    <a:gd name="connsiteY67"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4334 w 1079629"/>
                    <a:gd name="connsiteY41" fmla="*/ 550402 h 1276592"/>
                    <a:gd name="connsiteX42" fmla="*/ 561818 w 1079629"/>
                    <a:gd name="connsiteY42" fmla="*/ 537886 h 1276592"/>
                    <a:gd name="connsiteX43" fmla="*/ 738726 w 1079629"/>
                    <a:gd name="connsiteY43" fmla="*/ 361008 h 1276592"/>
                    <a:gd name="connsiteX44" fmla="*/ 586850 w 1079629"/>
                    <a:gd name="connsiteY44" fmla="*/ 537886 h 1276592"/>
                    <a:gd name="connsiteX45" fmla="*/ 574334 w 1079629"/>
                    <a:gd name="connsiteY45" fmla="*/ 550402 h 1276592"/>
                    <a:gd name="connsiteX46" fmla="*/ 446725 w 1079629"/>
                    <a:gd name="connsiteY46" fmla="*/ 184871 h 1276592"/>
                    <a:gd name="connsiteX47" fmla="*/ 306948 w 1079629"/>
                    <a:gd name="connsiteY47" fmla="*/ 45086 h 1276592"/>
                    <a:gd name="connsiteX48" fmla="*/ 306948 w 1079629"/>
                    <a:gd name="connsiteY48" fmla="*/ 27388 h 1276592"/>
                    <a:gd name="connsiteX49" fmla="*/ 324647 w 1079629"/>
                    <a:gd name="connsiteY49" fmla="*/ 27388 h 1276592"/>
                    <a:gd name="connsiteX50" fmla="*/ 464424 w 1079629"/>
                    <a:gd name="connsiteY50" fmla="*/ 167172 h 1276592"/>
                    <a:gd name="connsiteX51" fmla="*/ 464424 w 1079629"/>
                    <a:gd name="connsiteY51" fmla="*/ 184871 h 1276592"/>
                    <a:gd name="connsiteX52" fmla="*/ 446725 w 1079629"/>
                    <a:gd name="connsiteY52" fmla="*/ 184871 h 1276592"/>
                    <a:gd name="connsiteX53" fmla="*/ 573156 w 1079629"/>
                    <a:gd name="connsiteY53" fmla="*/ 11132 h 1276592"/>
                    <a:gd name="connsiteX54" fmla="*/ 582720 w 1079629"/>
                    <a:gd name="connsiteY54" fmla="*/ 96368 h 1276592"/>
                    <a:gd name="connsiteX55" fmla="*/ 570265 w 1079629"/>
                    <a:gd name="connsiteY55" fmla="*/ 110276 h 1276592"/>
                    <a:gd name="connsiteX56" fmla="*/ 557846 w 1079629"/>
                    <a:gd name="connsiteY56" fmla="*/ 99155 h 1276592"/>
                    <a:gd name="connsiteX57" fmla="*/ 548283 w 1079629"/>
                    <a:gd name="connsiteY57" fmla="*/ 13919 h 1276592"/>
                    <a:gd name="connsiteX58" fmla="*/ 559325 w 1079629"/>
                    <a:gd name="connsiteY58" fmla="*/ 90 h 1276592"/>
                    <a:gd name="connsiteX59" fmla="*/ 573156 w 1079629"/>
                    <a:gd name="connsiteY59" fmla="*/ 11132 h 1276592"/>
                    <a:gd name="connsiteX60" fmla="*/ 378708 w 1079629"/>
                    <a:gd name="connsiteY60" fmla="*/ 278296 h 1276592"/>
                    <a:gd name="connsiteX61" fmla="*/ 389750 w 1079629"/>
                    <a:gd name="connsiteY61" fmla="*/ 292124 h 1276592"/>
                    <a:gd name="connsiteX62" fmla="*/ 375921 w 1079629"/>
                    <a:gd name="connsiteY62" fmla="*/ 303167 h 1276592"/>
                    <a:gd name="connsiteX63" fmla="*/ 290685 w 1079629"/>
                    <a:gd name="connsiteY63" fmla="*/ 293603 h 1276592"/>
                    <a:gd name="connsiteX64" fmla="*/ 279643 w 1079629"/>
                    <a:gd name="connsiteY64" fmla="*/ 279775 h 1276592"/>
                    <a:gd name="connsiteX65" fmla="*/ 293472 w 1079629"/>
                    <a:gd name="connsiteY65" fmla="*/ 268732 h 1276592"/>
                    <a:gd name="connsiteX66" fmla="*/ 378708 w 1079629"/>
                    <a:gd name="connsiteY66"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4334 w 1079629"/>
                    <a:gd name="connsiteY41" fmla="*/ 550402 h 1276592"/>
                    <a:gd name="connsiteX42" fmla="*/ 561818 w 1079629"/>
                    <a:gd name="connsiteY42" fmla="*/ 537886 h 1276592"/>
                    <a:gd name="connsiteX43" fmla="*/ 586850 w 1079629"/>
                    <a:gd name="connsiteY43" fmla="*/ 537886 h 1276592"/>
                    <a:gd name="connsiteX44" fmla="*/ 574334 w 1079629"/>
                    <a:gd name="connsiteY44" fmla="*/ 550402 h 1276592"/>
                    <a:gd name="connsiteX45" fmla="*/ 446725 w 1079629"/>
                    <a:gd name="connsiteY45" fmla="*/ 184871 h 1276592"/>
                    <a:gd name="connsiteX46" fmla="*/ 306948 w 1079629"/>
                    <a:gd name="connsiteY46" fmla="*/ 45086 h 1276592"/>
                    <a:gd name="connsiteX47" fmla="*/ 306948 w 1079629"/>
                    <a:gd name="connsiteY47" fmla="*/ 27388 h 1276592"/>
                    <a:gd name="connsiteX48" fmla="*/ 324647 w 1079629"/>
                    <a:gd name="connsiteY48" fmla="*/ 27388 h 1276592"/>
                    <a:gd name="connsiteX49" fmla="*/ 464424 w 1079629"/>
                    <a:gd name="connsiteY49" fmla="*/ 167172 h 1276592"/>
                    <a:gd name="connsiteX50" fmla="*/ 464424 w 1079629"/>
                    <a:gd name="connsiteY50" fmla="*/ 184871 h 1276592"/>
                    <a:gd name="connsiteX51" fmla="*/ 446725 w 1079629"/>
                    <a:gd name="connsiteY51" fmla="*/ 184871 h 1276592"/>
                    <a:gd name="connsiteX52" fmla="*/ 573156 w 1079629"/>
                    <a:gd name="connsiteY52" fmla="*/ 11132 h 1276592"/>
                    <a:gd name="connsiteX53" fmla="*/ 582720 w 1079629"/>
                    <a:gd name="connsiteY53" fmla="*/ 96368 h 1276592"/>
                    <a:gd name="connsiteX54" fmla="*/ 570265 w 1079629"/>
                    <a:gd name="connsiteY54" fmla="*/ 110276 h 1276592"/>
                    <a:gd name="connsiteX55" fmla="*/ 557846 w 1079629"/>
                    <a:gd name="connsiteY55" fmla="*/ 99155 h 1276592"/>
                    <a:gd name="connsiteX56" fmla="*/ 548283 w 1079629"/>
                    <a:gd name="connsiteY56" fmla="*/ 13919 h 1276592"/>
                    <a:gd name="connsiteX57" fmla="*/ 559325 w 1079629"/>
                    <a:gd name="connsiteY57" fmla="*/ 90 h 1276592"/>
                    <a:gd name="connsiteX58" fmla="*/ 573156 w 1079629"/>
                    <a:gd name="connsiteY58" fmla="*/ 11132 h 1276592"/>
                    <a:gd name="connsiteX59" fmla="*/ 378708 w 1079629"/>
                    <a:gd name="connsiteY59" fmla="*/ 278296 h 1276592"/>
                    <a:gd name="connsiteX60" fmla="*/ 389750 w 1079629"/>
                    <a:gd name="connsiteY60" fmla="*/ 292124 h 1276592"/>
                    <a:gd name="connsiteX61" fmla="*/ 375921 w 1079629"/>
                    <a:gd name="connsiteY61" fmla="*/ 303167 h 1276592"/>
                    <a:gd name="connsiteX62" fmla="*/ 290685 w 1079629"/>
                    <a:gd name="connsiteY62" fmla="*/ 293603 h 1276592"/>
                    <a:gd name="connsiteX63" fmla="*/ 279643 w 1079629"/>
                    <a:gd name="connsiteY63" fmla="*/ 279775 h 1276592"/>
                    <a:gd name="connsiteX64" fmla="*/ 293472 w 1079629"/>
                    <a:gd name="connsiteY64" fmla="*/ 268732 h 1276592"/>
                    <a:gd name="connsiteX65" fmla="*/ 378708 w 1079629"/>
                    <a:gd name="connsiteY65"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86850 w 1079629"/>
                    <a:gd name="connsiteY41" fmla="*/ 537886 h 1276592"/>
                    <a:gd name="connsiteX42" fmla="*/ 561818 w 1079629"/>
                    <a:gd name="connsiteY42" fmla="*/ 537886 h 1276592"/>
                    <a:gd name="connsiteX43" fmla="*/ 586850 w 1079629"/>
                    <a:gd name="connsiteY43" fmla="*/ 537886 h 1276592"/>
                    <a:gd name="connsiteX44" fmla="*/ 446725 w 1079629"/>
                    <a:gd name="connsiteY44" fmla="*/ 184871 h 1276592"/>
                    <a:gd name="connsiteX45" fmla="*/ 306948 w 1079629"/>
                    <a:gd name="connsiteY45" fmla="*/ 45086 h 1276592"/>
                    <a:gd name="connsiteX46" fmla="*/ 306948 w 1079629"/>
                    <a:gd name="connsiteY46" fmla="*/ 27388 h 1276592"/>
                    <a:gd name="connsiteX47" fmla="*/ 324647 w 1079629"/>
                    <a:gd name="connsiteY47" fmla="*/ 27388 h 1276592"/>
                    <a:gd name="connsiteX48" fmla="*/ 464424 w 1079629"/>
                    <a:gd name="connsiteY48" fmla="*/ 167172 h 1276592"/>
                    <a:gd name="connsiteX49" fmla="*/ 464424 w 1079629"/>
                    <a:gd name="connsiteY49" fmla="*/ 184871 h 1276592"/>
                    <a:gd name="connsiteX50" fmla="*/ 446725 w 1079629"/>
                    <a:gd name="connsiteY50" fmla="*/ 184871 h 1276592"/>
                    <a:gd name="connsiteX51" fmla="*/ 573156 w 1079629"/>
                    <a:gd name="connsiteY51" fmla="*/ 11132 h 1276592"/>
                    <a:gd name="connsiteX52" fmla="*/ 582720 w 1079629"/>
                    <a:gd name="connsiteY52" fmla="*/ 96368 h 1276592"/>
                    <a:gd name="connsiteX53" fmla="*/ 570265 w 1079629"/>
                    <a:gd name="connsiteY53" fmla="*/ 110276 h 1276592"/>
                    <a:gd name="connsiteX54" fmla="*/ 557846 w 1079629"/>
                    <a:gd name="connsiteY54" fmla="*/ 99155 h 1276592"/>
                    <a:gd name="connsiteX55" fmla="*/ 548283 w 1079629"/>
                    <a:gd name="connsiteY55" fmla="*/ 13919 h 1276592"/>
                    <a:gd name="connsiteX56" fmla="*/ 559325 w 1079629"/>
                    <a:gd name="connsiteY56" fmla="*/ 90 h 1276592"/>
                    <a:gd name="connsiteX57" fmla="*/ 573156 w 1079629"/>
                    <a:gd name="connsiteY57" fmla="*/ 11132 h 1276592"/>
                    <a:gd name="connsiteX58" fmla="*/ 378708 w 1079629"/>
                    <a:gd name="connsiteY58" fmla="*/ 278296 h 1276592"/>
                    <a:gd name="connsiteX59" fmla="*/ 389750 w 1079629"/>
                    <a:gd name="connsiteY59" fmla="*/ 292124 h 1276592"/>
                    <a:gd name="connsiteX60" fmla="*/ 375921 w 1079629"/>
                    <a:gd name="connsiteY60" fmla="*/ 303167 h 1276592"/>
                    <a:gd name="connsiteX61" fmla="*/ 290685 w 1079629"/>
                    <a:gd name="connsiteY61" fmla="*/ 293603 h 1276592"/>
                    <a:gd name="connsiteX62" fmla="*/ 279643 w 1079629"/>
                    <a:gd name="connsiteY62" fmla="*/ 279775 h 1276592"/>
                    <a:gd name="connsiteX63" fmla="*/ 293472 w 1079629"/>
                    <a:gd name="connsiteY63" fmla="*/ 268732 h 1276592"/>
                    <a:gd name="connsiteX64" fmla="*/ 378708 w 1079629"/>
                    <a:gd name="connsiteY64"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446725 w 1079629"/>
                    <a:gd name="connsiteY41" fmla="*/ 184871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464424 w 1079629"/>
                    <a:gd name="connsiteY45" fmla="*/ 167172 h 1276592"/>
                    <a:gd name="connsiteX46" fmla="*/ 464424 w 1079629"/>
                    <a:gd name="connsiteY46" fmla="*/ 184871 h 1276592"/>
                    <a:gd name="connsiteX47" fmla="*/ 446725 w 1079629"/>
                    <a:gd name="connsiteY47" fmla="*/ 184871 h 1276592"/>
                    <a:gd name="connsiteX48" fmla="*/ 573156 w 1079629"/>
                    <a:gd name="connsiteY48" fmla="*/ 11132 h 1276592"/>
                    <a:gd name="connsiteX49" fmla="*/ 582720 w 1079629"/>
                    <a:gd name="connsiteY49" fmla="*/ 96368 h 1276592"/>
                    <a:gd name="connsiteX50" fmla="*/ 570265 w 1079629"/>
                    <a:gd name="connsiteY50" fmla="*/ 110276 h 1276592"/>
                    <a:gd name="connsiteX51" fmla="*/ 557846 w 1079629"/>
                    <a:gd name="connsiteY51" fmla="*/ 99155 h 1276592"/>
                    <a:gd name="connsiteX52" fmla="*/ 548283 w 1079629"/>
                    <a:gd name="connsiteY52" fmla="*/ 13919 h 1276592"/>
                    <a:gd name="connsiteX53" fmla="*/ 559325 w 1079629"/>
                    <a:gd name="connsiteY53" fmla="*/ 90 h 1276592"/>
                    <a:gd name="connsiteX54" fmla="*/ 573156 w 1079629"/>
                    <a:gd name="connsiteY54" fmla="*/ 11132 h 1276592"/>
                    <a:gd name="connsiteX55" fmla="*/ 378708 w 1079629"/>
                    <a:gd name="connsiteY55" fmla="*/ 278296 h 1276592"/>
                    <a:gd name="connsiteX56" fmla="*/ 389750 w 1079629"/>
                    <a:gd name="connsiteY56" fmla="*/ 292124 h 1276592"/>
                    <a:gd name="connsiteX57" fmla="*/ 375921 w 1079629"/>
                    <a:gd name="connsiteY57" fmla="*/ 303167 h 1276592"/>
                    <a:gd name="connsiteX58" fmla="*/ 290685 w 1079629"/>
                    <a:gd name="connsiteY58" fmla="*/ 293603 h 1276592"/>
                    <a:gd name="connsiteX59" fmla="*/ 279643 w 1079629"/>
                    <a:gd name="connsiteY59" fmla="*/ 279775 h 1276592"/>
                    <a:gd name="connsiteX60" fmla="*/ 293472 w 1079629"/>
                    <a:gd name="connsiteY60" fmla="*/ 268732 h 1276592"/>
                    <a:gd name="connsiteX61" fmla="*/ 378708 w 1079629"/>
                    <a:gd name="connsiteY61"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464424 w 1079629"/>
                    <a:gd name="connsiteY41" fmla="*/ 184871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464424 w 1079629"/>
                    <a:gd name="connsiteY45" fmla="*/ 167172 h 1276592"/>
                    <a:gd name="connsiteX46" fmla="*/ 464424 w 1079629"/>
                    <a:gd name="connsiteY46" fmla="*/ 184871 h 1276592"/>
                    <a:gd name="connsiteX47" fmla="*/ 573156 w 1079629"/>
                    <a:gd name="connsiteY47" fmla="*/ 11132 h 1276592"/>
                    <a:gd name="connsiteX48" fmla="*/ 582720 w 1079629"/>
                    <a:gd name="connsiteY48" fmla="*/ 96368 h 1276592"/>
                    <a:gd name="connsiteX49" fmla="*/ 570265 w 1079629"/>
                    <a:gd name="connsiteY49" fmla="*/ 110276 h 1276592"/>
                    <a:gd name="connsiteX50" fmla="*/ 557846 w 1079629"/>
                    <a:gd name="connsiteY50" fmla="*/ 99155 h 1276592"/>
                    <a:gd name="connsiteX51" fmla="*/ 548283 w 1079629"/>
                    <a:gd name="connsiteY51" fmla="*/ 13919 h 1276592"/>
                    <a:gd name="connsiteX52" fmla="*/ 559325 w 1079629"/>
                    <a:gd name="connsiteY52" fmla="*/ 90 h 1276592"/>
                    <a:gd name="connsiteX53" fmla="*/ 573156 w 1079629"/>
                    <a:gd name="connsiteY53" fmla="*/ 11132 h 1276592"/>
                    <a:gd name="connsiteX54" fmla="*/ 378708 w 1079629"/>
                    <a:gd name="connsiteY54" fmla="*/ 278296 h 1276592"/>
                    <a:gd name="connsiteX55" fmla="*/ 389750 w 1079629"/>
                    <a:gd name="connsiteY55" fmla="*/ 292124 h 1276592"/>
                    <a:gd name="connsiteX56" fmla="*/ 375921 w 1079629"/>
                    <a:gd name="connsiteY56" fmla="*/ 303167 h 1276592"/>
                    <a:gd name="connsiteX57" fmla="*/ 290685 w 1079629"/>
                    <a:gd name="connsiteY57" fmla="*/ 293603 h 1276592"/>
                    <a:gd name="connsiteX58" fmla="*/ 279643 w 1079629"/>
                    <a:gd name="connsiteY58" fmla="*/ 279775 h 1276592"/>
                    <a:gd name="connsiteX59" fmla="*/ 293472 w 1079629"/>
                    <a:gd name="connsiteY59" fmla="*/ 268732 h 1276592"/>
                    <a:gd name="connsiteX60" fmla="*/ 378708 w 1079629"/>
                    <a:gd name="connsiteY60"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464424 w 1079629"/>
                    <a:gd name="connsiteY41" fmla="*/ 167172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464424 w 1079629"/>
                    <a:gd name="connsiteY45" fmla="*/ 167172 h 1276592"/>
                    <a:gd name="connsiteX46" fmla="*/ 573156 w 1079629"/>
                    <a:gd name="connsiteY46" fmla="*/ 11132 h 1276592"/>
                    <a:gd name="connsiteX47" fmla="*/ 582720 w 1079629"/>
                    <a:gd name="connsiteY47" fmla="*/ 96368 h 1276592"/>
                    <a:gd name="connsiteX48" fmla="*/ 570265 w 1079629"/>
                    <a:gd name="connsiteY48" fmla="*/ 110276 h 1276592"/>
                    <a:gd name="connsiteX49" fmla="*/ 557846 w 1079629"/>
                    <a:gd name="connsiteY49" fmla="*/ 99155 h 1276592"/>
                    <a:gd name="connsiteX50" fmla="*/ 548283 w 1079629"/>
                    <a:gd name="connsiteY50" fmla="*/ 13919 h 1276592"/>
                    <a:gd name="connsiteX51" fmla="*/ 559325 w 1079629"/>
                    <a:gd name="connsiteY51" fmla="*/ 90 h 1276592"/>
                    <a:gd name="connsiteX52" fmla="*/ 573156 w 1079629"/>
                    <a:gd name="connsiteY52" fmla="*/ 11132 h 1276592"/>
                    <a:gd name="connsiteX53" fmla="*/ 378708 w 1079629"/>
                    <a:gd name="connsiteY53" fmla="*/ 278296 h 1276592"/>
                    <a:gd name="connsiteX54" fmla="*/ 389750 w 1079629"/>
                    <a:gd name="connsiteY54" fmla="*/ 292124 h 1276592"/>
                    <a:gd name="connsiteX55" fmla="*/ 375921 w 1079629"/>
                    <a:gd name="connsiteY55" fmla="*/ 303167 h 1276592"/>
                    <a:gd name="connsiteX56" fmla="*/ 290685 w 1079629"/>
                    <a:gd name="connsiteY56" fmla="*/ 293603 h 1276592"/>
                    <a:gd name="connsiteX57" fmla="*/ 279643 w 1079629"/>
                    <a:gd name="connsiteY57" fmla="*/ 279775 h 1276592"/>
                    <a:gd name="connsiteX58" fmla="*/ 293472 w 1079629"/>
                    <a:gd name="connsiteY58" fmla="*/ 268732 h 1276592"/>
                    <a:gd name="connsiteX59" fmla="*/ 378708 w 1079629"/>
                    <a:gd name="connsiteY59"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324647 w 1079629"/>
                    <a:gd name="connsiteY41" fmla="*/ 27388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573156 w 1079629"/>
                    <a:gd name="connsiteY45" fmla="*/ 11132 h 1276592"/>
                    <a:gd name="connsiteX46" fmla="*/ 582720 w 1079629"/>
                    <a:gd name="connsiteY46" fmla="*/ 96368 h 1276592"/>
                    <a:gd name="connsiteX47" fmla="*/ 570265 w 1079629"/>
                    <a:gd name="connsiteY47" fmla="*/ 110276 h 1276592"/>
                    <a:gd name="connsiteX48" fmla="*/ 557846 w 1079629"/>
                    <a:gd name="connsiteY48" fmla="*/ 99155 h 1276592"/>
                    <a:gd name="connsiteX49" fmla="*/ 548283 w 1079629"/>
                    <a:gd name="connsiteY49" fmla="*/ 13919 h 1276592"/>
                    <a:gd name="connsiteX50" fmla="*/ 559325 w 1079629"/>
                    <a:gd name="connsiteY50" fmla="*/ 90 h 1276592"/>
                    <a:gd name="connsiteX51" fmla="*/ 573156 w 1079629"/>
                    <a:gd name="connsiteY51" fmla="*/ 11132 h 1276592"/>
                    <a:gd name="connsiteX52" fmla="*/ 378708 w 1079629"/>
                    <a:gd name="connsiteY52" fmla="*/ 278296 h 1276592"/>
                    <a:gd name="connsiteX53" fmla="*/ 389750 w 1079629"/>
                    <a:gd name="connsiteY53" fmla="*/ 292124 h 1276592"/>
                    <a:gd name="connsiteX54" fmla="*/ 375921 w 1079629"/>
                    <a:gd name="connsiteY54" fmla="*/ 303167 h 1276592"/>
                    <a:gd name="connsiteX55" fmla="*/ 290685 w 1079629"/>
                    <a:gd name="connsiteY55" fmla="*/ 293603 h 1276592"/>
                    <a:gd name="connsiteX56" fmla="*/ 279643 w 1079629"/>
                    <a:gd name="connsiteY56" fmla="*/ 279775 h 1276592"/>
                    <a:gd name="connsiteX57" fmla="*/ 293472 w 1079629"/>
                    <a:gd name="connsiteY57" fmla="*/ 268732 h 1276592"/>
                    <a:gd name="connsiteX58" fmla="*/ 378708 w 1079629"/>
                    <a:gd name="connsiteY58"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306948 w 1079629"/>
                    <a:gd name="connsiteY41" fmla="*/ 27388 h 1276592"/>
                    <a:gd name="connsiteX42" fmla="*/ 306948 w 1079629"/>
                    <a:gd name="connsiteY42" fmla="*/ 45086 h 1276592"/>
                    <a:gd name="connsiteX43" fmla="*/ 306948 w 1079629"/>
                    <a:gd name="connsiteY43" fmla="*/ 27388 h 1276592"/>
                    <a:gd name="connsiteX44" fmla="*/ 573156 w 1079629"/>
                    <a:gd name="connsiteY44" fmla="*/ 11132 h 1276592"/>
                    <a:gd name="connsiteX45" fmla="*/ 582720 w 1079629"/>
                    <a:gd name="connsiteY45" fmla="*/ 96368 h 1276592"/>
                    <a:gd name="connsiteX46" fmla="*/ 570265 w 1079629"/>
                    <a:gd name="connsiteY46" fmla="*/ 110276 h 1276592"/>
                    <a:gd name="connsiteX47" fmla="*/ 557846 w 1079629"/>
                    <a:gd name="connsiteY47" fmla="*/ 99155 h 1276592"/>
                    <a:gd name="connsiteX48" fmla="*/ 548283 w 1079629"/>
                    <a:gd name="connsiteY48" fmla="*/ 13919 h 1276592"/>
                    <a:gd name="connsiteX49" fmla="*/ 559325 w 1079629"/>
                    <a:gd name="connsiteY49" fmla="*/ 90 h 1276592"/>
                    <a:gd name="connsiteX50" fmla="*/ 573156 w 1079629"/>
                    <a:gd name="connsiteY50" fmla="*/ 11132 h 1276592"/>
                    <a:gd name="connsiteX51" fmla="*/ 378708 w 1079629"/>
                    <a:gd name="connsiteY51" fmla="*/ 278296 h 1276592"/>
                    <a:gd name="connsiteX52" fmla="*/ 389750 w 1079629"/>
                    <a:gd name="connsiteY52" fmla="*/ 292124 h 1276592"/>
                    <a:gd name="connsiteX53" fmla="*/ 375921 w 1079629"/>
                    <a:gd name="connsiteY53" fmla="*/ 303167 h 1276592"/>
                    <a:gd name="connsiteX54" fmla="*/ 290685 w 1079629"/>
                    <a:gd name="connsiteY54" fmla="*/ 293603 h 1276592"/>
                    <a:gd name="connsiteX55" fmla="*/ 279643 w 1079629"/>
                    <a:gd name="connsiteY55" fmla="*/ 279775 h 1276592"/>
                    <a:gd name="connsiteX56" fmla="*/ 293472 w 1079629"/>
                    <a:gd name="connsiteY56" fmla="*/ 268732 h 1276592"/>
                    <a:gd name="connsiteX57" fmla="*/ 378708 w 1079629"/>
                    <a:gd name="connsiteY57"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82720 w 1079629"/>
                    <a:gd name="connsiteY42" fmla="*/ 96368 h 1276592"/>
                    <a:gd name="connsiteX43" fmla="*/ 570265 w 1079629"/>
                    <a:gd name="connsiteY43" fmla="*/ 110276 h 1276592"/>
                    <a:gd name="connsiteX44" fmla="*/ 557846 w 1079629"/>
                    <a:gd name="connsiteY44" fmla="*/ 99155 h 1276592"/>
                    <a:gd name="connsiteX45" fmla="*/ 548283 w 1079629"/>
                    <a:gd name="connsiteY45" fmla="*/ 13919 h 1276592"/>
                    <a:gd name="connsiteX46" fmla="*/ 559325 w 1079629"/>
                    <a:gd name="connsiteY46" fmla="*/ 90 h 1276592"/>
                    <a:gd name="connsiteX47" fmla="*/ 573156 w 1079629"/>
                    <a:gd name="connsiteY47" fmla="*/ 11132 h 1276592"/>
                    <a:gd name="connsiteX48" fmla="*/ 378708 w 1079629"/>
                    <a:gd name="connsiteY48" fmla="*/ 278296 h 1276592"/>
                    <a:gd name="connsiteX49" fmla="*/ 389750 w 1079629"/>
                    <a:gd name="connsiteY49" fmla="*/ 292124 h 1276592"/>
                    <a:gd name="connsiteX50" fmla="*/ 375921 w 1079629"/>
                    <a:gd name="connsiteY50" fmla="*/ 303167 h 1276592"/>
                    <a:gd name="connsiteX51" fmla="*/ 290685 w 1079629"/>
                    <a:gd name="connsiteY51" fmla="*/ 293603 h 1276592"/>
                    <a:gd name="connsiteX52" fmla="*/ 279643 w 1079629"/>
                    <a:gd name="connsiteY52" fmla="*/ 279775 h 1276592"/>
                    <a:gd name="connsiteX53" fmla="*/ 293472 w 1079629"/>
                    <a:gd name="connsiteY53" fmla="*/ 268732 h 1276592"/>
                    <a:gd name="connsiteX54" fmla="*/ 378708 w 1079629"/>
                    <a:gd name="connsiteY54"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82720 w 1079629"/>
                    <a:gd name="connsiteY42" fmla="*/ 96368 h 1276592"/>
                    <a:gd name="connsiteX43" fmla="*/ 570265 w 1079629"/>
                    <a:gd name="connsiteY43" fmla="*/ 110276 h 1276592"/>
                    <a:gd name="connsiteX44" fmla="*/ 548283 w 1079629"/>
                    <a:gd name="connsiteY44" fmla="*/ 13919 h 1276592"/>
                    <a:gd name="connsiteX45" fmla="*/ 559325 w 1079629"/>
                    <a:gd name="connsiteY45" fmla="*/ 90 h 1276592"/>
                    <a:gd name="connsiteX46" fmla="*/ 573156 w 1079629"/>
                    <a:gd name="connsiteY46" fmla="*/ 11132 h 1276592"/>
                    <a:gd name="connsiteX47" fmla="*/ 378708 w 1079629"/>
                    <a:gd name="connsiteY47" fmla="*/ 278296 h 1276592"/>
                    <a:gd name="connsiteX48" fmla="*/ 389750 w 1079629"/>
                    <a:gd name="connsiteY48" fmla="*/ 292124 h 1276592"/>
                    <a:gd name="connsiteX49" fmla="*/ 375921 w 1079629"/>
                    <a:gd name="connsiteY49" fmla="*/ 303167 h 1276592"/>
                    <a:gd name="connsiteX50" fmla="*/ 290685 w 1079629"/>
                    <a:gd name="connsiteY50" fmla="*/ 293603 h 1276592"/>
                    <a:gd name="connsiteX51" fmla="*/ 279643 w 1079629"/>
                    <a:gd name="connsiteY51" fmla="*/ 279775 h 1276592"/>
                    <a:gd name="connsiteX52" fmla="*/ 293472 w 1079629"/>
                    <a:gd name="connsiteY52" fmla="*/ 268732 h 1276592"/>
                    <a:gd name="connsiteX53" fmla="*/ 378708 w 1079629"/>
                    <a:gd name="connsiteY53"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82720 w 1079629"/>
                    <a:gd name="connsiteY42" fmla="*/ 96368 h 1276592"/>
                    <a:gd name="connsiteX43" fmla="*/ 548283 w 1079629"/>
                    <a:gd name="connsiteY43" fmla="*/ 13919 h 1276592"/>
                    <a:gd name="connsiteX44" fmla="*/ 559325 w 1079629"/>
                    <a:gd name="connsiteY44" fmla="*/ 90 h 1276592"/>
                    <a:gd name="connsiteX45" fmla="*/ 573156 w 1079629"/>
                    <a:gd name="connsiteY45" fmla="*/ 11132 h 1276592"/>
                    <a:gd name="connsiteX46" fmla="*/ 378708 w 1079629"/>
                    <a:gd name="connsiteY46" fmla="*/ 278296 h 1276592"/>
                    <a:gd name="connsiteX47" fmla="*/ 389750 w 1079629"/>
                    <a:gd name="connsiteY47" fmla="*/ 292124 h 1276592"/>
                    <a:gd name="connsiteX48" fmla="*/ 375921 w 1079629"/>
                    <a:gd name="connsiteY48" fmla="*/ 303167 h 1276592"/>
                    <a:gd name="connsiteX49" fmla="*/ 290685 w 1079629"/>
                    <a:gd name="connsiteY49" fmla="*/ 293603 h 1276592"/>
                    <a:gd name="connsiteX50" fmla="*/ 279643 w 1079629"/>
                    <a:gd name="connsiteY50" fmla="*/ 279775 h 1276592"/>
                    <a:gd name="connsiteX51" fmla="*/ 293472 w 1079629"/>
                    <a:gd name="connsiteY51" fmla="*/ 268732 h 1276592"/>
                    <a:gd name="connsiteX52" fmla="*/ 378708 w 1079629"/>
                    <a:gd name="connsiteY52"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48283 w 1079629"/>
                    <a:gd name="connsiteY42" fmla="*/ 13919 h 1276592"/>
                    <a:gd name="connsiteX43" fmla="*/ 559325 w 1079629"/>
                    <a:gd name="connsiteY43" fmla="*/ 90 h 1276592"/>
                    <a:gd name="connsiteX44" fmla="*/ 573156 w 1079629"/>
                    <a:gd name="connsiteY44" fmla="*/ 11132 h 1276592"/>
                    <a:gd name="connsiteX45" fmla="*/ 378708 w 1079629"/>
                    <a:gd name="connsiteY45" fmla="*/ 278296 h 1276592"/>
                    <a:gd name="connsiteX46" fmla="*/ 389750 w 1079629"/>
                    <a:gd name="connsiteY46" fmla="*/ 292124 h 1276592"/>
                    <a:gd name="connsiteX47" fmla="*/ 375921 w 1079629"/>
                    <a:gd name="connsiteY47" fmla="*/ 303167 h 1276592"/>
                    <a:gd name="connsiteX48" fmla="*/ 290685 w 1079629"/>
                    <a:gd name="connsiteY48" fmla="*/ 293603 h 1276592"/>
                    <a:gd name="connsiteX49" fmla="*/ 279643 w 1079629"/>
                    <a:gd name="connsiteY49" fmla="*/ 279775 h 1276592"/>
                    <a:gd name="connsiteX50" fmla="*/ 293472 w 1079629"/>
                    <a:gd name="connsiteY50" fmla="*/ 268732 h 1276592"/>
                    <a:gd name="connsiteX51" fmla="*/ 378708 w 1079629"/>
                    <a:gd name="connsiteY51" fmla="*/ 278296 h 1276592"/>
                    <a:gd name="connsiteX0" fmla="*/ 59021 w 1079629"/>
                    <a:gd name="connsiteY0" fmla="*/ 1251069 h 1276502"/>
                    <a:gd name="connsiteX1" fmla="*/ 185048 w 1079629"/>
                    <a:gd name="connsiteY1" fmla="*/ 1247580 h 1276502"/>
                    <a:gd name="connsiteX2" fmla="*/ 471075 w 1079629"/>
                    <a:gd name="connsiteY2" fmla="*/ 927980 h 1276502"/>
                    <a:gd name="connsiteX3" fmla="*/ 492820 w 1079629"/>
                    <a:gd name="connsiteY3" fmla="*/ 863324 h 1276502"/>
                    <a:gd name="connsiteX4" fmla="*/ 540712 w 1079629"/>
                    <a:gd name="connsiteY4" fmla="*/ 815432 h 1276502"/>
                    <a:gd name="connsiteX5" fmla="*/ 979892 w 1079629"/>
                    <a:gd name="connsiteY5" fmla="*/ 778962 h 1276502"/>
                    <a:gd name="connsiteX6" fmla="*/ 979892 w 1079629"/>
                    <a:gd name="connsiteY6" fmla="*/ 296630 h 1276502"/>
                    <a:gd name="connsiteX7" fmla="*/ 497555 w 1079629"/>
                    <a:gd name="connsiteY7" fmla="*/ 296624 h 1276502"/>
                    <a:gd name="connsiteX8" fmla="*/ 461085 w 1079629"/>
                    <a:gd name="connsiteY8" fmla="*/ 735805 h 1276502"/>
                    <a:gd name="connsiteX9" fmla="*/ 413193 w 1079629"/>
                    <a:gd name="connsiteY9" fmla="*/ 783697 h 1276502"/>
                    <a:gd name="connsiteX10" fmla="*/ 348537 w 1079629"/>
                    <a:gd name="connsiteY10" fmla="*/ 805442 h 1276502"/>
                    <a:gd name="connsiteX11" fmla="*/ 28937 w 1079629"/>
                    <a:gd name="connsiteY11" fmla="*/ 1091469 h 1276502"/>
                    <a:gd name="connsiteX12" fmla="*/ 25448 w 1079629"/>
                    <a:gd name="connsiteY12" fmla="*/ 1217496 h 1276502"/>
                    <a:gd name="connsiteX13" fmla="*/ 59021 w 1079629"/>
                    <a:gd name="connsiteY13" fmla="*/ 1251069 h 1276502"/>
                    <a:gd name="connsiteX14" fmla="*/ 515254 w 1079629"/>
                    <a:gd name="connsiteY14" fmla="*/ 314320 h 1276502"/>
                    <a:gd name="connsiteX15" fmla="*/ 962197 w 1079629"/>
                    <a:gd name="connsiteY15" fmla="*/ 314326 h 1276502"/>
                    <a:gd name="connsiteX16" fmla="*/ 962197 w 1079629"/>
                    <a:gd name="connsiteY16" fmla="*/ 761263 h 1276502"/>
                    <a:gd name="connsiteX17" fmla="*/ 515254 w 1079629"/>
                    <a:gd name="connsiteY17" fmla="*/ 761263 h 1276502"/>
                    <a:gd name="connsiteX18" fmla="*/ 515254 w 1079629"/>
                    <a:gd name="connsiteY18" fmla="*/ 314320 h 1276502"/>
                    <a:gd name="connsiteX19" fmla="*/ 476495 w 1079629"/>
                    <a:gd name="connsiteY19" fmla="*/ 755789 h 1276502"/>
                    <a:gd name="connsiteX20" fmla="*/ 520725 w 1079629"/>
                    <a:gd name="connsiteY20" fmla="*/ 800022 h 1276502"/>
                    <a:gd name="connsiteX21" fmla="*/ 485729 w 1079629"/>
                    <a:gd name="connsiteY21" fmla="*/ 835018 h 1276502"/>
                    <a:gd name="connsiteX22" fmla="*/ 441497 w 1079629"/>
                    <a:gd name="connsiteY22" fmla="*/ 790786 h 1276502"/>
                    <a:gd name="connsiteX23" fmla="*/ 476495 w 1079629"/>
                    <a:gd name="connsiteY23" fmla="*/ 755789 h 1276502"/>
                    <a:gd name="connsiteX24" fmla="*/ 45632 w 1079629"/>
                    <a:gd name="connsiteY24" fmla="*/ 1110120 h 1276502"/>
                    <a:gd name="connsiteX25" fmla="*/ 365231 w 1079629"/>
                    <a:gd name="connsiteY25" fmla="*/ 824093 h 1276502"/>
                    <a:gd name="connsiteX26" fmla="*/ 452424 w 1079629"/>
                    <a:gd name="connsiteY26" fmla="*/ 911286 h 1276502"/>
                    <a:gd name="connsiteX27" fmla="*/ 166397 w 1079629"/>
                    <a:gd name="connsiteY27" fmla="*/ 1230885 h 1276502"/>
                    <a:gd name="connsiteX28" fmla="*/ 76717 w 1079629"/>
                    <a:gd name="connsiteY28" fmla="*/ 1233373 h 1276502"/>
                    <a:gd name="connsiteX29" fmla="*/ 43144 w 1079629"/>
                    <a:gd name="connsiteY29" fmla="*/ 1199800 h 1276502"/>
                    <a:gd name="connsiteX30" fmla="*/ 45632 w 1079629"/>
                    <a:gd name="connsiteY30" fmla="*/ 1110120 h 1276502"/>
                    <a:gd name="connsiteX31" fmla="*/ 922345 w 1079629"/>
                    <a:gd name="connsiteY31" fmla="*/ 721419 h 1276502"/>
                    <a:gd name="connsiteX32" fmla="*/ 922345 w 1079629"/>
                    <a:gd name="connsiteY32" fmla="*/ 354170 h 1276502"/>
                    <a:gd name="connsiteX33" fmla="*/ 555095 w 1079629"/>
                    <a:gd name="connsiteY33" fmla="*/ 354170 h 1276502"/>
                    <a:gd name="connsiteX34" fmla="*/ 555095 w 1079629"/>
                    <a:gd name="connsiteY34" fmla="*/ 721419 h 1276502"/>
                    <a:gd name="connsiteX35" fmla="*/ 922345 w 1079629"/>
                    <a:gd name="connsiteY35" fmla="*/ 721419 h 1276502"/>
                    <a:gd name="connsiteX36" fmla="*/ 572794 w 1079629"/>
                    <a:gd name="connsiteY36" fmla="*/ 371868 h 1276502"/>
                    <a:gd name="connsiteX37" fmla="*/ 904646 w 1079629"/>
                    <a:gd name="connsiteY37" fmla="*/ 371868 h 1276502"/>
                    <a:gd name="connsiteX38" fmla="*/ 904646 w 1079629"/>
                    <a:gd name="connsiteY38" fmla="*/ 703721 h 1276502"/>
                    <a:gd name="connsiteX39" fmla="*/ 572794 w 1079629"/>
                    <a:gd name="connsiteY39" fmla="*/ 703721 h 1276502"/>
                    <a:gd name="connsiteX40" fmla="*/ 572794 w 1079629"/>
                    <a:gd name="connsiteY40" fmla="*/ 371868 h 1276502"/>
                    <a:gd name="connsiteX41" fmla="*/ 559325 w 1079629"/>
                    <a:gd name="connsiteY41" fmla="*/ 0 h 1276502"/>
                    <a:gd name="connsiteX42" fmla="*/ 548283 w 1079629"/>
                    <a:gd name="connsiteY42" fmla="*/ 13829 h 1276502"/>
                    <a:gd name="connsiteX43" fmla="*/ 559325 w 1079629"/>
                    <a:gd name="connsiteY43" fmla="*/ 0 h 1276502"/>
                    <a:gd name="connsiteX44" fmla="*/ 378708 w 1079629"/>
                    <a:gd name="connsiteY44" fmla="*/ 278206 h 1276502"/>
                    <a:gd name="connsiteX45" fmla="*/ 389750 w 1079629"/>
                    <a:gd name="connsiteY45" fmla="*/ 292034 h 1276502"/>
                    <a:gd name="connsiteX46" fmla="*/ 375921 w 1079629"/>
                    <a:gd name="connsiteY46" fmla="*/ 303077 h 1276502"/>
                    <a:gd name="connsiteX47" fmla="*/ 290685 w 1079629"/>
                    <a:gd name="connsiteY47" fmla="*/ 293513 h 1276502"/>
                    <a:gd name="connsiteX48" fmla="*/ 279643 w 1079629"/>
                    <a:gd name="connsiteY48" fmla="*/ 279685 h 1276502"/>
                    <a:gd name="connsiteX49" fmla="*/ 293472 w 1079629"/>
                    <a:gd name="connsiteY49" fmla="*/ 268642 h 1276502"/>
                    <a:gd name="connsiteX50" fmla="*/ 378708 w 1079629"/>
                    <a:gd name="connsiteY50" fmla="*/ 278206 h 127650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378708 w 1079629"/>
                    <a:gd name="connsiteY41" fmla="*/ 81316 h 1079612"/>
                    <a:gd name="connsiteX42" fmla="*/ 389750 w 1079629"/>
                    <a:gd name="connsiteY42" fmla="*/ 95144 h 1079612"/>
                    <a:gd name="connsiteX43" fmla="*/ 375921 w 1079629"/>
                    <a:gd name="connsiteY43" fmla="*/ 106187 h 1079612"/>
                    <a:gd name="connsiteX44" fmla="*/ 290685 w 1079629"/>
                    <a:gd name="connsiteY44" fmla="*/ 96623 h 1079612"/>
                    <a:gd name="connsiteX45" fmla="*/ 279643 w 1079629"/>
                    <a:gd name="connsiteY45" fmla="*/ 82795 h 1079612"/>
                    <a:gd name="connsiteX46" fmla="*/ 293472 w 1079629"/>
                    <a:gd name="connsiteY46" fmla="*/ 71752 h 1079612"/>
                    <a:gd name="connsiteX47" fmla="*/ 378708 w 1079629"/>
                    <a:gd name="connsiteY47" fmla="*/ 81316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378708 w 1079629"/>
                    <a:gd name="connsiteY41" fmla="*/ 81316 h 1079612"/>
                    <a:gd name="connsiteX42" fmla="*/ 389750 w 1079629"/>
                    <a:gd name="connsiteY42" fmla="*/ 95144 h 1079612"/>
                    <a:gd name="connsiteX43" fmla="*/ 290685 w 1079629"/>
                    <a:gd name="connsiteY43" fmla="*/ 96623 h 1079612"/>
                    <a:gd name="connsiteX44" fmla="*/ 279643 w 1079629"/>
                    <a:gd name="connsiteY44" fmla="*/ 82795 h 1079612"/>
                    <a:gd name="connsiteX45" fmla="*/ 293472 w 1079629"/>
                    <a:gd name="connsiteY45" fmla="*/ 71752 h 1079612"/>
                    <a:gd name="connsiteX46" fmla="*/ 378708 w 1079629"/>
                    <a:gd name="connsiteY46" fmla="*/ 81316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293472 w 1079629"/>
                    <a:gd name="connsiteY41" fmla="*/ 71752 h 1079612"/>
                    <a:gd name="connsiteX42" fmla="*/ 389750 w 1079629"/>
                    <a:gd name="connsiteY42" fmla="*/ 95144 h 1079612"/>
                    <a:gd name="connsiteX43" fmla="*/ 290685 w 1079629"/>
                    <a:gd name="connsiteY43" fmla="*/ 96623 h 1079612"/>
                    <a:gd name="connsiteX44" fmla="*/ 279643 w 1079629"/>
                    <a:gd name="connsiteY44" fmla="*/ 82795 h 1079612"/>
                    <a:gd name="connsiteX45" fmla="*/ 293472 w 1079629"/>
                    <a:gd name="connsiteY45" fmla="*/ 71752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293472 w 1079629"/>
                    <a:gd name="connsiteY41" fmla="*/ 71752 h 1079612"/>
                    <a:gd name="connsiteX42" fmla="*/ 290685 w 1079629"/>
                    <a:gd name="connsiteY42" fmla="*/ 96623 h 1079612"/>
                    <a:gd name="connsiteX43" fmla="*/ 279643 w 1079629"/>
                    <a:gd name="connsiteY43" fmla="*/ 82795 h 1079612"/>
                    <a:gd name="connsiteX44" fmla="*/ 293472 w 1079629"/>
                    <a:gd name="connsiteY44" fmla="*/ 71752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293472 w 1079629"/>
                    <a:gd name="connsiteY41" fmla="*/ 71752 h 1079612"/>
                    <a:gd name="connsiteX42" fmla="*/ 290685 w 1079629"/>
                    <a:gd name="connsiteY42" fmla="*/ 96623 h 1079612"/>
                    <a:gd name="connsiteX43" fmla="*/ 293472 w 1079629"/>
                    <a:gd name="connsiteY43" fmla="*/ 71752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79629" h="1079612">
                      <a:moveTo>
                        <a:pt x="59021" y="1054179"/>
                      </a:moveTo>
                      <a:cubicBezTo>
                        <a:pt x="94183" y="1089341"/>
                        <a:pt x="151736" y="1087919"/>
                        <a:pt x="185048" y="1050690"/>
                      </a:cubicBezTo>
                      <a:lnTo>
                        <a:pt x="471075" y="731090"/>
                      </a:lnTo>
                      <a:cubicBezTo>
                        <a:pt x="487473" y="712766"/>
                        <a:pt x="494608" y="689295"/>
                        <a:pt x="492820" y="666434"/>
                      </a:cubicBezTo>
                      <a:lnTo>
                        <a:pt x="540712" y="618542"/>
                      </a:lnTo>
                      <a:cubicBezTo>
                        <a:pt x="675100" y="714503"/>
                        <a:pt x="861474" y="700490"/>
                        <a:pt x="979892" y="582072"/>
                      </a:cubicBezTo>
                      <a:cubicBezTo>
                        <a:pt x="1112875" y="449097"/>
                        <a:pt x="1112875" y="232717"/>
                        <a:pt x="979892" y="99740"/>
                      </a:cubicBezTo>
                      <a:cubicBezTo>
                        <a:pt x="846905" y="-33248"/>
                        <a:pt x="630530" y="-33243"/>
                        <a:pt x="497555" y="99734"/>
                      </a:cubicBezTo>
                      <a:cubicBezTo>
                        <a:pt x="378138" y="219152"/>
                        <a:pt x="366031" y="405781"/>
                        <a:pt x="461085" y="538915"/>
                      </a:cubicBezTo>
                      <a:lnTo>
                        <a:pt x="413193" y="586807"/>
                      </a:lnTo>
                      <a:cubicBezTo>
                        <a:pt x="390337" y="585019"/>
                        <a:pt x="366869" y="592154"/>
                        <a:pt x="348537" y="608552"/>
                      </a:cubicBezTo>
                      <a:lnTo>
                        <a:pt x="28937" y="894579"/>
                      </a:lnTo>
                      <a:cubicBezTo>
                        <a:pt x="-8077" y="927700"/>
                        <a:pt x="-9952" y="985209"/>
                        <a:pt x="25448" y="1020606"/>
                      </a:cubicBezTo>
                      <a:lnTo>
                        <a:pt x="59021" y="1054179"/>
                      </a:lnTo>
                      <a:close/>
                      <a:moveTo>
                        <a:pt x="515254" y="117430"/>
                      </a:moveTo>
                      <a:cubicBezTo>
                        <a:pt x="638466" y="-5782"/>
                        <a:pt x="838971" y="-5790"/>
                        <a:pt x="962197" y="117436"/>
                      </a:cubicBezTo>
                      <a:cubicBezTo>
                        <a:pt x="1085414" y="240658"/>
                        <a:pt x="1085414" y="441150"/>
                        <a:pt x="962197" y="564373"/>
                      </a:cubicBezTo>
                      <a:cubicBezTo>
                        <a:pt x="838961" y="687596"/>
                        <a:pt x="638464" y="687596"/>
                        <a:pt x="515254" y="564373"/>
                      </a:cubicBezTo>
                      <a:cubicBezTo>
                        <a:pt x="392036" y="441150"/>
                        <a:pt x="392036" y="240653"/>
                        <a:pt x="515254" y="117430"/>
                      </a:cubicBezTo>
                      <a:close/>
                      <a:moveTo>
                        <a:pt x="476495" y="558899"/>
                      </a:moveTo>
                      <a:cubicBezTo>
                        <a:pt x="490339" y="575528"/>
                        <a:pt x="503775" y="589017"/>
                        <a:pt x="520725" y="603132"/>
                      </a:cubicBezTo>
                      <a:lnTo>
                        <a:pt x="485729" y="638128"/>
                      </a:lnTo>
                      <a:cubicBezTo>
                        <a:pt x="476963" y="618281"/>
                        <a:pt x="461361" y="602669"/>
                        <a:pt x="441497" y="593896"/>
                      </a:cubicBezTo>
                      <a:lnTo>
                        <a:pt x="476495" y="558899"/>
                      </a:lnTo>
                      <a:close/>
                      <a:moveTo>
                        <a:pt x="45632" y="913230"/>
                      </a:moveTo>
                      <a:lnTo>
                        <a:pt x="365231" y="627203"/>
                      </a:lnTo>
                      <a:cubicBezTo>
                        <a:pt x="422920" y="575576"/>
                        <a:pt x="504002" y="656771"/>
                        <a:pt x="452424" y="714396"/>
                      </a:cubicBezTo>
                      <a:lnTo>
                        <a:pt x="166397" y="1033995"/>
                      </a:lnTo>
                      <a:cubicBezTo>
                        <a:pt x="142408" y="1060808"/>
                        <a:pt x="101417" y="1061170"/>
                        <a:pt x="76717" y="1036483"/>
                      </a:cubicBezTo>
                      <a:lnTo>
                        <a:pt x="43144" y="1002910"/>
                      </a:lnTo>
                      <a:cubicBezTo>
                        <a:pt x="18086" y="977850"/>
                        <a:pt x="19146" y="936928"/>
                        <a:pt x="45632" y="913230"/>
                      </a:cubicBezTo>
                      <a:close/>
                      <a:moveTo>
                        <a:pt x="922345" y="524529"/>
                      </a:moveTo>
                      <a:cubicBezTo>
                        <a:pt x="1023599" y="423281"/>
                        <a:pt x="1023599" y="258528"/>
                        <a:pt x="922345" y="157280"/>
                      </a:cubicBezTo>
                      <a:cubicBezTo>
                        <a:pt x="821096" y="56031"/>
                        <a:pt x="656344" y="56031"/>
                        <a:pt x="555095" y="157280"/>
                      </a:cubicBezTo>
                      <a:cubicBezTo>
                        <a:pt x="453842" y="258528"/>
                        <a:pt x="453842" y="423281"/>
                        <a:pt x="555095" y="524529"/>
                      </a:cubicBezTo>
                      <a:cubicBezTo>
                        <a:pt x="656356" y="625791"/>
                        <a:pt x="821096" y="625780"/>
                        <a:pt x="922345" y="524529"/>
                      </a:cubicBezTo>
                      <a:close/>
                      <a:moveTo>
                        <a:pt x="572794" y="174978"/>
                      </a:moveTo>
                      <a:cubicBezTo>
                        <a:pt x="664285" y="83487"/>
                        <a:pt x="813150" y="83482"/>
                        <a:pt x="904646" y="174978"/>
                      </a:cubicBezTo>
                      <a:cubicBezTo>
                        <a:pt x="996135" y="266472"/>
                        <a:pt x="996135" y="415337"/>
                        <a:pt x="904646" y="506831"/>
                      </a:cubicBezTo>
                      <a:cubicBezTo>
                        <a:pt x="813153" y="598325"/>
                        <a:pt x="664287" y="598325"/>
                        <a:pt x="572794" y="506831"/>
                      </a:cubicBezTo>
                      <a:cubicBezTo>
                        <a:pt x="481307" y="415337"/>
                        <a:pt x="481307" y="266474"/>
                        <a:pt x="572794" y="174978"/>
                      </a:cubicBezTo>
                      <a:close/>
                    </a:path>
                  </a:pathLst>
                </a:custGeom>
                <a:solidFill>
                  <a:schemeClr val="bg1"/>
                </a:solidFill>
                <a:ln w="3175" cap="flat">
                  <a:solidFill>
                    <a:schemeClr val="bg1"/>
                  </a:solidFill>
                  <a:prstDash val="solid"/>
                  <a:miter/>
                </a:ln>
              </p:spPr>
              <p:txBody>
                <a:bodyPr rtlCol="0" anchor="ctr"/>
                <a:lstStyle/>
                <a:p>
                  <a:endParaRPr lang="en-US" noProof="0"/>
                </a:p>
              </p:txBody>
            </p:sp>
          </p:grpSp>
        </p:grpSp>
      </p:grpSp>
      <p:grpSp>
        <p:nvGrpSpPr>
          <p:cNvPr id="143" name="Group 142">
            <a:extLst>
              <a:ext uri="{FF2B5EF4-FFF2-40B4-BE49-F238E27FC236}">
                <a16:creationId xmlns:a16="http://schemas.microsoft.com/office/drawing/2014/main" id="{9625805A-A8F6-F28E-7429-AD2E05423384}"/>
              </a:ext>
            </a:extLst>
          </p:cNvPr>
          <p:cNvGrpSpPr/>
          <p:nvPr/>
        </p:nvGrpSpPr>
        <p:grpSpPr>
          <a:xfrm>
            <a:off x="4070357" y="3615266"/>
            <a:ext cx="1290908" cy="1289304"/>
            <a:chOff x="3784970" y="3310466"/>
            <a:chExt cx="1290908" cy="1289304"/>
          </a:xfrm>
        </p:grpSpPr>
        <p:sp>
          <p:nvSpPr>
            <p:cNvPr id="44" name="Freeform 43">
              <a:extLst>
                <a:ext uri="{FF2B5EF4-FFF2-40B4-BE49-F238E27FC236}">
                  <a16:creationId xmlns:a16="http://schemas.microsoft.com/office/drawing/2014/main" id="{59BECA6C-2F2C-2F5D-02C8-0D4513C35308}"/>
                </a:ext>
              </a:extLst>
            </p:cNvPr>
            <p:cNvSpPr>
              <a:spLocks noChangeAspect="1"/>
            </p:cNvSpPr>
            <p:nvPr/>
          </p:nvSpPr>
          <p:spPr>
            <a:xfrm>
              <a:off x="3784970" y="3310466"/>
              <a:ext cx="1290908" cy="1289304"/>
            </a:xfrm>
            <a:custGeom>
              <a:avLst/>
              <a:gdLst>
                <a:gd name="connsiteX0" fmla="*/ 849411 w 961787"/>
                <a:gd name="connsiteY0" fmla="*/ 120671 h 986370"/>
                <a:gd name="connsiteX1" fmla="*/ 800888 w 961787"/>
                <a:gd name="connsiteY1" fmla="*/ 93167 h 986370"/>
                <a:gd name="connsiteX2" fmla="*/ 669399 w 961787"/>
                <a:gd name="connsiteY2" fmla="*/ 39771 h 986370"/>
                <a:gd name="connsiteX3" fmla="*/ 601657 w 961787"/>
                <a:gd name="connsiteY3" fmla="*/ 23838 h 986370"/>
                <a:gd name="connsiteX4" fmla="*/ 423262 w 961787"/>
                <a:gd name="connsiteY4" fmla="*/ 507 h 986370"/>
                <a:gd name="connsiteX5" fmla="*/ 337918 w 961787"/>
                <a:gd name="connsiteY5" fmla="*/ 2973 h 986370"/>
                <a:gd name="connsiteX6" fmla="*/ 291868 w 961787"/>
                <a:gd name="connsiteY6" fmla="*/ 11319 h 986370"/>
                <a:gd name="connsiteX7" fmla="*/ 215658 w 961787"/>
                <a:gd name="connsiteY7" fmla="*/ 52290 h 986370"/>
                <a:gd name="connsiteX8" fmla="*/ 208142 w 961787"/>
                <a:gd name="connsiteY8" fmla="*/ 58076 h 986370"/>
                <a:gd name="connsiteX9" fmla="*/ 120990 w 961787"/>
                <a:gd name="connsiteY9" fmla="*/ 791767 h 986370"/>
                <a:gd name="connsiteX10" fmla="*/ 696229 w 961787"/>
                <a:gd name="connsiteY10" fmla="*/ 966275 h 986370"/>
                <a:gd name="connsiteX11" fmla="*/ 792515 w 961787"/>
                <a:gd name="connsiteY11" fmla="*/ 871908 h 986370"/>
                <a:gd name="connsiteX12" fmla="*/ 800888 w 961787"/>
                <a:gd name="connsiteY12" fmla="*/ 851897 h 986370"/>
                <a:gd name="connsiteX13" fmla="*/ 817633 w 961787"/>
                <a:gd name="connsiteY13" fmla="*/ 814340 h 986370"/>
                <a:gd name="connsiteX14" fmla="*/ 825149 w 961787"/>
                <a:gd name="connsiteY14" fmla="*/ 790155 h 986370"/>
                <a:gd name="connsiteX15" fmla="*/ 913919 w 961787"/>
                <a:gd name="connsiteY15" fmla="*/ 517202 h 986370"/>
                <a:gd name="connsiteX16" fmla="*/ 927334 w 961787"/>
                <a:gd name="connsiteY16" fmla="*/ 482206 h 986370"/>
                <a:gd name="connsiteX17" fmla="*/ 956638 w 961787"/>
                <a:gd name="connsiteY17" fmla="*/ 383666 h 986370"/>
                <a:gd name="connsiteX18" fmla="*/ 960824 w 961787"/>
                <a:gd name="connsiteY18" fmla="*/ 342789 h 986370"/>
                <a:gd name="connsiteX19" fmla="*/ 959112 w 961787"/>
                <a:gd name="connsiteY19" fmla="*/ 280194 h 986370"/>
                <a:gd name="connsiteX20" fmla="*/ 947409 w 961787"/>
                <a:gd name="connsiteY20" fmla="*/ 235998 h 986370"/>
                <a:gd name="connsiteX21" fmla="*/ 925716 w 961787"/>
                <a:gd name="connsiteY21" fmla="*/ 194932 h 986370"/>
                <a:gd name="connsiteX22" fmla="*/ 893938 w 961787"/>
                <a:gd name="connsiteY22" fmla="*/ 158228 h 986370"/>
                <a:gd name="connsiteX23" fmla="*/ 849506 w 961787"/>
                <a:gd name="connsiteY23" fmla="*/ 120671 h 98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61787" h="986370">
                  <a:moveTo>
                    <a:pt x="849411" y="120671"/>
                  </a:moveTo>
                  <a:cubicBezTo>
                    <a:pt x="833807" y="110618"/>
                    <a:pt x="817538" y="101418"/>
                    <a:pt x="800888" y="93167"/>
                  </a:cubicBezTo>
                  <a:cubicBezTo>
                    <a:pt x="758834" y="71259"/>
                    <a:pt x="714783" y="53334"/>
                    <a:pt x="669399" y="39771"/>
                  </a:cubicBezTo>
                  <a:cubicBezTo>
                    <a:pt x="647611" y="34176"/>
                    <a:pt x="625062" y="28865"/>
                    <a:pt x="601657" y="23838"/>
                  </a:cubicBezTo>
                  <a:cubicBezTo>
                    <a:pt x="542762" y="12078"/>
                    <a:pt x="483202" y="4301"/>
                    <a:pt x="423262" y="507"/>
                  </a:cubicBezTo>
                  <a:cubicBezTo>
                    <a:pt x="394814" y="-631"/>
                    <a:pt x="366271" y="128"/>
                    <a:pt x="337918" y="2973"/>
                  </a:cubicBezTo>
                  <a:cubicBezTo>
                    <a:pt x="321173" y="5249"/>
                    <a:pt x="305854" y="8000"/>
                    <a:pt x="291868" y="11319"/>
                  </a:cubicBezTo>
                  <a:cubicBezTo>
                    <a:pt x="263706" y="19001"/>
                    <a:pt x="237636" y="33038"/>
                    <a:pt x="215658" y="52290"/>
                  </a:cubicBezTo>
                  <a:cubicBezTo>
                    <a:pt x="213470" y="53903"/>
                    <a:pt x="210901" y="55894"/>
                    <a:pt x="208142" y="58076"/>
                  </a:cubicBezTo>
                  <a:cubicBezTo>
                    <a:pt x="-36378" y="375794"/>
                    <a:pt x="-65492" y="620389"/>
                    <a:pt x="120990" y="791767"/>
                  </a:cubicBezTo>
                  <a:cubicBezTo>
                    <a:pt x="306901" y="963145"/>
                    <a:pt x="498711" y="1021378"/>
                    <a:pt x="696229" y="966275"/>
                  </a:cubicBezTo>
                  <a:cubicBezTo>
                    <a:pt x="733621" y="950626"/>
                    <a:pt x="765780" y="919234"/>
                    <a:pt x="792515" y="871908"/>
                  </a:cubicBezTo>
                  <a:lnTo>
                    <a:pt x="800888" y="851897"/>
                  </a:lnTo>
                  <a:cubicBezTo>
                    <a:pt x="805930" y="839662"/>
                    <a:pt x="811449" y="827143"/>
                    <a:pt x="817633" y="814340"/>
                  </a:cubicBezTo>
                  <a:cubicBezTo>
                    <a:pt x="819821" y="806563"/>
                    <a:pt x="822390" y="798501"/>
                    <a:pt x="825149" y="790155"/>
                  </a:cubicBezTo>
                  <a:cubicBezTo>
                    <a:pt x="850838" y="697211"/>
                    <a:pt x="880428" y="606258"/>
                    <a:pt x="913919" y="517202"/>
                  </a:cubicBezTo>
                  <a:cubicBezTo>
                    <a:pt x="918390" y="505537"/>
                    <a:pt x="922862" y="493871"/>
                    <a:pt x="927334" y="482206"/>
                  </a:cubicBezTo>
                  <a:cubicBezTo>
                    <a:pt x="938751" y="449865"/>
                    <a:pt x="948551" y="416955"/>
                    <a:pt x="956638" y="383666"/>
                  </a:cubicBezTo>
                  <a:cubicBezTo>
                    <a:pt x="958826" y="368681"/>
                    <a:pt x="960254" y="355024"/>
                    <a:pt x="960824" y="342789"/>
                  </a:cubicBezTo>
                  <a:cubicBezTo>
                    <a:pt x="962537" y="321924"/>
                    <a:pt x="961966" y="300964"/>
                    <a:pt x="959112" y="280194"/>
                  </a:cubicBezTo>
                  <a:cubicBezTo>
                    <a:pt x="956162" y="265209"/>
                    <a:pt x="952261" y="250414"/>
                    <a:pt x="947409" y="235998"/>
                  </a:cubicBezTo>
                  <a:cubicBezTo>
                    <a:pt x="941130" y="221772"/>
                    <a:pt x="933899" y="208020"/>
                    <a:pt x="925716" y="194932"/>
                  </a:cubicBezTo>
                  <a:cubicBezTo>
                    <a:pt x="916107" y="181938"/>
                    <a:pt x="905451" y="169609"/>
                    <a:pt x="893938" y="158228"/>
                  </a:cubicBezTo>
                  <a:cubicBezTo>
                    <a:pt x="880047" y="144666"/>
                    <a:pt x="865205" y="132052"/>
                    <a:pt x="849506" y="120671"/>
                  </a:cubicBezTo>
                </a:path>
              </a:pathLst>
            </a:custGeom>
            <a:solidFill>
              <a:srgbClr val="245176"/>
            </a:solidFill>
            <a:ln w="9509" cap="flat">
              <a:noFill/>
              <a:prstDash val="solid"/>
              <a:miter/>
            </a:ln>
            <a:effectLst>
              <a:outerShdw blurRad="190500" sx="115000" sy="115000" algn="ctr" rotWithShape="0">
                <a:prstClr val="black">
                  <a:alpha val="20000"/>
                </a:prstClr>
              </a:outerShdw>
            </a:effectLst>
          </p:spPr>
          <p:txBody>
            <a:bodyPr rtlCol="0" anchor="ctr"/>
            <a:lstStyle/>
            <a:p>
              <a:pPr algn="ctr"/>
              <a:endParaRPr lang="en-US" sz="1600" noProof="0">
                <a:solidFill>
                  <a:schemeClr val="bg1"/>
                </a:solidFill>
              </a:endParaRPr>
            </a:p>
          </p:txBody>
        </p:sp>
        <p:grpSp>
          <p:nvGrpSpPr>
            <p:cNvPr id="134" name="Group 133">
              <a:extLst>
                <a:ext uri="{FF2B5EF4-FFF2-40B4-BE49-F238E27FC236}">
                  <a16:creationId xmlns:a16="http://schemas.microsoft.com/office/drawing/2014/main" id="{5D7E8864-E3E0-5A71-2587-BC4D5D59749E}"/>
                </a:ext>
              </a:extLst>
            </p:cNvPr>
            <p:cNvGrpSpPr/>
            <p:nvPr/>
          </p:nvGrpSpPr>
          <p:grpSpPr>
            <a:xfrm>
              <a:off x="4047958" y="3501475"/>
              <a:ext cx="764932" cy="907287"/>
              <a:chOff x="2440413" y="501209"/>
              <a:chExt cx="764932" cy="907287"/>
            </a:xfrm>
          </p:grpSpPr>
          <p:sp>
            <p:nvSpPr>
              <p:cNvPr id="135" name="Freeform 134">
                <a:extLst>
                  <a:ext uri="{FF2B5EF4-FFF2-40B4-BE49-F238E27FC236}">
                    <a16:creationId xmlns:a16="http://schemas.microsoft.com/office/drawing/2014/main" id="{B5E1F3E9-8FB0-CE1E-F456-41B9CDAAA06D}"/>
                  </a:ext>
                </a:extLst>
              </p:cNvPr>
              <p:cNvSpPr/>
              <p:nvPr/>
            </p:nvSpPr>
            <p:spPr>
              <a:xfrm>
                <a:off x="2639708" y="899800"/>
                <a:ext cx="167045" cy="167045"/>
              </a:xfrm>
              <a:custGeom>
                <a:avLst/>
                <a:gdLst>
                  <a:gd name="connsiteX0" fmla="*/ 755018 w 897893"/>
                  <a:gd name="connsiteY0" fmla="*/ 897893 h 897893"/>
                  <a:gd name="connsiteX1" fmla="*/ 142875 w 897893"/>
                  <a:gd name="connsiteY1" fmla="*/ 897893 h 897893"/>
                  <a:gd name="connsiteX2" fmla="*/ 0 w 897893"/>
                  <a:gd name="connsiteY2" fmla="*/ 755018 h 897893"/>
                  <a:gd name="connsiteX3" fmla="*/ 0 w 897893"/>
                  <a:gd name="connsiteY3" fmla="*/ 142875 h 897893"/>
                  <a:gd name="connsiteX4" fmla="*/ 142875 w 897893"/>
                  <a:gd name="connsiteY4" fmla="*/ 0 h 897893"/>
                  <a:gd name="connsiteX5" fmla="*/ 755018 w 897893"/>
                  <a:gd name="connsiteY5" fmla="*/ 0 h 897893"/>
                  <a:gd name="connsiteX6" fmla="*/ 897893 w 897893"/>
                  <a:gd name="connsiteY6" fmla="*/ 142875 h 897893"/>
                  <a:gd name="connsiteX7" fmla="*/ 897893 w 897893"/>
                  <a:gd name="connsiteY7" fmla="*/ 755018 h 897893"/>
                  <a:gd name="connsiteX8" fmla="*/ 755018 w 897893"/>
                  <a:gd name="connsiteY8" fmla="*/ 897893 h 897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7893" h="897893">
                    <a:moveTo>
                      <a:pt x="755018" y="897893"/>
                    </a:moveTo>
                    <a:lnTo>
                      <a:pt x="142875" y="897893"/>
                    </a:lnTo>
                    <a:cubicBezTo>
                      <a:pt x="63970" y="897893"/>
                      <a:pt x="0" y="833923"/>
                      <a:pt x="0" y="755018"/>
                    </a:cubicBezTo>
                    <a:lnTo>
                      <a:pt x="0" y="142875"/>
                    </a:lnTo>
                    <a:cubicBezTo>
                      <a:pt x="0" y="63970"/>
                      <a:pt x="63970" y="0"/>
                      <a:pt x="142875" y="0"/>
                    </a:cubicBezTo>
                    <a:lnTo>
                      <a:pt x="755018" y="0"/>
                    </a:lnTo>
                    <a:cubicBezTo>
                      <a:pt x="833923" y="0"/>
                      <a:pt x="897893" y="63970"/>
                      <a:pt x="897893" y="142875"/>
                    </a:cubicBezTo>
                    <a:lnTo>
                      <a:pt x="897893" y="755018"/>
                    </a:lnTo>
                    <a:cubicBezTo>
                      <a:pt x="897893" y="833923"/>
                      <a:pt x="833923" y="897893"/>
                      <a:pt x="755018" y="897893"/>
                    </a:cubicBezTo>
                    <a:close/>
                  </a:path>
                </a:pathLst>
              </a:custGeom>
              <a:solidFill>
                <a:schemeClr val="accent1"/>
              </a:solidFill>
              <a:ln w="9525" cap="flat">
                <a:noFill/>
                <a:prstDash val="solid"/>
                <a:miter/>
              </a:ln>
            </p:spPr>
            <p:txBody>
              <a:bodyPr rtlCol="0" anchor="ctr"/>
              <a:lstStyle/>
              <a:p>
                <a:endParaRPr lang="en-US" noProof="0"/>
              </a:p>
            </p:txBody>
          </p:sp>
          <p:sp>
            <p:nvSpPr>
              <p:cNvPr id="136" name="Freeform 135">
                <a:extLst>
                  <a:ext uri="{FF2B5EF4-FFF2-40B4-BE49-F238E27FC236}">
                    <a16:creationId xmlns:a16="http://schemas.microsoft.com/office/drawing/2014/main" id="{88B2A98F-658A-DE63-F61E-9892E5F66745}"/>
                  </a:ext>
                </a:extLst>
              </p:cNvPr>
              <p:cNvSpPr/>
              <p:nvPr/>
            </p:nvSpPr>
            <p:spPr>
              <a:xfrm>
                <a:off x="2639708" y="527790"/>
                <a:ext cx="167045" cy="140465"/>
              </a:xfrm>
              <a:custGeom>
                <a:avLst/>
                <a:gdLst>
                  <a:gd name="connsiteX0" fmla="*/ 755018 w 897893"/>
                  <a:gd name="connsiteY0" fmla="*/ 755018 h 755018"/>
                  <a:gd name="connsiteX1" fmla="*/ 142875 w 897893"/>
                  <a:gd name="connsiteY1" fmla="*/ 755018 h 755018"/>
                  <a:gd name="connsiteX2" fmla="*/ 0 w 897893"/>
                  <a:gd name="connsiteY2" fmla="*/ 612143 h 755018"/>
                  <a:gd name="connsiteX3" fmla="*/ 0 w 897893"/>
                  <a:gd name="connsiteY3" fmla="*/ 142875 h 755018"/>
                  <a:gd name="connsiteX4" fmla="*/ 142875 w 897893"/>
                  <a:gd name="connsiteY4" fmla="*/ 0 h 755018"/>
                  <a:gd name="connsiteX5" fmla="*/ 755018 w 897893"/>
                  <a:gd name="connsiteY5" fmla="*/ 0 h 755018"/>
                  <a:gd name="connsiteX6" fmla="*/ 897893 w 897893"/>
                  <a:gd name="connsiteY6" fmla="*/ 142875 h 755018"/>
                  <a:gd name="connsiteX7" fmla="*/ 897893 w 897893"/>
                  <a:gd name="connsiteY7" fmla="*/ 612143 h 755018"/>
                  <a:gd name="connsiteX8" fmla="*/ 755018 w 897893"/>
                  <a:gd name="connsiteY8" fmla="*/ 755018 h 755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7893" h="755018">
                    <a:moveTo>
                      <a:pt x="755018" y="755018"/>
                    </a:moveTo>
                    <a:lnTo>
                      <a:pt x="142875" y="755018"/>
                    </a:lnTo>
                    <a:cubicBezTo>
                      <a:pt x="63970" y="755018"/>
                      <a:pt x="0" y="691048"/>
                      <a:pt x="0" y="612143"/>
                    </a:cubicBezTo>
                    <a:lnTo>
                      <a:pt x="0" y="142875"/>
                    </a:lnTo>
                    <a:cubicBezTo>
                      <a:pt x="0" y="63970"/>
                      <a:pt x="63970" y="0"/>
                      <a:pt x="142875" y="0"/>
                    </a:cubicBezTo>
                    <a:lnTo>
                      <a:pt x="755018" y="0"/>
                    </a:lnTo>
                    <a:cubicBezTo>
                      <a:pt x="833923" y="0"/>
                      <a:pt x="897893" y="63970"/>
                      <a:pt x="897893" y="142875"/>
                    </a:cubicBezTo>
                    <a:lnTo>
                      <a:pt x="897893" y="612143"/>
                    </a:lnTo>
                    <a:cubicBezTo>
                      <a:pt x="897893" y="691048"/>
                      <a:pt x="833923" y="755018"/>
                      <a:pt x="755018" y="755018"/>
                    </a:cubicBezTo>
                    <a:close/>
                  </a:path>
                </a:pathLst>
              </a:custGeom>
              <a:solidFill>
                <a:schemeClr val="accent1"/>
              </a:solidFill>
              <a:ln w="9525" cap="flat">
                <a:noFill/>
                <a:prstDash val="solid"/>
                <a:miter/>
              </a:ln>
            </p:spPr>
            <p:txBody>
              <a:bodyPr rtlCol="0" anchor="ctr"/>
              <a:lstStyle/>
              <a:p>
                <a:endParaRPr lang="en-US" noProof="0"/>
              </a:p>
            </p:txBody>
          </p:sp>
          <p:sp>
            <p:nvSpPr>
              <p:cNvPr id="137" name="Freeform 136">
                <a:extLst>
                  <a:ext uri="{FF2B5EF4-FFF2-40B4-BE49-F238E27FC236}">
                    <a16:creationId xmlns:a16="http://schemas.microsoft.com/office/drawing/2014/main" id="{2DAD8E2D-EDEE-4048-952B-4D1D1E542449}"/>
                  </a:ext>
                </a:extLst>
              </p:cNvPr>
              <p:cNvSpPr/>
              <p:nvPr/>
            </p:nvSpPr>
            <p:spPr>
              <a:xfrm>
                <a:off x="2525826" y="1268031"/>
                <a:ext cx="394812" cy="113884"/>
              </a:xfrm>
              <a:custGeom>
                <a:avLst/>
                <a:gdLst>
                  <a:gd name="connsiteX0" fmla="*/ 1979295 w 2122169"/>
                  <a:gd name="connsiteY0" fmla="*/ 612143 h 612143"/>
                  <a:gd name="connsiteX1" fmla="*/ 142875 w 2122169"/>
                  <a:gd name="connsiteY1" fmla="*/ 612143 h 612143"/>
                  <a:gd name="connsiteX2" fmla="*/ 0 w 2122169"/>
                  <a:gd name="connsiteY2" fmla="*/ 469268 h 612143"/>
                  <a:gd name="connsiteX3" fmla="*/ 0 w 2122169"/>
                  <a:gd name="connsiteY3" fmla="*/ 142875 h 612143"/>
                  <a:gd name="connsiteX4" fmla="*/ 142875 w 2122169"/>
                  <a:gd name="connsiteY4" fmla="*/ 0 h 612143"/>
                  <a:gd name="connsiteX5" fmla="*/ 1979295 w 2122169"/>
                  <a:gd name="connsiteY5" fmla="*/ 0 h 612143"/>
                  <a:gd name="connsiteX6" fmla="*/ 2122170 w 2122169"/>
                  <a:gd name="connsiteY6" fmla="*/ 142875 h 612143"/>
                  <a:gd name="connsiteX7" fmla="*/ 2122170 w 2122169"/>
                  <a:gd name="connsiteY7" fmla="*/ 469268 h 612143"/>
                  <a:gd name="connsiteX8" fmla="*/ 1979295 w 2122169"/>
                  <a:gd name="connsiteY8" fmla="*/ 612143 h 612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169" h="612143">
                    <a:moveTo>
                      <a:pt x="1979295" y="612143"/>
                    </a:moveTo>
                    <a:lnTo>
                      <a:pt x="142875" y="612143"/>
                    </a:lnTo>
                    <a:cubicBezTo>
                      <a:pt x="63970" y="612143"/>
                      <a:pt x="0" y="548173"/>
                      <a:pt x="0" y="469268"/>
                    </a:cubicBezTo>
                    <a:lnTo>
                      <a:pt x="0" y="142875"/>
                    </a:lnTo>
                    <a:cubicBezTo>
                      <a:pt x="0" y="63970"/>
                      <a:pt x="63970" y="0"/>
                      <a:pt x="142875" y="0"/>
                    </a:cubicBezTo>
                    <a:lnTo>
                      <a:pt x="1979295" y="0"/>
                    </a:lnTo>
                    <a:cubicBezTo>
                      <a:pt x="2058200" y="0"/>
                      <a:pt x="2122170" y="63970"/>
                      <a:pt x="2122170" y="142875"/>
                    </a:cubicBezTo>
                    <a:lnTo>
                      <a:pt x="2122170" y="469268"/>
                    </a:lnTo>
                    <a:cubicBezTo>
                      <a:pt x="2122170" y="548173"/>
                      <a:pt x="2058200" y="612143"/>
                      <a:pt x="1979295" y="612143"/>
                    </a:cubicBezTo>
                    <a:close/>
                  </a:path>
                </a:pathLst>
              </a:custGeom>
              <a:solidFill>
                <a:schemeClr val="tx2">
                  <a:lumMod val="40000"/>
                  <a:lumOff val="60000"/>
                </a:schemeClr>
              </a:solidFill>
              <a:ln w="9525" cap="flat">
                <a:noFill/>
                <a:prstDash val="solid"/>
                <a:miter/>
              </a:ln>
            </p:spPr>
            <p:txBody>
              <a:bodyPr rtlCol="0" anchor="ctr"/>
              <a:lstStyle/>
              <a:p>
                <a:endParaRPr lang="en-US" noProof="0"/>
              </a:p>
            </p:txBody>
          </p:sp>
          <p:sp>
            <p:nvSpPr>
              <p:cNvPr id="138" name="Freeform 137">
                <a:extLst>
                  <a:ext uri="{FF2B5EF4-FFF2-40B4-BE49-F238E27FC236}">
                    <a16:creationId xmlns:a16="http://schemas.microsoft.com/office/drawing/2014/main" id="{427EEBD9-FA82-22EE-493C-30642C6CF823}"/>
                  </a:ext>
                </a:extLst>
              </p:cNvPr>
              <p:cNvSpPr/>
              <p:nvPr/>
            </p:nvSpPr>
            <p:spPr>
              <a:xfrm>
                <a:off x="2525826" y="700502"/>
                <a:ext cx="679519" cy="594110"/>
              </a:xfrm>
              <a:custGeom>
                <a:avLst/>
                <a:gdLst>
                  <a:gd name="connsiteX0" fmla="*/ 2055810 w 3652513"/>
                  <a:gd name="connsiteY0" fmla="*/ 3193428 h 3193427"/>
                  <a:gd name="connsiteX1" fmla="*/ 0 w 3652513"/>
                  <a:gd name="connsiteY1" fmla="*/ 3193428 h 3193427"/>
                  <a:gd name="connsiteX2" fmla="*/ 0 w 3652513"/>
                  <a:gd name="connsiteY2" fmla="*/ 2438410 h 3193427"/>
                  <a:gd name="connsiteX3" fmla="*/ 142875 w 3652513"/>
                  <a:gd name="connsiteY3" fmla="*/ 2295535 h 3193427"/>
                  <a:gd name="connsiteX4" fmla="*/ 2055810 w 3652513"/>
                  <a:gd name="connsiteY4" fmla="*/ 2295535 h 3193427"/>
                  <a:gd name="connsiteX5" fmla="*/ 2754630 w 3652513"/>
                  <a:gd name="connsiteY5" fmla="*/ 1596714 h 3193427"/>
                  <a:gd name="connsiteX6" fmla="*/ 2055810 w 3652513"/>
                  <a:gd name="connsiteY6" fmla="*/ 897893 h 3193427"/>
                  <a:gd name="connsiteX7" fmla="*/ 1520190 w 3652513"/>
                  <a:gd name="connsiteY7" fmla="*/ 897893 h 3193427"/>
                  <a:gd name="connsiteX8" fmla="*/ 1377315 w 3652513"/>
                  <a:gd name="connsiteY8" fmla="*/ 755018 h 3193427"/>
                  <a:gd name="connsiteX9" fmla="*/ 1377315 w 3652513"/>
                  <a:gd name="connsiteY9" fmla="*/ 142875 h 3193427"/>
                  <a:gd name="connsiteX10" fmla="*/ 1519038 w 3652513"/>
                  <a:gd name="connsiteY10" fmla="*/ 0 h 3193427"/>
                  <a:gd name="connsiteX11" fmla="*/ 1520190 w 3652513"/>
                  <a:gd name="connsiteY11" fmla="*/ 0 h 3193427"/>
                  <a:gd name="connsiteX12" fmla="*/ 2055810 w 3652513"/>
                  <a:gd name="connsiteY12" fmla="*/ 0 h 3193427"/>
                  <a:gd name="connsiteX13" fmla="*/ 3652514 w 3652513"/>
                  <a:gd name="connsiteY13" fmla="*/ 1596628 h 3193427"/>
                  <a:gd name="connsiteX14" fmla="*/ 3652514 w 3652513"/>
                  <a:gd name="connsiteY14" fmla="*/ 1596704 h 3193427"/>
                  <a:gd name="connsiteX15" fmla="*/ 2055810 w 3652513"/>
                  <a:gd name="connsiteY15" fmla="*/ 3193428 h 319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52513" h="3193427">
                    <a:moveTo>
                      <a:pt x="2055810" y="3193428"/>
                    </a:moveTo>
                    <a:lnTo>
                      <a:pt x="0" y="3193428"/>
                    </a:lnTo>
                    <a:lnTo>
                      <a:pt x="0" y="2438410"/>
                    </a:lnTo>
                    <a:cubicBezTo>
                      <a:pt x="0" y="2359505"/>
                      <a:pt x="63970" y="2295535"/>
                      <a:pt x="142875" y="2295535"/>
                    </a:cubicBezTo>
                    <a:lnTo>
                      <a:pt x="2055810" y="2295535"/>
                    </a:lnTo>
                    <a:cubicBezTo>
                      <a:pt x="2441143" y="2295535"/>
                      <a:pt x="2754630" y="1982048"/>
                      <a:pt x="2754630" y="1596714"/>
                    </a:cubicBezTo>
                    <a:cubicBezTo>
                      <a:pt x="2754630" y="1210694"/>
                      <a:pt x="2442420" y="897893"/>
                      <a:pt x="2055810" y="897893"/>
                    </a:cubicBezTo>
                    <a:lnTo>
                      <a:pt x="1520190" y="897893"/>
                    </a:lnTo>
                    <a:cubicBezTo>
                      <a:pt x="1441285" y="897893"/>
                      <a:pt x="1377315" y="833923"/>
                      <a:pt x="1377315" y="755018"/>
                    </a:cubicBezTo>
                    <a:lnTo>
                      <a:pt x="1377315" y="142875"/>
                    </a:lnTo>
                    <a:cubicBezTo>
                      <a:pt x="1377315" y="64351"/>
                      <a:pt x="1440656" y="619"/>
                      <a:pt x="1519038" y="0"/>
                    </a:cubicBezTo>
                    <a:lnTo>
                      <a:pt x="1520190" y="0"/>
                    </a:lnTo>
                    <a:lnTo>
                      <a:pt x="2055810" y="0"/>
                    </a:lnTo>
                    <a:cubicBezTo>
                      <a:pt x="2936234" y="0"/>
                      <a:pt x="3652514" y="716242"/>
                      <a:pt x="3652514" y="1596628"/>
                    </a:cubicBezTo>
                    <a:lnTo>
                      <a:pt x="3652514" y="1596704"/>
                    </a:lnTo>
                    <a:cubicBezTo>
                      <a:pt x="3652514" y="2477148"/>
                      <a:pt x="2936234" y="3193428"/>
                      <a:pt x="2055810" y="3193428"/>
                    </a:cubicBezTo>
                    <a:close/>
                  </a:path>
                </a:pathLst>
              </a:custGeom>
              <a:solidFill>
                <a:schemeClr val="accent2">
                  <a:lumMod val="90000"/>
                </a:schemeClr>
              </a:solidFill>
              <a:ln w="12700" cap="flat">
                <a:solidFill>
                  <a:schemeClr val="bg1"/>
                </a:solidFill>
                <a:prstDash val="solid"/>
                <a:miter/>
              </a:ln>
            </p:spPr>
            <p:txBody>
              <a:bodyPr rtlCol="0" anchor="ctr"/>
              <a:lstStyle/>
              <a:p>
                <a:endParaRPr lang="en-US" noProof="0"/>
              </a:p>
            </p:txBody>
          </p:sp>
          <p:sp>
            <p:nvSpPr>
              <p:cNvPr id="139" name="Freeform 138">
                <a:extLst>
                  <a:ext uri="{FF2B5EF4-FFF2-40B4-BE49-F238E27FC236}">
                    <a16:creationId xmlns:a16="http://schemas.microsoft.com/office/drawing/2014/main" id="{D76F0442-D9F8-7C96-8D17-255E43375961}"/>
                  </a:ext>
                </a:extLst>
              </p:cNvPr>
              <p:cNvSpPr/>
              <p:nvPr/>
            </p:nvSpPr>
            <p:spPr>
              <a:xfrm>
                <a:off x="2611238" y="615093"/>
                <a:ext cx="223987" cy="337869"/>
              </a:xfrm>
              <a:custGeom>
                <a:avLst/>
                <a:gdLst>
                  <a:gd name="connsiteX0" fmla="*/ 1061085 w 1203960"/>
                  <a:gd name="connsiteY0" fmla="*/ 1816094 h 1816093"/>
                  <a:gd name="connsiteX1" fmla="*/ 142875 w 1203960"/>
                  <a:gd name="connsiteY1" fmla="*/ 1816094 h 1816093"/>
                  <a:gd name="connsiteX2" fmla="*/ 0 w 1203960"/>
                  <a:gd name="connsiteY2" fmla="*/ 1673219 h 1816093"/>
                  <a:gd name="connsiteX3" fmla="*/ 0 w 1203960"/>
                  <a:gd name="connsiteY3" fmla="*/ 142875 h 1816093"/>
                  <a:gd name="connsiteX4" fmla="*/ 142875 w 1203960"/>
                  <a:gd name="connsiteY4" fmla="*/ 0 h 1816093"/>
                  <a:gd name="connsiteX5" fmla="*/ 1061085 w 1203960"/>
                  <a:gd name="connsiteY5" fmla="*/ 0 h 1816093"/>
                  <a:gd name="connsiteX6" fmla="*/ 1203960 w 1203960"/>
                  <a:gd name="connsiteY6" fmla="*/ 142875 h 1816093"/>
                  <a:gd name="connsiteX7" fmla="*/ 1203960 w 1203960"/>
                  <a:gd name="connsiteY7" fmla="*/ 1673228 h 1816093"/>
                  <a:gd name="connsiteX8" fmla="*/ 1061085 w 1203960"/>
                  <a:gd name="connsiteY8" fmla="*/ 1816094 h 181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3960" h="1816093">
                    <a:moveTo>
                      <a:pt x="1061085" y="1816094"/>
                    </a:moveTo>
                    <a:lnTo>
                      <a:pt x="142875" y="1816094"/>
                    </a:lnTo>
                    <a:cubicBezTo>
                      <a:pt x="63970" y="1816094"/>
                      <a:pt x="0" y="1752124"/>
                      <a:pt x="0" y="1673219"/>
                    </a:cubicBezTo>
                    <a:lnTo>
                      <a:pt x="0" y="142875"/>
                    </a:lnTo>
                    <a:cubicBezTo>
                      <a:pt x="0" y="63970"/>
                      <a:pt x="63970" y="0"/>
                      <a:pt x="142875" y="0"/>
                    </a:cubicBezTo>
                    <a:lnTo>
                      <a:pt x="1061085" y="0"/>
                    </a:lnTo>
                    <a:cubicBezTo>
                      <a:pt x="1139990" y="0"/>
                      <a:pt x="1203960" y="63970"/>
                      <a:pt x="1203960" y="142875"/>
                    </a:cubicBezTo>
                    <a:lnTo>
                      <a:pt x="1203960" y="1673228"/>
                    </a:lnTo>
                    <a:cubicBezTo>
                      <a:pt x="1203960" y="1752124"/>
                      <a:pt x="1139990" y="1816094"/>
                      <a:pt x="1061085" y="1816094"/>
                    </a:cubicBezTo>
                    <a:close/>
                  </a:path>
                </a:pathLst>
              </a:custGeom>
              <a:solidFill>
                <a:schemeClr val="accent1">
                  <a:lumMod val="20000"/>
                  <a:lumOff val="80000"/>
                </a:schemeClr>
              </a:solidFill>
              <a:ln w="12700" cap="flat">
                <a:solidFill>
                  <a:schemeClr val="accent1">
                    <a:lumMod val="40000"/>
                    <a:lumOff val="60000"/>
                    <a:alpha val="99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noProof="0"/>
              </a:p>
            </p:txBody>
          </p:sp>
          <p:sp>
            <p:nvSpPr>
              <p:cNvPr id="140" name="Freeform 139">
                <a:extLst>
                  <a:ext uri="{FF2B5EF4-FFF2-40B4-BE49-F238E27FC236}">
                    <a16:creationId xmlns:a16="http://schemas.microsoft.com/office/drawing/2014/main" id="{57B03537-5354-78A1-18B4-6EAEFA62DF25}"/>
                  </a:ext>
                </a:extLst>
              </p:cNvPr>
              <p:cNvSpPr/>
              <p:nvPr/>
            </p:nvSpPr>
            <p:spPr>
              <a:xfrm>
                <a:off x="2611238" y="501209"/>
                <a:ext cx="223987" cy="53161"/>
              </a:xfrm>
              <a:custGeom>
                <a:avLst/>
                <a:gdLst>
                  <a:gd name="connsiteX0" fmla="*/ 1061085 w 1203960"/>
                  <a:gd name="connsiteY0" fmla="*/ 285750 h 285750"/>
                  <a:gd name="connsiteX1" fmla="*/ 142875 w 1203960"/>
                  <a:gd name="connsiteY1" fmla="*/ 285750 h 285750"/>
                  <a:gd name="connsiteX2" fmla="*/ 0 w 1203960"/>
                  <a:gd name="connsiteY2" fmla="*/ 142875 h 285750"/>
                  <a:gd name="connsiteX3" fmla="*/ 142875 w 1203960"/>
                  <a:gd name="connsiteY3" fmla="*/ 0 h 285750"/>
                  <a:gd name="connsiteX4" fmla="*/ 1061085 w 1203960"/>
                  <a:gd name="connsiteY4" fmla="*/ 0 h 285750"/>
                  <a:gd name="connsiteX5" fmla="*/ 1203960 w 1203960"/>
                  <a:gd name="connsiteY5" fmla="*/ 142875 h 285750"/>
                  <a:gd name="connsiteX6" fmla="*/ 1061085 w 1203960"/>
                  <a:gd name="connsiteY6"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3960" h="285750">
                    <a:moveTo>
                      <a:pt x="1061085" y="285750"/>
                    </a:moveTo>
                    <a:lnTo>
                      <a:pt x="142875" y="285750"/>
                    </a:lnTo>
                    <a:cubicBezTo>
                      <a:pt x="63970" y="285750"/>
                      <a:pt x="0" y="221780"/>
                      <a:pt x="0" y="142875"/>
                    </a:cubicBezTo>
                    <a:cubicBezTo>
                      <a:pt x="0" y="63970"/>
                      <a:pt x="63970" y="0"/>
                      <a:pt x="142875" y="0"/>
                    </a:cubicBezTo>
                    <a:lnTo>
                      <a:pt x="1061085" y="0"/>
                    </a:lnTo>
                    <a:cubicBezTo>
                      <a:pt x="1139990" y="0"/>
                      <a:pt x="1203960" y="63970"/>
                      <a:pt x="1203960" y="142875"/>
                    </a:cubicBezTo>
                    <a:cubicBezTo>
                      <a:pt x="1203960" y="221780"/>
                      <a:pt x="1139990" y="285750"/>
                      <a:pt x="1061085" y="285750"/>
                    </a:cubicBezTo>
                    <a:close/>
                  </a:path>
                </a:pathLst>
              </a:custGeom>
              <a:solidFill>
                <a:schemeClr val="accent1">
                  <a:lumMod val="20000"/>
                  <a:lumOff val="80000"/>
                </a:schemeClr>
              </a:solidFill>
              <a:ln w="12700" cap="flat">
                <a:solidFill>
                  <a:schemeClr val="accent1">
                    <a:lumMod val="40000"/>
                    <a:lumOff val="60000"/>
                    <a:alpha val="99000"/>
                  </a:schemeClr>
                </a:solidFill>
                <a:prstDash val="solid"/>
                <a:miter/>
              </a:ln>
            </p:spPr>
            <p:txBody>
              <a:bodyPr rtlCol="0" anchor="ctr"/>
              <a:lstStyle/>
              <a:p>
                <a:endParaRPr lang="en-US" noProof="0"/>
              </a:p>
            </p:txBody>
          </p:sp>
          <p:sp>
            <p:nvSpPr>
              <p:cNvPr id="141" name="Freeform 140">
                <a:extLst>
                  <a:ext uri="{FF2B5EF4-FFF2-40B4-BE49-F238E27FC236}">
                    <a16:creationId xmlns:a16="http://schemas.microsoft.com/office/drawing/2014/main" id="{9CB8F68B-2A1B-CCB9-0307-F41D908B8669}"/>
                  </a:ext>
                </a:extLst>
              </p:cNvPr>
              <p:cNvSpPr/>
              <p:nvPr/>
            </p:nvSpPr>
            <p:spPr>
              <a:xfrm>
                <a:off x="2440413" y="1355335"/>
                <a:ext cx="565637" cy="53161"/>
              </a:xfrm>
              <a:custGeom>
                <a:avLst/>
                <a:gdLst>
                  <a:gd name="connsiteX0" fmla="*/ 2897505 w 3040380"/>
                  <a:gd name="connsiteY0" fmla="*/ 285750 h 285750"/>
                  <a:gd name="connsiteX1" fmla="*/ 142875 w 3040380"/>
                  <a:gd name="connsiteY1" fmla="*/ 285750 h 285750"/>
                  <a:gd name="connsiteX2" fmla="*/ 0 w 3040380"/>
                  <a:gd name="connsiteY2" fmla="*/ 142875 h 285750"/>
                  <a:gd name="connsiteX3" fmla="*/ 142875 w 3040380"/>
                  <a:gd name="connsiteY3" fmla="*/ 0 h 285750"/>
                  <a:gd name="connsiteX4" fmla="*/ 2897505 w 3040380"/>
                  <a:gd name="connsiteY4" fmla="*/ 0 h 285750"/>
                  <a:gd name="connsiteX5" fmla="*/ 3040380 w 3040380"/>
                  <a:gd name="connsiteY5" fmla="*/ 142875 h 285750"/>
                  <a:gd name="connsiteX6" fmla="*/ 2897505 w 3040380"/>
                  <a:gd name="connsiteY6"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0380" h="285750">
                    <a:moveTo>
                      <a:pt x="2897505" y="285750"/>
                    </a:moveTo>
                    <a:lnTo>
                      <a:pt x="142875" y="285750"/>
                    </a:lnTo>
                    <a:cubicBezTo>
                      <a:pt x="63970" y="285750"/>
                      <a:pt x="0" y="221780"/>
                      <a:pt x="0" y="142875"/>
                    </a:cubicBezTo>
                    <a:cubicBezTo>
                      <a:pt x="0" y="63970"/>
                      <a:pt x="63970" y="0"/>
                      <a:pt x="142875" y="0"/>
                    </a:cubicBezTo>
                    <a:lnTo>
                      <a:pt x="2897505" y="0"/>
                    </a:lnTo>
                    <a:cubicBezTo>
                      <a:pt x="2976410" y="0"/>
                      <a:pt x="3040380" y="63970"/>
                      <a:pt x="3040380" y="142875"/>
                    </a:cubicBezTo>
                    <a:cubicBezTo>
                      <a:pt x="3040380" y="221780"/>
                      <a:pt x="2976410" y="285750"/>
                      <a:pt x="2897505" y="285750"/>
                    </a:cubicBezTo>
                    <a:close/>
                  </a:path>
                </a:pathLst>
              </a:custGeom>
              <a:solidFill>
                <a:schemeClr val="tx2">
                  <a:lumMod val="60000"/>
                  <a:lumOff val="40000"/>
                </a:schemeClr>
              </a:solidFill>
              <a:ln w="9525" cap="flat">
                <a:noFill/>
                <a:prstDash val="solid"/>
                <a:miter/>
              </a:ln>
            </p:spPr>
            <p:txBody>
              <a:bodyPr rtlCol="0" anchor="ctr"/>
              <a:lstStyle/>
              <a:p>
                <a:endParaRPr lang="en-US" noProof="0"/>
              </a:p>
            </p:txBody>
          </p:sp>
          <p:sp>
            <p:nvSpPr>
              <p:cNvPr id="142" name="Freeform 141">
                <a:extLst>
                  <a:ext uri="{FF2B5EF4-FFF2-40B4-BE49-F238E27FC236}">
                    <a16:creationId xmlns:a16="http://schemas.microsoft.com/office/drawing/2014/main" id="{0D3F95AE-B1FD-626D-890E-A4A33C2B6CBA}"/>
                  </a:ext>
                </a:extLst>
              </p:cNvPr>
              <p:cNvSpPr/>
              <p:nvPr/>
            </p:nvSpPr>
            <p:spPr>
              <a:xfrm>
                <a:off x="2725123" y="700506"/>
                <a:ext cx="167044" cy="167043"/>
              </a:xfrm>
              <a:custGeom>
                <a:avLst/>
                <a:gdLst>
                  <a:gd name="connsiteX0" fmla="*/ 897884 w 897883"/>
                  <a:gd name="connsiteY0" fmla="*/ 448942 h 897883"/>
                  <a:gd name="connsiteX1" fmla="*/ 448942 w 897883"/>
                  <a:gd name="connsiteY1" fmla="*/ 897884 h 897883"/>
                  <a:gd name="connsiteX2" fmla="*/ 0 w 897883"/>
                  <a:gd name="connsiteY2" fmla="*/ 448942 h 897883"/>
                  <a:gd name="connsiteX3" fmla="*/ 448942 w 897883"/>
                  <a:gd name="connsiteY3" fmla="*/ 0 h 897883"/>
                  <a:gd name="connsiteX4" fmla="*/ 897884 w 897883"/>
                  <a:gd name="connsiteY4" fmla="*/ 448942 h 89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883" h="897883">
                    <a:moveTo>
                      <a:pt x="897884" y="448942"/>
                    </a:moveTo>
                    <a:cubicBezTo>
                      <a:pt x="897884" y="696886"/>
                      <a:pt x="696886" y="897884"/>
                      <a:pt x="448942" y="897884"/>
                    </a:cubicBezTo>
                    <a:cubicBezTo>
                      <a:pt x="200998" y="897884"/>
                      <a:pt x="0" y="696886"/>
                      <a:pt x="0" y="448942"/>
                    </a:cubicBezTo>
                    <a:cubicBezTo>
                      <a:pt x="0" y="200998"/>
                      <a:pt x="200998" y="0"/>
                      <a:pt x="448942" y="0"/>
                    </a:cubicBezTo>
                    <a:cubicBezTo>
                      <a:pt x="696886" y="0"/>
                      <a:pt x="897884" y="200998"/>
                      <a:pt x="897884" y="448942"/>
                    </a:cubicBezTo>
                    <a:close/>
                  </a:path>
                </a:pathLst>
              </a:custGeom>
              <a:solidFill>
                <a:schemeClr val="accent3"/>
              </a:solidFill>
              <a:ln w="12700" cap="flat">
                <a:solidFill>
                  <a:schemeClr val="bg1"/>
                </a:solidFill>
                <a:prstDash val="solid"/>
                <a:miter/>
              </a:ln>
            </p:spPr>
            <p:txBody>
              <a:bodyPr rtlCol="0" anchor="ctr"/>
              <a:lstStyle/>
              <a:p>
                <a:endParaRPr lang="en-US" noProof="0"/>
              </a:p>
            </p:txBody>
          </p:sp>
        </p:grpSp>
      </p:grpSp>
    </p:spTree>
    <p:extLst>
      <p:ext uri="{BB962C8B-B14F-4D97-AF65-F5344CB8AC3E}">
        <p14:creationId xmlns:p14="http://schemas.microsoft.com/office/powerpoint/2010/main" val="2660083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a:extLst>
            <a:ext uri="{FF2B5EF4-FFF2-40B4-BE49-F238E27FC236}">
              <a16:creationId xmlns:a16="http://schemas.microsoft.com/office/drawing/2014/main" id="{67E1EC7C-6436-2405-2E41-75B76C123E5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B61E5C4-E4EA-5A78-4F9B-B5ED025AF21B}"/>
              </a:ext>
            </a:extLst>
          </p:cNvPr>
          <p:cNvSpPr>
            <a:spLocks noGrp="1"/>
          </p:cNvSpPr>
          <p:nvPr>
            <p:ph type="title"/>
          </p:nvPr>
        </p:nvSpPr>
        <p:spPr/>
        <p:txBody>
          <a:bodyPr>
            <a:normAutofit fontScale="90000"/>
          </a:bodyPr>
          <a:lstStyle/>
          <a:p>
            <a:r>
              <a:rPr kumimoji="0" lang="en-US" sz="2200" b="0" i="0" u="none" strike="noStrike" kern="0" cap="none" spc="0" normalizeH="0" baseline="0" noProof="0">
                <a:ln>
                  <a:noFill/>
                </a:ln>
                <a:solidFill>
                  <a:srgbClr val="0B436E"/>
                </a:solidFill>
                <a:effectLst/>
                <a:uLnTx/>
                <a:uFillTx/>
                <a:latin typeface="Calibri" panose="020F0502020204030204"/>
                <a:ea typeface="+mn-ea"/>
                <a:cs typeface="+mn-cs"/>
              </a:rPr>
              <a:t>                         Median Time to First TIS ≥20 and ≥40</a:t>
            </a:r>
          </a:p>
        </p:txBody>
      </p:sp>
      <p:sp>
        <p:nvSpPr>
          <p:cNvPr id="3" name="Slide Number Placeholder 2">
            <a:extLst>
              <a:ext uri="{FF2B5EF4-FFF2-40B4-BE49-F238E27FC236}">
                <a16:creationId xmlns:a16="http://schemas.microsoft.com/office/drawing/2014/main" id="{EECB9FF9-0540-551C-ECB8-6147DC6DFEA2}"/>
              </a:ext>
            </a:extLst>
          </p:cNvPr>
          <p:cNvSpPr>
            <a:spLocks noGrp="1"/>
          </p:cNvSpPr>
          <p:nvPr>
            <p:ph type="sldNum" sz="quarter" idx="4"/>
          </p:nvPr>
        </p:nvSpPr>
        <p:spPr>
          <a:xfrm>
            <a:off x="361949" y="6409540"/>
            <a:ext cx="274320" cy="274320"/>
          </a:xfrm>
        </p:spPr>
        <p:txBody>
          <a:bodyPr/>
          <a:lstStyle/>
          <a:p>
            <a:fld id="{1916DDDD-2DB5-41B0-89CB-F50E795279FE}" type="slidenum">
              <a:rPr lang="en-US" noProof="0" smtClean="0"/>
              <a:pPr/>
              <a:t>15</a:t>
            </a:fld>
            <a:endParaRPr lang="en-US" noProof="0"/>
          </a:p>
        </p:txBody>
      </p:sp>
      <p:sp>
        <p:nvSpPr>
          <p:cNvPr id="7" name="Footer Placeholder 12">
            <a:extLst>
              <a:ext uri="{FF2B5EF4-FFF2-40B4-BE49-F238E27FC236}">
                <a16:creationId xmlns:a16="http://schemas.microsoft.com/office/drawing/2014/main" id="{9B008474-5006-0CCF-C348-74542F84911D}"/>
              </a:ext>
            </a:extLst>
          </p:cNvPr>
          <p:cNvSpPr txBox="1">
            <a:spLocks/>
          </p:cNvSpPr>
          <p:nvPr/>
        </p:nvSpPr>
        <p:spPr>
          <a:xfrm>
            <a:off x="904875" y="6566905"/>
            <a:ext cx="9418320" cy="116955"/>
          </a:xfrm>
          <a:prstGeom prst="rect">
            <a:avLst/>
          </a:prstGeom>
          <a:noFill/>
        </p:spPr>
        <p:txBody>
          <a:bodyPr vert="horz" wrap="square" lIns="0" tIns="0" rIns="0" bIns="0" rtlCol="0" anchor="b">
            <a:spAutoFit/>
          </a:bodyPr>
          <a:lstStyle>
            <a:defPPr>
              <a:defRPr lang="en-US"/>
            </a:defPPr>
            <a:lvl1pPr marL="0" algn="l" defTabSz="914400" rtl="0" eaLnBrk="1" latinLnBrk="0" hangingPunct="1">
              <a:lnSpc>
                <a:spcPct val="95000"/>
              </a:lnSpc>
              <a:spcBef>
                <a:spcPts val="400"/>
              </a:spcBef>
              <a:defRPr lang="en-US" sz="800" b="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noProof="0"/>
              <a:t>PH20, recombinant human hyaluronidase PH20; SC, subcutaneous; TIS, Total Improvement Score.</a:t>
            </a:r>
          </a:p>
        </p:txBody>
      </p:sp>
      <p:grpSp>
        <p:nvGrpSpPr>
          <p:cNvPr id="26" name="Group 25">
            <a:extLst>
              <a:ext uri="{FF2B5EF4-FFF2-40B4-BE49-F238E27FC236}">
                <a16:creationId xmlns:a16="http://schemas.microsoft.com/office/drawing/2014/main" id="{7EDEB811-3A48-01EC-769F-E8A64567603F}"/>
              </a:ext>
            </a:extLst>
          </p:cNvPr>
          <p:cNvGrpSpPr>
            <a:grpSpLocks noChangeAspect="1"/>
          </p:cNvGrpSpPr>
          <p:nvPr/>
        </p:nvGrpSpPr>
        <p:grpSpPr>
          <a:xfrm>
            <a:off x="395875" y="460905"/>
            <a:ext cx="633531" cy="548640"/>
            <a:chOff x="4057749" y="588804"/>
            <a:chExt cx="880627" cy="762626"/>
          </a:xfrm>
        </p:grpSpPr>
        <p:sp>
          <p:nvSpPr>
            <p:cNvPr id="27" name="Freeform 26">
              <a:extLst>
                <a:ext uri="{FF2B5EF4-FFF2-40B4-BE49-F238E27FC236}">
                  <a16:creationId xmlns:a16="http://schemas.microsoft.com/office/drawing/2014/main" id="{41C9C8D6-4602-775F-A073-E7F56900A264}"/>
                </a:ext>
              </a:extLst>
            </p:cNvPr>
            <p:cNvSpPr/>
            <p:nvPr/>
          </p:nvSpPr>
          <p:spPr>
            <a:xfrm>
              <a:off x="4057749" y="588804"/>
              <a:ext cx="880627" cy="762626"/>
            </a:xfrm>
            <a:custGeom>
              <a:avLst/>
              <a:gdLst>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139808 w 880627"/>
                <a:gd name="connsiteY75" fmla="*/ 25758 h 762626"/>
                <a:gd name="connsiteX76" fmla="*/ 114283 w 880627"/>
                <a:gd name="connsiteY76" fmla="*/ 51283 h 762626"/>
                <a:gd name="connsiteX77" fmla="*/ 114283 w 880627"/>
                <a:gd name="connsiteY77" fmla="*/ 140432 h 762626"/>
                <a:gd name="connsiteX78" fmla="*/ 139808 w 880627"/>
                <a:gd name="connsiteY78" fmla="*/ 165957 h 762626"/>
                <a:gd name="connsiteX79" fmla="*/ 165333 w 880627"/>
                <a:gd name="connsiteY79" fmla="*/ 140432 h 762626"/>
                <a:gd name="connsiteX80" fmla="*/ 165333 w 880627"/>
                <a:gd name="connsiteY80" fmla="*/ 51283 h 762626"/>
                <a:gd name="connsiteX81" fmla="*/ 139808 w 880627"/>
                <a:gd name="connsiteY81" fmla="*/ 25758 h 762626"/>
                <a:gd name="connsiteX82" fmla="*/ 634715 w 880627"/>
                <a:gd name="connsiteY82" fmla="*/ 260519 h 762626"/>
                <a:gd name="connsiteX83" fmla="*/ 634715 w 880627"/>
                <a:gd name="connsiteY83" fmla="*/ 330681 h 762626"/>
                <a:gd name="connsiteX84" fmla="*/ 663689 w 880627"/>
                <a:gd name="connsiteY84" fmla="*/ 328740 h 762626"/>
                <a:gd name="connsiteX85" fmla="*/ 722575 w 880627"/>
                <a:gd name="connsiteY85" fmla="*/ 336867 h 762626"/>
                <a:gd name="connsiteX86" fmla="*/ 723406 w 880627"/>
                <a:gd name="connsiteY86" fmla="*/ 337105 h 762626"/>
                <a:gd name="connsiteX87" fmla="*/ 761196 w 880627"/>
                <a:gd name="connsiteY87" fmla="*/ 351851 h 762626"/>
                <a:gd name="connsiteX88" fmla="*/ 761196 w 880627"/>
                <a:gd name="connsiteY88" fmla="*/ 260519 h 762626"/>
                <a:gd name="connsiteX89" fmla="*/ 634715 w 880627"/>
                <a:gd name="connsiteY89" fmla="*/ 260519 h 762626"/>
                <a:gd name="connsiteX90" fmla="*/ 25758 w 880627"/>
                <a:gd name="connsiteY90" fmla="*/ 260522 h 762626"/>
                <a:gd name="connsiteX91" fmla="*/ 25758 w 880627"/>
                <a:gd name="connsiteY91" fmla="*/ 383622 h 762626"/>
                <a:gd name="connsiteX92" fmla="*/ 152236 w 880627"/>
                <a:gd name="connsiteY92" fmla="*/ 383622 h 762626"/>
                <a:gd name="connsiteX93" fmla="*/ 152236 w 880627"/>
                <a:gd name="connsiteY93" fmla="*/ 260522 h 762626"/>
                <a:gd name="connsiteX94" fmla="*/ 25758 w 880627"/>
                <a:gd name="connsiteY94" fmla="*/ 260522 h 762626"/>
                <a:gd name="connsiteX95" fmla="*/ 178000 w 880627"/>
                <a:gd name="connsiteY95" fmla="*/ 260522 h 762626"/>
                <a:gd name="connsiteX96" fmla="*/ 178000 w 880627"/>
                <a:gd name="connsiteY96" fmla="*/ 383622 h 762626"/>
                <a:gd name="connsiteX97" fmla="*/ 304479 w 880627"/>
                <a:gd name="connsiteY97" fmla="*/ 383622 h 762626"/>
                <a:gd name="connsiteX98" fmla="*/ 304479 w 880627"/>
                <a:gd name="connsiteY98" fmla="*/ 260522 h 762626"/>
                <a:gd name="connsiteX99" fmla="*/ 178000 w 880627"/>
                <a:gd name="connsiteY99" fmla="*/ 260522 h 762626"/>
                <a:gd name="connsiteX100" fmla="*/ 330238 w 880627"/>
                <a:gd name="connsiteY100" fmla="*/ 260522 h 762626"/>
                <a:gd name="connsiteX101" fmla="*/ 330238 w 880627"/>
                <a:gd name="connsiteY101" fmla="*/ 383622 h 762626"/>
                <a:gd name="connsiteX102" fmla="*/ 456717 w 880627"/>
                <a:gd name="connsiteY102" fmla="*/ 383622 h 762626"/>
                <a:gd name="connsiteX103" fmla="*/ 456717 w 880627"/>
                <a:gd name="connsiteY103" fmla="*/ 260522 h 762626"/>
                <a:gd name="connsiteX104" fmla="*/ 330238 w 880627"/>
                <a:gd name="connsiteY104" fmla="*/ 260522 h 762626"/>
                <a:gd name="connsiteX105" fmla="*/ 482477 w 880627"/>
                <a:gd name="connsiteY105" fmla="*/ 260522 h 762626"/>
                <a:gd name="connsiteX106" fmla="*/ 482477 w 880627"/>
                <a:gd name="connsiteY106" fmla="*/ 383622 h 762626"/>
                <a:gd name="connsiteX107" fmla="*/ 519639 w 880627"/>
                <a:gd name="connsiteY107" fmla="*/ 383622 h 762626"/>
                <a:gd name="connsiteX108" fmla="*/ 608956 w 880627"/>
                <a:gd name="connsiteY108" fmla="*/ 335743 h 762626"/>
                <a:gd name="connsiteX109" fmla="*/ 608956 w 880627"/>
                <a:gd name="connsiteY109" fmla="*/ 260522 h 762626"/>
                <a:gd name="connsiteX110" fmla="*/ 482477 w 880627"/>
                <a:gd name="connsiteY110" fmla="*/ 260522 h 762626"/>
                <a:gd name="connsiteX111" fmla="*/ 25758 w 880627"/>
                <a:gd name="connsiteY111" fmla="*/ 409382 h 762626"/>
                <a:gd name="connsiteX112" fmla="*/ 25758 w 880627"/>
                <a:gd name="connsiteY112" fmla="*/ 532480 h 762626"/>
                <a:gd name="connsiteX113" fmla="*/ 152236 w 880627"/>
                <a:gd name="connsiteY113" fmla="*/ 532480 h 762626"/>
                <a:gd name="connsiteX114" fmla="*/ 152236 w 880627"/>
                <a:gd name="connsiteY114" fmla="*/ 409382 h 762626"/>
                <a:gd name="connsiteX115" fmla="*/ 25758 w 880627"/>
                <a:gd name="connsiteY115" fmla="*/ 409382 h 762626"/>
                <a:gd name="connsiteX116" fmla="*/ 177997 w 880627"/>
                <a:gd name="connsiteY116" fmla="*/ 409382 h 762626"/>
                <a:gd name="connsiteX117" fmla="*/ 177997 w 880627"/>
                <a:gd name="connsiteY117" fmla="*/ 532480 h 762626"/>
                <a:gd name="connsiteX118" fmla="*/ 304475 w 880627"/>
                <a:gd name="connsiteY118" fmla="*/ 532480 h 762626"/>
                <a:gd name="connsiteX119" fmla="*/ 304475 w 880627"/>
                <a:gd name="connsiteY119" fmla="*/ 409382 h 762626"/>
                <a:gd name="connsiteX120" fmla="*/ 177997 w 880627"/>
                <a:gd name="connsiteY120" fmla="*/ 409382 h 762626"/>
                <a:gd name="connsiteX121" fmla="*/ 330235 w 880627"/>
                <a:gd name="connsiteY121" fmla="*/ 409382 h 762626"/>
                <a:gd name="connsiteX122" fmla="*/ 330235 w 880627"/>
                <a:gd name="connsiteY122" fmla="*/ 532483 h 762626"/>
                <a:gd name="connsiteX123" fmla="*/ 447158 w 880627"/>
                <a:gd name="connsiteY123" fmla="*/ 532483 h 762626"/>
                <a:gd name="connsiteX124" fmla="*/ 456715 w 880627"/>
                <a:gd name="connsiteY124" fmla="*/ 480623 h 762626"/>
                <a:gd name="connsiteX125" fmla="*/ 456715 w 880627"/>
                <a:gd name="connsiteY125" fmla="*/ 409382 h 762626"/>
                <a:gd name="connsiteX126" fmla="*/ 330235 w 880627"/>
                <a:gd name="connsiteY126" fmla="*/ 409382 h 762626"/>
                <a:gd name="connsiteX127" fmla="*/ 482477 w 880627"/>
                <a:gd name="connsiteY127" fmla="*/ 409382 h 762626"/>
                <a:gd name="connsiteX128" fmla="*/ 482477 w 880627"/>
                <a:gd name="connsiteY128" fmla="*/ 426554 h 762626"/>
                <a:gd name="connsiteX129" fmla="*/ 495050 w 880627"/>
                <a:gd name="connsiteY129" fmla="*/ 409382 h 762626"/>
                <a:gd name="connsiteX130" fmla="*/ 482477 w 880627"/>
                <a:gd name="connsiteY130" fmla="*/ 409382 h 762626"/>
                <a:gd name="connsiteX131" fmla="*/ 25758 w 880627"/>
                <a:gd name="connsiteY131" fmla="*/ 558238 h 762626"/>
                <a:gd name="connsiteX132" fmla="*/ 25758 w 880627"/>
                <a:gd name="connsiteY132" fmla="*/ 646211 h 762626"/>
                <a:gd name="connsiteX133" fmla="*/ 60884 w 880627"/>
                <a:gd name="connsiteY133" fmla="*/ 681339 h 762626"/>
                <a:gd name="connsiteX134" fmla="*/ 152236 w 880627"/>
                <a:gd name="connsiteY134" fmla="*/ 681339 h 762626"/>
                <a:gd name="connsiteX135" fmla="*/ 152236 w 880627"/>
                <a:gd name="connsiteY135" fmla="*/ 558238 h 762626"/>
                <a:gd name="connsiteX136" fmla="*/ 25758 w 880627"/>
                <a:gd name="connsiteY136" fmla="*/ 558238 h 762626"/>
                <a:gd name="connsiteX137" fmla="*/ 178000 w 880627"/>
                <a:gd name="connsiteY137" fmla="*/ 558241 h 762626"/>
                <a:gd name="connsiteX138" fmla="*/ 178000 w 880627"/>
                <a:gd name="connsiteY138" fmla="*/ 681339 h 762626"/>
                <a:gd name="connsiteX139" fmla="*/ 304479 w 880627"/>
                <a:gd name="connsiteY139" fmla="*/ 681339 h 762626"/>
                <a:gd name="connsiteX140" fmla="*/ 304479 w 880627"/>
                <a:gd name="connsiteY140" fmla="*/ 558241 h 762626"/>
                <a:gd name="connsiteX141" fmla="*/ 178000 w 880627"/>
                <a:gd name="connsiteY141" fmla="*/ 558241 h 762626"/>
                <a:gd name="connsiteX142" fmla="*/ 330238 w 880627"/>
                <a:gd name="connsiteY142" fmla="*/ 558241 h 762626"/>
                <a:gd name="connsiteX143" fmla="*/ 330238 w 880627"/>
                <a:gd name="connsiteY143" fmla="*/ 681339 h 762626"/>
                <a:gd name="connsiteX144" fmla="*/ 494330 w 880627"/>
                <a:gd name="connsiteY144" fmla="*/ 681339 h 762626"/>
                <a:gd name="connsiteX145" fmla="*/ 447106 w 880627"/>
                <a:gd name="connsiteY145" fmla="*/ 558241 h 762626"/>
                <a:gd name="connsiteX146" fmla="*/ 330238 w 880627"/>
                <a:gd name="connsiteY146" fmla="*/ 558241 h 762626"/>
                <a:gd name="connsiteX147" fmla="*/ 647145 w 880627"/>
                <a:gd name="connsiteY147" fmla="*/ 25758 h 762626"/>
                <a:gd name="connsiteX148" fmla="*/ 621620 w 880627"/>
                <a:gd name="connsiteY148" fmla="*/ 51283 h 762626"/>
                <a:gd name="connsiteX149" fmla="*/ 621620 w 880627"/>
                <a:gd name="connsiteY149" fmla="*/ 140432 h 762626"/>
                <a:gd name="connsiteX150" fmla="*/ 647145 w 880627"/>
                <a:gd name="connsiteY150" fmla="*/ 165957 h 762626"/>
                <a:gd name="connsiteX151" fmla="*/ 672668 w 880627"/>
                <a:gd name="connsiteY151" fmla="*/ 140432 h 762626"/>
                <a:gd name="connsiteX152" fmla="*/ 672668 w 880627"/>
                <a:gd name="connsiteY152" fmla="*/ 51283 h 762626"/>
                <a:gd name="connsiteX153" fmla="*/ 647145 w 880627"/>
                <a:gd name="connsiteY153" fmla="*/ 25758 h 762626"/>
                <a:gd name="connsiteX154" fmla="*/ 478033 w 880627"/>
                <a:gd name="connsiteY154" fmla="*/ 25758 h 762626"/>
                <a:gd name="connsiteX155" fmla="*/ 452509 w 880627"/>
                <a:gd name="connsiteY155" fmla="*/ 51283 h 762626"/>
                <a:gd name="connsiteX156" fmla="*/ 452509 w 880627"/>
                <a:gd name="connsiteY156" fmla="*/ 140432 h 762626"/>
                <a:gd name="connsiteX157" fmla="*/ 478033 w 880627"/>
                <a:gd name="connsiteY157" fmla="*/ 165957 h 762626"/>
                <a:gd name="connsiteX158" fmla="*/ 503558 w 880627"/>
                <a:gd name="connsiteY158" fmla="*/ 140432 h 762626"/>
                <a:gd name="connsiteX159" fmla="*/ 503558 w 880627"/>
                <a:gd name="connsiteY159" fmla="*/ 51283 h 762626"/>
                <a:gd name="connsiteX160" fmla="*/ 478033 w 880627"/>
                <a:gd name="connsiteY160" fmla="*/ 25758 h 762626"/>
                <a:gd name="connsiteX161" fmla="*/ 308919 w 880627"/>
                <a:gd name="connsiteY161" fmla="*/ 25758 h 762626"/>
                <a:gd name="connsiteX162" fmla="*/ 283395 w 880627"/>
                <a:gd name="connsiteY162" fmla="*/ 51283 h 762626"/>
                <a:gd name="connsiteX163" fmla="*/ 283395 w 880627"/>
                <a:gd name="connsiteY163" fmla="*/ 140432 h 762626"/>
                <a:gd name="connsiteX164" fmla="*/ 308919 w 880627"/>
                <a:gd name="connsiteY164" fmla="*/ 165957 h 762626"/>
                <a:gd name="connsiteX165" fmla="*/ 334444 w 880627"/>
                <a:gd name="connsiteY165" fmla="*/ 140432 h 762626"/>
                <a:gd name="connsiteX166" fmla="*/ 334444 w 880627"/>
                <a:gd name="connsiteY166" fmla="*/ 51283 h 762626"/>
                <a:gd name="connsiteX167" fmla="*/ 308919 w 880627"/>
                <a:gd name="connsiteY167" fmla="*/ 25758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139808 w 880627"/>
                <a:gd name="connsiteY75" fmla="*/ 25758 h 762626"/>
                <a:gd name="connsiteX76" fmla="*/ 114283 w 880627"/>
                <a:gd name="connsiteY76" fmla="*/ 140432 h 762626"/>
                <a:gd name="connsiteX77" fmla="*/ 139808 w 880627"/>
                <a:gd name="connsiteY77" fmla="*/ 165957 h 762626"/>
                <a:gd name="connsiteX78" fmla="*/ 165333 w 880627"/>
                <a:gd name="connsiteY78" fmla="*/ 140432 h 762626"/>
                <a:gd name="connsiteX79" fmla="*/ 165333 w 880627"/>
                <a:gd name="connsiteY79" fmla="*/ 51283 h 762626"/>
                <a:gd name="connsiteX80" fmla="*/ 139808 w 880627"/>
                <a:gd name="connsiteY80" fmla="*/ 25758 h 762626"/>
                <a:gd name="connsiteX81" fmla="*/ 634715 w 880627"/>
                <a:gd name="connsiteY81" fmla="*/ 260519 h 762626"/>
                <a:gd name="connsiteX82" fmla="*/ 634715 w 880627"/>
                <a:gd name="connsiteY82" fmla="*/ 330681 h 762626"/>
                <a:gd name="connsiteX83" fmla="*/ 663689 w 880627"/>
                <a:gd name="connsiteY83" fmla="*/ 328740 h 762626"/>
                <a:gd name="connsiteX84" fmla="*/ 722575 w 880627"/>
                <a:gd name="connsiteY84" fmla="*/ 336867 h 762626"/>
                <a:gd name="connsiteX85" fmla="*/ 723406 w 880627"/>
                <a:gd name="connsiteY85" fmla="*/ 337105 h 762626"/>
                <a:gd name="connsiteX86" fmla="*/ 761196 w 880627"/>
                <a:gd name="connsiteY86" fmla="*/ 351851 h 762626"/>
                <a:gd name="connsiteX87" fmla="*/ 761196 w 880627"/>
                <a:gd name="connsiteY87" fmla="*/ 260519 h 762626"/>
                <a:gd name="connsiteX88" fmla="*/ 634715 w 880627"/>
                <a:gd name="connsiteY88" fmla="*/ 260519 h 762626"/>
                <a:gd name="connsiteX89" fmla="*/ 25758 w 880627"/>
                <a:gd name="connsiteY89" fmla="*/ 260522 h 762626"/>
                <a:gd name="connsiteX90" fmla="*/ 25758 w 880627"/>
                <a:gd name="connsiteY90" fmla="*/ 383622 h 762626"/>
                <a:gd name="connsiteX91" fmla="*/ 152236 w 880627"/>
                <a:gd name="connsiteY91" fmla="*/ 383622 h 762626"/>
                <a:gd name="connsiteX92" fmla="*/ 152236 w 880627"/>
                <a:gd name="connsiteY92" fmla="*/ 260522 h 762626"/>
                <a:gd name="connsiteX93" fmla="*/ 25758 w 880627"/>
                <a:gd name="connsiteY93" fmla="*/ 260522 h 762626"/>
                <a:gd name="connsiteX94" fmla="*/ 178000 w 880627"/>
                <a:gd name="connsiteY94" fmla="*/ 260522 h 762626"/>
                <a:gd name="connsiteX95" fmla="*/ 178000 w 880627"/>
                <a:gd name="connsiteY95" fmla="*/ 383622 h 762626"/>
                <a:gd name="connsiteX96" fmla="*/ 304479 w 880627"/>
                <a:gd name="connsiteY96" fmla="*/ 383622 h 762626"/>
                <a:gd name="connsiteX97" fmla="*/ 304479 w 880627"/>
                <a:gd name="connsiteY97" fmla="*/ 260522 h 762626"/>
                <a:gd name="connsiteX98" fmla="*/ 178000 w 880627"/>
                <a:gd name="connsiteY98" fmla="*/ 260522 h 762626"/>
                <a:gd name="connsiteX99" fmla="*/ 330238 w 880627"/>
                <a:gd name="connsiteY99" fmla="*/ 260522 h 762626"/>
                <a:gd name="connsiteX100" fmla="*/ 330238 w 880627"/>
                <a:gd name="connsiteY100" fmla="*/ 383622 h 762626"/>
                <a:gd name="connsiteX101" fmla="*/ 456717 w 880627"/>
                <a:gd name="connsiteY101" fmla="*/ 383622 h 762626"/>
                <a:gd name="connsiteX102" fmla="*/ 456717 w 880627"/>
                <a:gd name="connsiteY102" fmla="*/ 260522 h 762626"/>
                <a:gd name="connsiteX103" fmla="*/ 330238 w 880627"/>
                <a:gd name="connsiteY103" fmla="*/ 260522 h 762626"/>
                <a:gd name="connsiteX104" fmla="*/ 482477 w 880627"/>
                <a:gd name="connsiteY104" fmla="*/ 260522 h 762626"/>
                <a:gd name="connsiteX105" fmla="*/ 482477 w 880627"/>
                <a:gd name="connsiteY105" fmla="*/ 383622 h 762626"/>
                <a:gd name="connsiteX106" fmla="*/ 519639 w 880627"/>
                <a:gd name="connsiteY106" fmla="*/ 383622 h 762626"/>
                <a:gd name="connsiteX107" fmla="*/ 608956 w 880627"/>
                <a:gd name="connsiteY107" fmla="*/ 335743 h 762626"/>
                <a:gd name="connsiteX108" fmla="*/ 608956 w 880627"/>
                <a:gd name="connsiteY108" fmla="*/ 260522 h 762626"/>
                <a:gd name="connsiteX109" fmla="*/ 482477 w 880627"/>
                <a:gd name="connsiteY109" fmla="*/ 260522 h 762626"/>
                <a:gd name="connsiteX110" fmla="*/ 25758 w 880627"/>
                <a:gd name="connsiteY110" fmla="*/ 409382 h 762626"/>
                <a:gd name="connsiteX111" fmla="*/ 25758 w 880627"/>
                <a:gd name="connsiteY111" fmla="*/ 532480 h 762626"/>
                <a:gd name="connsiteX112" fmla="*/ 152236 w 880627"/>
                <a:gd name="connsiteY112" fmla="*/ 532480 h 762626"/>
                <a:gd name="connsiteX113" fmla="*/ 152236 w 880627"/>
                <a:gd name="connsiteY113" fmla="*/ 409382 h 762626"/>
                <a:gd name="connsiteX114" fmla="*/ 25758 w 880627"/>
                <a:gd name="connsiteY114" fmla="*/ 409382 h 762626"/>
                <a:gd name="connsiteX115" fmla="*/ 177997 w 880627"/>
                <a:gd name="connsiteY115" fmla="*/ 409382 h 762626"/>
                <a:gd name="connsiteX116" fmla="*/ 177997 w 880627"/>
                <a:gd name="connsiteY116" fmla="*/ 532480 h 762626"/>
                <a:gd name="connsiteX117" fmla="*/ 304475 w 880627"/>
                <a:gd name="connsiteY117" fmla="*/ 532480 h 762626"/>
                <a:gd name="connsiteX118" fmla="*/ 304475 w 880627"/>
                <a:gd name="connsiteY118" fmla="*/ 409382 h 762626"/>
                <a:gd name="connsiteX119" fmla="*/ 177997 w 880627"/>
                <a:gd name="connsiteY119" fmla="*/ 409382 h 762626"/>
                <a:gd name="connsiteX120" fmla="*/ 330235 w 880627"/>
                <a:gd name="connsiteY120" fmla="*/ 409382 h 762626"/>
                <a:gd name="connsiteX121" fmla="*/ 330235 w 880627"/>
                <a:gd name="connsiteY121" fmla="*/ 532483 h 762626"/>
                <a:gd name="connsiteX122" fmla="*/ 447158 w 880627"/>
                <a:gd name="connsiteY122" fmla="*/ 532483 h 762626"/>
                <a:gd name="connsiteX123" fmla="*/ 456715 w 880627"/>
                <a:gd name="connsiteY123" fmla="*/ 480623 h 762626"/>
                <a:gd name="connsiteX124" fmla="*/ 456715 w 880627"/>
                <a:gd name="connsiteY124" fmla="*/ 409382 h 762626"/>
                <a:gd name="connsiteX125" fmla="*/ 330235 w 880627"/>
                <a:gd name="connsiteY125" fmla="*/ 409382 h 762626"/>
                <a:gd name="connsiteX126" fmla="*/ 482477 w 880627"/>
                <a:gd name="connsiteY126" fmla="*/ 409382 h 762626"/>
                <a:gd name="connsiteX127" fmla="*/ 482477 w 880627"/>
                <a:gd name="connsiteY127" fmla="*/ 426554 h 762626"/>
                <a:gd name="connsiteX128" fmla="*/ 495050 w 880627"/>
                <a:gd name="connsiteY128" fmla="*/ 409382 h 762626"/>
                <a:gd name="connsiteX129" fmla="*/ 482477 w 880627"/>
                <a:gd name="connsiteY129" fmla="*/ 409382 h 762626"/>
                <a:gd name="connsiteX130" fmla="*/ 25758 w 880627"/>
                <a:gd name="connsiteY130" fmla="*/ 558238 h 762626"/>
                <a:gd name="connsiteX131" fmla="*/ 25758 w 880627"/>
                <a:gd name="connsiteY131" fmla="*/ 646211 h 762626"/>
                <a:gd name="connsiteX132" fmla="*/ 60884 w 880627"/>
                <a:gd name="connsiteY132" fmla="*/ 681339 h 762626"/>
                <a:gd name="connsiteX133" fmla="*/ 152236 w 880627"/>
                <a:gd name="connsiteY133" fmla="*/ 681339 h 762626"/>
                <a:gd name="connsiteX134" fmla="*/ 152236 w 880627"/>
                <a:gd name="connsiteY134" fmla="*/ 558238 h 762626"/>
                <a:gd name="connsiteX135" fmla="*/ 25758 w 880627"/>
                <a:gd name="connsiteY135" fmla="*/ 558238 h 762626"/>
                <a:gd name="connsiteX136" fmla="*/ 178000 w 880627"/>
                <a:gd name="connsiteY136" fmla="*/ 558241 h 762626"/>
                <a:gd name="connsiteX137" fmla="*/ 178000 w 880627"/>
                <a:gd name="connsiteY137" fmla="*/ 681339 h 762626"/>
                <a:gd name="connsiteX138" fmla="*/ 304479 w 880627"/>
                <a:gd name="connsiteY138" fmla="*/ 681339 h 762626"/>
                <a:gd name="connsiteX139" fmla="*/ 304479 w 880627"/>
                <a:gd name="connsiteY139" fmla="*/ 558241 h 762626"/>
                <a:gd name="connsiteX140" fmla="*/ 178000 w 880627"/>
                <a:gd name="connsiteY140" fmla="*/ 558241 h 762626"/>
                <a:gd name="connsiteX141" fmla="*/ 330238 w 880627"/>
                <a:gd name="connsiteY141" fmla="*/ 558241 h 762626"/>
                <a:gd name="connsiteX142" fmla="*/ 330238 w 880627"/>
                <a:gd name="connsiteY142" fmla="*/ 681339 h 762626"/>
                <a:gd name="connsiteX143" fmla="*/ 494330 w 880627"/>
                <a:gd name="connsiteY143" fmla="*/ 681339 h 762626"/>
                <a:gd name="connsiteX144" fmla="*/ 447106 w 880627"/>
                <a:gd name="connsiteY144" fmla="*/ 558241 h 762626"/>
                <a:gd name="connsiteX145" fmla="*/ 330238 w 880627"/>
                <a:gd name="connsiteY145" fmla="*/ 558241 h 762626"/>
                <a:gd name="connsiteX146" fmla="*/ 647145 w 880627"/>
                <a:gd name="connsiteY146" fmla="*/ 25758 h 762626"/>
                <a:gd name="connsiteX147" fmla="*/ 621620 w 880627"/>
                <a:gd name="connsiteY147" fmla="*/ 51283 h 762626"/>
                <a:gd name="connsiteX148" fmla="*/ 621620 w 880627"/>
                <a:gd name="connsiteY148" fmla="*/ 140432 h 762626"/>
                <a:gd name="connsiteX149" fmla="*/ 647145 w 880627"/>
                <a:gd name="connsiteY149" fmla="*/ 165957 h 762626"/>
                <a:gd name="connsiteX150" fmla="*/ 672668 w 880627"/>
                <a:gd name="connsiteY150" fmla="*/ 140432 h 762626"/>
                <a:gd name="connsiteX151" fmla="*/ 672668 w 880627"/>
                <a:gd name="connsiteY151" fmla="*/ 51283 h 762626"/>
                <a:gd name="connsiteX152" fmla="*/ 647145 w 880627"/>
                <a:gd name="connsiteY152" fmla="*/ 25758 h 762626"/>
                <a:gd name="connsiteX153" fmla="*/ 478033 w 880627"/>
                <a:gd name="connsiteY153" fmla="*/ 25758 h 762626"/>
                <a:gd name="connsiteX154" fmla="*/ 452509 w 880627"/>
                <a:gd name="connsiteY154" fmla="*/ 51283 h 762626"/>
                <a:gd name="connsiteX155" fmla="*/ 452509 w 880627"/>
                <a:gd name="connsiteY155" fmla="*/ 140432 h 762626"/>
                <a:gd name="connsiteX156" fmla="*/ 478033 w 880627"/>
                <a:gd name="connsiteY156" fmla="*/ 165957 h 762626"/>
                <a:gd name="connsiteX157" fmla="*/ 503558 w 880627"/>
                <a:gd name="connsiteY157" fmla="*/ 140432 h 762626"/>
                <a:gd name="connsiteX158" fmla="*/ 503558 w 880627"/>
                <a:gd name="connsiteY158" fmla="*/ 51283 h 762626"/>
                <a:gd name="connsiteX159" fmla="*/ 478033 w 880627"/>
                <a:gd name="connsiteY159" fmla="*/ 25758 h 762626"/>
                <a:gd name="connsiteX160" fmla="*/ 308919 w 880627"/>
                <a:gd name="connsiteY160" fmla="*/ 25758 h 762626"/>
                <a:gd name="connsiteX161" fmla="*/ 283395 w 880627"/>
                <a:gd name="connsiteY161" fmla="*/ 51283 h 762626"/>
                <a:gd name="connsiteX162" fmla="*/ 283395 w 880627"/>
                <a:gd name="connsiteY162" fmla="*/ 140432 h 762626"/>
                <a:gd name="connsiteX163" fmla="*/ 308919 w 880627"/>
                <a:gd name="connsiteY163" fmla="*/ 165957 h 762626"/>
                <a:gd name="connsiteX164" fmla="*/ 334444 w 880627"/>
                <a:gd name="connsiteY164" fmla="*/ 140432 h 762626"/>
                <a:gd name="connsiteX165" fmla="*/ 334444 w 880627"/>
                <a:gd name="connsiteY165" fmla="*/ 51283 h 762626"/>
                <a:gd name="connsiteX166" fmla="*/ 308919 w 880627"/>
                <a:gd name="connsiteY166" fmla="*/ 25758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165333 w 880627"/>
                <a:gd name="connsiteY75" fmla="*/ 51283 h 762626"/>
                <a:gd name="connsiteX76" fmla="*/ 114283 w 880627"/>
                <a:gd name="connsiteY76" fmla="*/ 140432 h 762626"/>
                <a:gd name="connsiteX77" fmla="*/ 139808 w 880627"/>
                <a:gd name="connsiteY77" fmla="*/ 165957 h 762626"/>
                <a:gd name="connsiteX78" fmla="*/ 165333 w 880627"/>
                <a:gd name="connsiteY78" fmla="*/ 140432 h 762626"/>
                <a:gd name="connsiteX79" fmla="*/ 165333 w 880627"/>
                <a:gd name="connsiteY79" fmla="*/ 51283 h 762626"/>
                <a:gd name="connsiteX80" fmla="*/ 634715 w 880627"/>
                <a:gd name="connsiteY80" fmla="*/ 260519 h 762626"/>
                <a:gd name="connsiteX81" fmla="*/ 634715 w 880627"/>
                <a:gd name="connsiteY81" fmla="*/ 330681 h 762626"/>
                <a:gd name="connsiteX82" fmla="*/ 663689 w 880627"/>
                <a:gd name="connsiteY82" fmla="*/ 328740 h 762626"/>
                <a:gd name="connsiteX83" fmla="*/ 722575 w 880627"/>
                <a:gd name="connsiteY83" fmla="*/ 336867 h 762626"/>
                <a:gd name="connsiteX84" fmla="*/ 723406 w 880627"/>
                <a:gd name="connsiteY84" fmla="*/ 337105 h 762626"/>
                <a:gd name="connsiteX85" fmla="*/ 761196 w 880627"/>
                <a:gd name="connsiteY85" fmla="*/ 351851 h 762626"/>
                <a:gd name="connsiteX86" fmla="*/ 761196 w 880627"/>
                <a:gd name="connsiteY86" fmla="*/ 260519 h 762626"/>
                <a:gd name="connsiteX87" fmla="*/ 634715 w 880627"/>
                <a:gd name="connsiteY87" fmla="*/ 260519 h 762626"/>
                <a:gd name="connsiteX88" fmla="*/ 25758 w 880627"/>
                <a:gd name="connsiteY88" fmla="*/ 260522 h 762626"/>
                <a:gd name="connsiteX89" fmla="*/ 25758 w 880627"/>
                <a:gd name="connsiteY89" fmla="*/ 383622 h 762626"/>
                <a:gd name="connsiteX90" fmla="*/ 152236 w 880627"/>
                <a:gd name="connsiteY90" fmla="*/ 383622 h 762626"/>
                <a:gd name="connsiteX91" fmla="*/ 152236 w 880627"/>
                <a:gd name="connsiteY91" fmla="*/ 260522 h 762626"/>
                <a:gd name="connsiteX92" fmla="*/ 25758 w 880627"/>
                <a:gd name="connsiteY92" fmla="*/ 260522 h 762626"/>
                <a:gd name="connsiteX93" fmla="*/ 178000 w 880627"/>
                <a:gd name="connsiteY93" fmla="*/ 260522 h 762626"/>
                <a:gd name="connsiteX94" fmla="*/ 178000 w 880627"/>
                <a:gd name="connsiteY94" fmla="*/ 383622 h 762626"/>
                <a:gd name="connsiteX95" fmla="*/ 304479 w 880627"/>
                <a:gd name="connsiteY95" fmla="*/ 383622 h 762626"/>
                <a:gd name="connsiteX96" fmla="*/ 304479 w 880627"/>
                <a:gd name="connsiteY96" fmla="*/ 260522 h 762626"/>
                <a:gd name="connsiteX97" fmla="*/ 178000 w 880627"/>
                <a:gd name="connsiteY97" fmla="*/ 260522 h 762626"/>
                <a:gd name="connsiteX98" fmla="*/ 330238 w 880627"/>
                <a:gd name="connsiteY98" fmla="*/ 260522 h 762626"/>
                <a:gd name="connsiteX99" fmla="*/ 330238 w 880627"/>
                <a:gd name="connsiteY99" fmla="*/ 383622 h 762626"/>
                <a:gd name="connsiteX100" fmla="*/ 456717 w 880627"/>
                <a:gd name="connsiteY100" fmla="*/ 383622 h 762626"/>
                <a:gd name="connsiteX101" fmla="*/ 456717 w 880627"/>
                <a:gd name="connsiteY101" fmla="*/ 260522 h 762626"/>
                <a:gd name="connsiteX102" fmla="*/ 330238 w 880627"/>
                <a:gd name="connsiteY102" fmla="*/ 260522 h 762626"/>
                <a:gd name="connsiteX103" fmla="*/ 482477 w 880627"/>
                <a:gd name="connsiteY103" fmla="*/ 260522 h 762626"/>
                <a:gd name="connsiteX104" fmla="*/ 482477 w 880627"/>
                <a:gd name="connsiteY104" fmla="*/ 383622 h 762626"/>
                <a:gd name="connsiteX105" fmla="*/ 519639 w 880627"/>
                <a:gd name="connsiteY105" fmla="*/ 383622 h 762626"/>
                <a:gd name="connsiteX106" fmla="*/ 608956 w 880627"/>
                <a:gd name="connsiteY106" fmla="*/ 335743 h 762626"/>
                <a:gd name="connsiteX107" fmla="*/ 608956 w 880627"/>
                <a:gd name="connsiteY107" fmla="*/ 260522 h 762626"/>
                <a:gd name="connsiteX108" fmla="*/ 482477 w 880627"/>
                <a:gd name="connsiteY108" fmla="*/ 260522 h 762626"/>
                <a:gd name="connsiteX109" fmla="*/ 25758 w 880627"/>
                <a:gd name="connsiteY109" fmla="*/ 409382 h 762626"/>
                <a:gd name="connsiteX110" fmla="*/ 25758 w 880627"/>
                <a:gd name="connsiteY110" fmla="*/ 532480 h 762626"/>
                <a:gd name="connsiteX111" fmla="*/ 152236 w 880627"/>
                <a:gd name="connsiteY111" fmla="*/ 532480 h 762626"/>
                <a:gd name="connsiteX112" fmla="*/ 152236 w 880627"/>
                <a:gd name="connsiteY112" fmla="*/ 409382 h 762626"/>
                <a:gd name="connsiteX113" fmla="*/ 25758 w 880627"/>
                <a:gd name="connsiteY113" fmla="*/ 409382 h 762626"/>
                <a:gd name="connsiteX114" fmla="*/ 177997 w 880627"/>
                <a:gd name="connsiteY114" fmla="*/ 409382 h 762626"/>
                <a:gd name="connsiteX115" fmla="*/ 177997 w 880627"/>
                <a:gd name="connsiteY115" fmla="*/ 532480 h 762626"/>
                <a:gd name="connsiteX116" fmla="*/ 304475 w 880627"/>
                <a:gd name="connsiteY116" fmla="*/ 532480 h 762626"/>
                <a:gd name="connsiteX117" fmla="*/ 304475 w 880627"/>
                <a:gd name="connsiteY117" fmla="*/ 409382 h 762626"/>
                <a:gd name="connsiteX118" fmla="*/ 177997 w 880627"/>
                <a:gd name="connsiteY118" fmla="*/ 409382 h 762626"/>
                <a:gd name="connsiteX119" fmla="*/ 330235 w 880627"/>
                <a:gd name="connsiteY119" fmla="*/ 409382 h 762626"/>
                <a:gd name="connsiteX120" fmla="*/ 330235 w 880627"/>
                <a:gd name="connsiteY120" fmla="*/ 532483 h 762626"/>
                <a:gd name="connsiteX121" fmla="*/ 447158 w 880627"/>
                <a:gd name="connsiteY121" fmla="*/ 532483 h 762626"/>
                <a:gd name="connsiteX122" fmla="*/ 456715 w 880627"/>
                <a:gd name="connsiteY122" fmla="*/ 480623 h 762626"/>
                <a:gd name="connsiteX123" fmla="*/ 456715 w 880627"/>
                <a:gd name="connsiteY123" fmla="*/ 409382 h 762626"/>
                <a:gd name="connsiteX124" fmla="*/ 330235 w 880627"/>
                <a:gd name="connsiteY124" fmla="*/ 409382 h 762626"/>
                <a:gd name="connsiteX125" fmla="*/ 482477 w 880627"/>
                <a:gd name="connsiteY125" fmla="*/ 409382 h 762626"/>
                <a:gd name="connsiteX126" fmla="*/ 482477 w 880627"/>
                <a:gd name="connsiteY126" fmla="*/ 426554 h 762626"/>
                <a:gd name="connsiteX127" fmla="*/ 495050 w 880627"/>
                <a:gd name="connsiteY127" fmla="*/ 409382 h 762626"/>
                <a:gd name="connsiteX128" fmla="*/ 482477 w 880627"/>
                <a:gd name="connsiteY128" fmla="*/ 409382 h 762626"/>
                <a:gd name="connsiteX129" fmla="*/ 25758 w 880627"/>
                <a:gd name="connsiteY129" fmla="*/ 558238 h 762626"/>
                <a:gd name="connsiteX130" fmla="*/ 25758 w 880627"/>
                <a:gd name="connsiteY130" fmla="*/ 646211 h 762626"/>
                <a:gd name="connsiteX131" fmla="*/ 60884 w 880627"/>
                <a:gd name="connsiteY131" fmla="*/ 681339 h 762626"/>
                <a:gd name="connsiteX132" fmla="*/ 152236 w 880627"/>
                <a:gd name="connsiteY132" fmla="*/ 681339 h 762626"/>
                <a:gd name="connsiteX133" fmla="*/ 152236 w 880627"/>
                <a:gd name="connsiteY133" fmla="*/ 558238 h 762626"/>
                <a:gd name="connsiteX134" fmla="*/ 25758 w 880627"/>
                <a:gd name="connsiteY134" fmla="*/ 558238 h 762626"/>
                <a:gd name="connsiteX135" fmla="*/ 178000 w 880627"/>
                <a:gd name="connsiteY135" fmla="*/ 558241 h 762626"/>
                <a:gd name="connsiteX136" fmla="*/ 178000 w 880627"/>
                <a:gd name="connsiteY136" fmla="*/ 681339 h 762626"/>
                <a:gd name="connsiteX137" fmla="*/ 304479 w 880627"/>
                <a:gd name="connsiteY137" fmla="*/ 681339 h 762626"/>
                <a:gd name="connsiteX138" fmla="*/ 304479 w 880627"/>
                <a:gd name="connsiteY138" fmla="*/ 558241 h 762626"/>
                <a:gd name="connsiteX139" fmla="*/ 178000 w 880627"/>
                <a:gd name="connsiteY139" fmla="*/ 558241 h 762626"/>
                <a:gd name="connsiteX140" fmla="*/ 330238 w 880627"/>
                <a:gd name="connsiteY140" fmla="*/ 558241 h 762626"/>
                <a:gd name="connsiteX141" fmla="*/ 330238 w 880627"/>
                <a:gd name="connsiteY141" fmla="*/ 681339 h 762626"/>
                <a:gd name="connsiteX142" fmla="*/ 494330 w 880627"/>
                <a:gd name="connsiteY142" fmla="*/ 681339 h 762626"/>
                <a:gd name="connsiteX143" fmla="*/ 447106 w 880627"/>
                <a:gd name="connsiteY143" fmla="*/ 558241 h 762626"/>
                <a:gd name="connsiteX144" fmla="*/ 330238 w 880627"/>
                <a:gd name="connsiteY144" fmla="*/ 558241 h 762626"/>
                <a:gd name="connsiteX145" fmla="*/ 647145 w 880627"/>
                <a:gd name="connsiteY145" fmla="*/ 25758 h 762626"/>
                <a:gd name="connsiteX146" fmla="*/ 621620 w 880627"/>
                <a:gd name="connsiteY146" fmla="*/ 51283 h 762626"/>
                <a:gd name="connsiteX147" fmla="*/ 621620 w 880627"/>
                <a:gd name="connsiteY147" fmla="*/ 140432 h 762626"/>
                <a:gd name="connsiteX148" fmla="*/ 647145 w 880627"/>
                <a:gd name="connsiteY148" fmla="*/ 165957 h 762626"/>
                <a:gd name="connsiteX149" fmla="*/ 672668 w 880627"/>
                <a:gd name="connsiteY149" fmla="*/ 140432 h 762626"/>
                <a:gd name="connsiteX150" fmla="*/ 672668 w 880627"/>
                <a:gd name="connsiteY150" fmla="*/ 51283 h 762626"/>
                <a:gd name="connsiteX151" fmla="*/ 647145 w 880627"/>
                <a:gd name="connsiteY151" fmla="*/ 25758 h 762626"/>
                <a:gd name="connsiteX152" fmla="*/ 478033 w 880627"/>
                <a:gd name="connsiteY152" fmla="*/ 25758 h 762626"/>
                <a:gd name="connsiteX153" fmla="*/ 452509 w 880627"/>
                <a:gd name="connsiteY153" fmla="*/ 51283 h 762626"/>
                <a:gd name="connsiteX154" fmla="*/ 452509 w 880627"/>
                <a:gd name="connsiteY154" fmla="*/ 140432 h 762626"/>
                <a:gd name="connsiteX155" fmla="*/ 478033 w 880627"/>
                <a:gd name="connsiteY155" fmla="*/ 165957 h 762626"/>
                <a:gd name="connsiteX156" fmla="*/ 503558 w 880627"/>
                <a:gd name="connsiteY156" fmla="*/ 140432 h 762626"/>
                <a:gd name="connsiteX157" fmla="*/ 503558 w 880627"/>
                <a:gd name="connsiteY157" fmla="*/ 51283 h 762626"/>
                <a:gd name="connsiteX158" fmla="*/ 478033 w 880627"/>
                <a:gd name="connsiteY158" fmla="*/ 25758 h 762626"/>
                <a:gd name="connsiteX159" fmla="*/ 308919 w 880627"/>
                <a:gd name="connsiteY159" fmla="*/ 25758 h 762626"/>
                <a:gd name="connsiteX160" fmla="*/ 283395 w 880627"/>
                <a:gd name="connsiteY160" fmla="*/ 51283 h 762626"/>
                <a:gd name="connsiteX161" fmla="*/ 283395 w 880627"/>
                <a:gd name="connsiteY161" fmla="*/ 140432 h 762626"/>
                <a:gd name="connsiteX162" fmla="*/ 308919 w 880627"/>
                <a:gd name="connsiteY162" fmla="*/ 165957 h 762626"/>
                <a:gd name="connsiteX163" fmla="*/ 334444 w 880627"/>
                <a:gd name="connsiteY163" fmla="*/ 140432 h 762626"/>
                <a:gd name="connsiteX164" fmla="*/ 334444 w 880627"/>
                <a:gd name="connsiteY164" fmla="*/ 51283 h 762626"/>
                <a:gd name="connsiteX165" fmla="*/ 308919 w 880627"/>
                <a:gd name="connsiteY165" fmla="*/ 25758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165333 w 880627"/>
                <a:gd name="connsiteY75" fmla="*/ 51283 h 762626"/>
                <a:gd name="connsiteX76" fmla="*/ 139808 w 880627"/>
                <a:gd name="connsiteY76" fmla="*/ 165957 h 762626"/>
                <a:gd name="connsiteX77" fmla="*/ 165333 w 880627"/>
                <a:gd name="connsiteY77" fmla="*/ 140432 h 762626"/>
                <a:gd name="connsiteX78" fmla="*/ 165333 w 880627"/>
                <a:gd name="connsiteY78" fmla="*/ 51283 h 762626"/>
                <a:gd name="connsiteX79" fmla="*/ 634715 w 880627"/>
                <a:gd name="connsiteY79" fmla="*/ 260519 h 762626"/>
                <a:gd name="connsiteX80" fmla="*/ 634715 w 880627"/>
                <a:gd name="connsiteY80" fmla="*/ 330681 h 762626"/>
                <a:gd name="connsiteX81" fmla="*/ 663689 w 880627"/>
                <a:gd name="connsiteY81" fmla="*/ 328740 h 762626"/>
                <a:gd name="connsiteX82" fmla="*/ 722575 w 880627"/>
                <a:gd name="connsiteY82" fmla="*/ 336867 h 762626"/>
                <a:gd name="connsiteX83" fmla="*/ 723406 w 880627"/>
                <a:gd name="connsiteY83" fmla="*/ 337105 h 762626"/>
                <a:gd name="connsiteX84" fmla="*/ 761196 w 880627"/>
                <a:gd name="connsiteY84" fmla="*/ 351851 h 762626"/>
                <a:gd name="connsiteX85" fmla="*/ 761196 w 880627"/>
                <a:gd name="connsiteY85" fmla="*/ 260519 h 762626"/>
                <a:gd name="connsiteX86" fmla="*/ 634715 w 880627"/>
                <a:gd name="connsiteY86" fmla="*/ 260519 h 762626"/>
                <a:gd name="connsiteX87" fmla="*/ 25758 w 880627"/>
                <a:gd name="connsiteY87" fmla="*/ 260522 h 762626"/>
                <a:gd name="connsiteX88" fmla="*/ 25758 w 880627"/>
                <a:gd name="connsiteY88" fmla="*/ 383622 h 762626"/>
                <a:gd name="connsiteX89" fmla="*/ 152236 w 880627"/>
                <a:gd name="connsiteY89" fmla="*/ 383622 h 762626"/>
                <a:gd name="connsiteX90" fmla="*/ 152236 w 880627"/>
                <a:gd name="connsiteY90" fmla="*/ 260522 h 762626"/>
                <a:gd name="connsiteX91" fmla="*/ 25758 w 880627"/>
                <a:gd name="connsiteY91" fmla="*/ 260522 h 762626"/>
                <a:gd name="connsiteX92" fmla="*/ 178000 w 880627"/>
                <a:gd name="connsiteY92" fmla="*/ 260522 h 762626"/>
                <a:gd name="connsiteX93" fmla="*/ 178000 w 880627"/>
                <a:gd name="connsiteY93" fmla="*/ 383622 h 762626"/>
                <a:gd name="connsiteX94" fmla="*/ 304479 w 880627"/>
                <a:gd name="connsiteY94" fmla="*/ 383622 h 762626"/>
                <a:gd name="connsiteX95" fmla="*/ 304479 w 880627"/>
                <a:gd name="connsiteY95" fmla="*/ 260522 h 762626"/>
                <a:gd name="connsiteX96" fmla="*/ 178000 w 880627"/>
                <a:gd name="connsiteY96" fmla="*/ 260522 h 762626"/>
                <a:gd name="connsiteX97" fmla="*/ 330238 w 880627"/>
                <a:gd name="connsiteY97" fmla="*/ 260522 h 762626"/>
                <a:gd name="connsiteX98" fmla="*/ 330238 w 880627"/>
                <a:gd name="connsiteY98" fmla="*/ 383622 h 762626"/>
                <a:gd name="connsiteX99" fmla="*/ 456717 w 880627"/>
                <a:gd name="connsiteY99" fmla="*/ 383622 h 762626"/>
                <a:gd name="connsiteX100" fmla="*/ 456717 w 880627"/>
                <a:gd name="connsiteY100" fmla="*/ 260522 h 762626"/>
                <a:gd name="connsiteX101" fmla="*/ 330238 w 880627"/>
                <a:gd name="connsiteY101" fmla="*/ 260522 h 762626"/>
                <a:gd name="connsiteX102" fmla="*/ 482477 w 880627"/>
                <a:gd name="connsiteY102" fmla="*/ 260522 h 762626"/>
                <a:gd name="connsiteX103" fmla="*/ 482477 w 880627"/>
                <a:gd name="connsiteY103" fmla="*/ 383622 h 762626"/>
                <a:gd name="connsiteX104" fmla="*/ 519639 w 880627"/>
                <a:gd name="connsiteY104" fmla="*/ 383622 h 762626"/>
                <a:gd name="connsiteX105" fmla="*/ 608956 w 880627"/>
                <a:gd name="connsiteY105" fmla="*/ 335743 h 762626"/>
                <a:gd name="connsiteX106" fmla="*/ 608956 w 880627"/>
                <a:gd name="connsiteY106" fmla="*/ 260522 h 762626"/>
                <a:gd name="connsiteX107" fmla="*/ 482477 w 880627"/>
                <a:gd name="connsiteY107" fmla="*/ 260522 h 762626"/>
                <a:gd name="connsiteX108" fmla="*/ 25758 w 880627"/>
                <a:gd name="connsiteY108" fmla="*/ 409382 h 762626"/>
                <a:gd name="connsiteX109" fmla="*/ 25758 w 880627"/>
                <a:gd name="connsiteY109" fmla="*/ 532480 h 762626"/>
                <a:gd name="connsiteX110" fmla="*/ 152236 w 880627"/>
                <a:gd name="connsiteY110" fmla="*/ 532480 h 762626"/>
                <a:gd name="connsiteX111" fmla="*/ 152236 w 880627"/>
                <a:gd name="connsiteY111" fmla="*/ 409382 h 762626"/>
                <a:gd name="connsiteX112" fmla="*/ 25758 w 880627"/>
                <a:gd name="connsiteY112" fmla="*/ 409382 h 762626"/>
                <a:gd name="connsiteX113" fmla="*/ 177997 w 880627"/>
                <a:gd name="connsiteY113" fmla="*/ 409382 h 762626"/>
                <a:gd name="connsiteX114" fmla="*/ 177997 w 880627"/>
                <a:gd name="connsiteY114" fmla="*/ 532480 h 762626"/>
                <a:gd name="connsiteX115" fmla="*/ 304475 w 880627"/>
                <a:gd name="connsiteY115" fmla="*/ 532480 h 762626"/>
                <a:gd name="connsiteX116" fmla="*/ 304475 w 880627"/>
                <a:gd name="connsiteY116" fmla="*/ 409382 h 762626"/>
                <a:gd name="connsiteX117" fmla="*/ 177997 w 880627"/>
                <a:gd name="connsiteY117" fmla="*/ 409382 h 762626"/>
                <a:gd name="connsiteX118" fmla="*/ 330235 w 880627"/>
                <a:gd name="connsiteY118" fmla="*/ 409382 h 762626"/>
                <a:gd name="connsiteX119" fmla="*/ 330235 w 880627"/>
                <a:gd name="connsiteY119" fmla="*/ 532483 h 762626"/>
                <a:gd name="connsiteX120" fmla="*/ 447158 w 880627"/>
                <a:gd name="connsiteY120" fmla="*/ 532483 h 762626"/>
                <a:gd name="connsiteX121" fmla="*/ 456715 w 880627"/>
                <a:gd name="connsiteY121" fmla="*/ 480623 h 762626"/>
                <a:gd name="connsiteX122" fmla="*/ 456715 w 880627"/>
                <a:gd name="connsiteY122" fmla="*/ 409382 h 762626"/>
                <a:gd name="connsiteX123" fmla="*/ 330235 w 880627"/>
                <a:gd name="connsiteY123" fmla="*/ 409382 h 762626"/>
                <a:gd name="connsiteX124" fmla="*/ 482477 w 880627"/>
                <a:gd name="connsiteY124" fmla="*/ 409382 h 762626"/>
                <a:gd name="connsiteX125" fmla="*/ 482477 w 880627"/>
                <a:gd name="connsiteY125" fmla="*/ 426554 h 762626"/>
                <a:gd name="connsiteX126" fmla="*/ 495050 w 880627"/>
                <a:gd name="connsiteY126" fmla="*/ 409382 h 762626"/>
                <a:gd name="connsiteX127" fmla="*/ 482477 w 880627"/>
                <a:gd name="connsiteY127" fmla="*/ 409382 h 762626"/>
                <a:gd name="connsiteX128" fmla="*/ 25758 w 880627"/>
                <a:gd name="connsiteY128" fmla="*/ 558238 h 762626"/>
                <a:gd name="connsiteX129" fmla="*/ 25758 w 880627"/>
                <a:gd name="connsiteY129" fmla="*/ 646211 h 762626"/>
                <a:gd name="connsiteX130" fmla="*/ 60884 w 880627"/>
                <a:gd name="connsiteY130" fmla="*/ 681339 h 762626"/>
                <a:gd name="connsiteX131" fmla="*/ 152236 w 880627"/>
                <a:gd name="connsiteY131" fmla="*/ 681339 h 762626"/>
                <a:gd name="connsiteX132" fmla="*/ 152236 w 880627"/>
                <a:gd name="connsiteY132" fmla="*/ 558238 h 762626"/>
                <a:gd name="connsiteX133" fmla="*/ 25758 w 880627"/>
                <a:gd name="connsiteY133" fmla="*/ 558238 h 762626"/>
                <a:gd name="connsiteX134" fmla="*/ 178000 w 880627"/>
                <a:gd name="connsiteY134" fmla="*/ 558241 h 762626"/>
                <a:gd name="connsiteX135" fmla="*/ 178000 w 880627"/>
                <a:gd name="connsiteY135" fmla="*/ 681339 h 762626"/>
                <a:gd name="connsiteX136" fmla="*/ 304479 w 880627"/>
                <a:gd name="connsiteY136" fmla="*/ 681339 h 762626"/>
                <a:gd name="connsiteX137" fmla="*/ 304479 w 880627"/>
                <a:gd name="connsiteY137" fmla="*/ 558241 h 762626"/>
                <a:gd name="connsiteX138" fmla="*/ 178000 w 880627"/>
                <a:gd name="connsiteY138" fmla="*/ 558241 h 762626"/>
                <a:gd name="connsiteX139" fmla="*/ 330238 w 880627"/>
                <a:gd name="connsiteY139" fmla="*/ 558241 h 762626"/>
                <a:gd name="connsiteX140" fmla="*/ 330238 w 880627"/>
                <a:gd name="connsiteY140" fmla="*/ 681339 h 762626"/>
                <a:gd name="connsiteX141" fmla="*/ 494330 w 880627"/>
                <a:gd name="connsiteY141" fmla="*/ 681339 h 762626"/>
                <a:gd name="connsiteX142" fmla="*/ 447106 w 880627"/>
                <a:gd name="connsiteY142" fmla="*/ 558241 h 762626"/>
                <a:gd name="connsiteX143" fmla="*/ 330238 w 880627"/>
                <a:gd name="connsiteY143" fmla="*/ 558241 h 762626"/>
                <a:gd name="connsiteX144" fmla="*/ 647145 w 880627"/>
                <a:gd name="connsiteY144" fmla="*/ 25758 h 762626"/>
                <a:gd name="connsiteX145" fmla="*/ 621620 w 880627"/>
                <a:gd name="connsiteY145" fmla="*/ 51283 h 762626"/>
                <a:gd name="connsiteX146" fmla="*/ 621620 w 880627"/>
                <a:gd name="connsiteY146" fmla="*/ 140432 h 762626"/>
                <a:gd name="connsiteX147" fmla="*/ 647145 w 880627"/>
                <a:gd name="connsiteY147" fmla="*/ 165957 h 762626"/>
                <a:gd name="connsiteX148" fmla="*/ 672668 w 880627"/>
                <a:gd name="connsiteY148" fmla="*/ 140432 h 762626"/>
                <a:gd name="connsiteX149" fmla="*/ 672668 w 880627"/>
                <a:gd name="connsiteY149" fmla="*/ 51283 h 762626"/>
                <a:gd name="connsiteX150" fmla="*/ 647145 w 880627"/>
                <a:gd name="connsiteY150" fmla="*/ 25758 h 762626"/>
                <a:gd name="connsiteX151" fmla="*/ 478033 w 880627"/>
                <a:gd name="connsiteY151" fmla="*/ 25758 h 762626"/>
                <a:gd name="connsiteX152" fmla="*/ 452509 w 880627"/>
                <a:gd name="connsiteY152" fmla="*/ 51283 h 762626"/>
                <a:gd name="connsiteX153" fmla="*/ 452509 w 880627"/>
                <a:gd name="connsiteY153" fmla="*/ 140432 h 762626"/>
                <a:gd name="connsiteX154" fmla="*/ 478033 w 880627"/>
                <a:gd name="connsiteY154" fmla="*/ 165957 h 762626"/>
                <a:gd name="connsiteX155" fmla="*/ 503558 w 880627"/>
                <a:gd name="connsiteY155" fmla="*/ 140432 h 762626"/>
                <a:gd name="connsiteX156" fmla="*/ 503558 w 880627"/>
                <a:gd name="connsiteY156" fmla="*/ 51283 h 762626"/>
                <a:gd name="connsiteX157" fmla="*/ 478033 w 880627"/>
                <a:gd name="connsiteY157" fmla="*/ 25758 h 762626"/>
                <a:gd name="connsiteX158" fmla="*/ 308919 w 880627"/>
                <a:gd name="connsiteY158" fmla="*/ 25758 h 762626"/>
                <a:gd name="connsiteX159" fmla="*/ 283395 w 880627"/>
                <a:gd name="connsiteY159" fmla="*/ 51283 h 762626"/>
                <a:gd name="connsiteX160" fmla="*/ 283395 w 880627"/>
                <a:gd name="connsiteY160" fmla="*/ 140432 h 762626"/>
                <a:gd name="connsiteX161" fmla="*/ 308919 w 880627"/>
                <a:gd name="connsiteY161" fmla="*/ 165957 h 762626"/>
                <a:gd name="connsiteX162" fmla="*/ 334444 w 880627"/>
                <a:gd name="connsiteY162" fmla="*/ 140432 h 762626"/>
                <a:gd name="connsiteX163" fmla="*/ 334444 w 880627"/>
                <a:gd name="connsiteY163" fmla="*/ 51283 h 762626"/>
                <a:gd name="connsiteX164" fmla="*/ 308919 w 880627"/>
                <a:gd name="connsiteY164" fmla="*/ 25758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165333 w 880627"/>
                <a:gd name="connsiteY75" fmla="*/ 51283 h 762626"/>
                <a:gd name="connsiteX76" fmla="*/ 165333 w 880627"/>
                <a:gd name="connsiteY76" fmla="*/ 140432 h 762626"/>
                <a:gd name="connsiteX77" fmla="*/ 165333 w 880627"/>
                <a:gd name="connsiteY77" fmla="*/ 51283 h 762626"/>
                <a:gd name="connsiteX78" fmla="*/ 634715 w 880627"/>
                <a:gd name="connsiteY78" fmla="*/ 260519 h 762626"/>
                <a:gd name="connsiteX79" fmla="*/ 634715 w 880627"/>
                <a:gd name="connsiteY79" fmla="*/ 330681 h 762626"/>
                <a:gd name="connsiteX80" fmla="*/ 663689 w 880627"/>
                <a:gd name="connsiteY80" fmla="*/ 328740 h 762626"/>
                <a:gd name="connsiteX81" fmla="*/ 722575 w 880627"/>
                <a:gd name="connsiteY81" fmla="*/ 336867 h 762626"/>
                <a:gd name="connsiteX82" fmla="*/ 723406 w 880627"/>
                <a:gd name="connsiteY82" fmla="*/ 337105 h 762626"/>
                <a:gd name="connsiteX83" fmla="*/ 761196 w 880627"/>
                <a:gd name="connsiteY83" fmla="*/ 351851 h 762626"/>
                <a:gd name="connsiteX84" fmla="*/ 761196 w 880627"/>
                <a:gd name="connsiteY84" fmla="*/ 260519 h 762626"/>
                <a:gd name="connsiteX85" fmla="*/ 634715 w 880627"/>
                <a:gd name="connsiteY85" fmla="*/ 260519 h 762626"/>
                <a:gd name="connsiteX86" fmla="*/ 25758 w 880627"/>
                <a:gd name="connsiteY86" fmla="*/ 260522 h 762626"/>
                <a:gd name="connsiteX87" fmla="*/ 25758 w 880627"/>
                <a:gd name="connsiteY87" fmla="*/ 383622 h 762626"/>
                <a:gd name="connsiteX88" fmla="*/ 152236 w 880627"/>
                <a:gd name="connsiteY88" fmla="*/ 383622 h 762626"/>
                <a:gd name="connsiteX89" fmla="*/ 152236 w 880627"/>
                <a:gd name="connsiteY89" fmla="*/ 260522 h 762626"/>
                <a:gd name="connsiteX90" fmla="*/ 25758 w 880627"/>
                <a:gd name="connsiteY90" fmla="*/ 260522 h 762626"/>
                <a:gd name="connsiteX91" fmla="*/ 178000 w 880627"/>
                <a:gd name="connsiteY91" fmla="*/ 260522 h 762626"/>
                <a:gd name="connsiteX92" fmla="*/ 178000 w 880627"/>
                <a:gd name="connsiteY92" fmla="*/ 383622 h 762626"/>
                <a:gd name="connsiteX93" fmla="*/ 304479 w 880627"/>
                <a:gd name="connsiteY93" fmla="*/ 383622 h 762626"/>
                <a:gd name="connsiteX94" fmla="*/ 304479 w 880627"/>
                <a:gd name="connsiteY94" fmla="*/ 260522 h 762626"/>
                <a:gd name="connsiteX95" fmla="*/ 178000 w 880627"/>
                <a:gd name="connsiteY95" fmla="*/ 260522 h 762626"/>
                <a:gd name="connsiteX96" fmla="*/ 330238 w 880627"/>
                <a:gd name="connsiteY96" fmla="*/ 260522 h 762626"/>
                <a:gd name="connsiteX97" fmla="*/ 330238 w 880627"/>
                <a:gd name="connsiteY97" fmla="*/ 383622 h 762626"/>
                <a:gd name="connsiteX98" fmla="*/ 456717 w 880627"/>
                <a:gd name="connsiteY98" fmla="*/ 383622 h 762626"/>
                <a:gd name="connsiteX99" fmla="*/ 456717 w 880627"/>
                <a:gd name="connsiteY99" fmla="*/ 260522 h 762626"/>
                <a:gd name="connsiteX100" fmla="*/ 330238 w 880627"/>
                <a:gd name="connsiteY100" fmla="*/ 260522 h 762626"/>
                <a:gd name="connsiteX101" fmla="*/ 482477 w 880627"/>
                <a:gd name="connsiteY101" fmla="*/ 260522 h 762626"/>
                <a:gd name="connsiteX102" fmla="*/ 482477 w 880627"/>
                <a:gd name="connsiteY102" fmla="*/ 383622 h 762626"/>
                <a:gd name="connsiteX103" fmla="*/ 519639 w 880627"/>
                <a:gd name="connsiteY103" fmla="*/ 383622 h 762626"/>
                <a:gd name="connsiteX104" fmla="*/ 608956 w 880627"/>
                <a:gd name="connsiteY104" fmla="*/ 335743 h 762626"/>
                <a:gd name="connsiteX105" fmla="*/ 608956 w 880627"/>
                <a:gd name="connsiteY105" fmla="*/ 260522 h 762626"/>
                <a:gd name="connsiteX106" fmla="*/ 482477 w 880627"/>
                <a:gd name="connsiteY106" fmla="*/ 260522 h 762626"/>
                <a:gd name="connsiteX107" fmla="*/ 25758 w 880627"/>
                <a:gd name="connsiteY107" fmla="*/ 409382 h 762626"/>
                <a:gd name="connsiteX108" fmla="*/ 25758 w 880627"/>
                <a:gd name="connsiteY108" fmla="*/ 532480 h 762626"/>
                <a:gd name="connsiteX109" fmla="*/ 152236 w 880627"/>
                <a:gd name="connsiteY109" fmla="*/ 532480 h 762626"/>
                <a:gd name="connsiteX110" fmla="*/ 152236 w 880627"/>
                <a:gd name="connsiteY110" fmla="*/ 409382 h 762626"/>
                <a:gd name="connsiteX111" fmla="*/ 25758 w 880627"/>
                <a:gd name="connsiteY111" fmla="*/ 409382 h 762626"/>
                <a:gd name="connsiteX112" fmla="*/ 177997 w 880627"/>
                <a:gd name="connsiteY112" fmla="*/ 409382 h 762626"/>
                <a:gd name="connsiteX113" fmla="*/ 177997 w 880627"/>
                <a:gd name="connsiteY113" fmla="*/ 532480 h 762626"/>
                <a:gd name="connsiteX114" fmla="*/ 304475 w 880627"/>
                <a:gd name="connsiteY114" fmla="*/ 532480 h 762626"/>
                <a:gd name="connsiteX115" fmla="*/ 304475 w 880627"/>
                <a:gd name="connsiteY115" fmla="*/ 409382 h 762626"/>
                <a:gd name="connsiteX116" fmla="*/ 177997 w 880627"/>
                <a:gd name="connsiteY116" fmla="*/ 409382 h 762626"/>
                <a:gd name="connsiteX117" fmla="*/ 330235 w 880627"/>
                <a:gd name="connsiteY117" fmla="*/ 409382 h 762626"/>
                <a:gd name="connsiteX118" fmla="*/ 330235 w 880627"/>
                <a:gd name="connsiteY118" fmla="*/ 532483 h 762626"/>
                <a:gd name="connsiteX119" fmla="*/ 447158 w 880627"/>
                <a:gd name="connsiteY119" fmla="*/ 532483 h 762626"/>
                <a:gd name="connsiteX120" fmla="*/ 456715 w 880627"/>
                <a:gd name="connsiteY120" fmla="*/ 480623 h 762626"/>
                <a:gd name="connsiteX121" fmla="*/ 456715 w 880627"/>
                <a:gd name="connsiteY121" fmla="*/ 409382 h 762626"/>
                <a:gd name="connsiteX122" fmla="*/ 330235 w 880627"/>
                <a:gd name="connsiteY122" fmla="*/ 409382 h 762626"/>
                <a:gd name="connsiteX123" fmla="*/ 482477 w 880627"/>
                <a:gd name="connsiteY123" fmla="*/ 409382 h 762626"/>
                <a:gd name="connsiteX124" fmla="*/ 482477 w 880627"/>
                <a:gd name="connsiteY124" fmla="*/ 426554 h 762626"/>
                <a:gd name="connsiteX125" fmla="*/ 495050 w 880627"/>
                <a:gd name="connsiteY125" fmla="*/ 409382 h 762626"/>
                <a:gd name="connsiteX126" fmla="*/ 482477 w 880627"/>
                <a:gd name="connsiteY126" fmla="*/ 409382 h 762626"/>
                <a:gd name="connsiteX127" fmla="*/ 25758 w 880627"/>
                <a:gd name="connsiteY127" fmla="*/ 558238 h 762626"/>
                <a:gd name="connsiteX128" fmla="*/ 25758 w 880627"/>
                <a:gd name="connsiteY128" fmla="*/ 646211 h 762626"/>
                <a:gd name="connsiteX129" fmla="*/ 60884 w 880627"/>
                <a:gd name="connsiteY129" fmla="*/ 681339 h 762626"/>
                <a:gd name="connsiteX130" fmla="*/ 152236 w 880627"/>
                <a:gd name="connsiteY130" fmla="*/ 681339 h 762626"/>
                <a:gd name="connsiteX131" fmla="*/ 152236 w 880627"/>
                <a:gd name="connsiteY131" fmla="*/ 558238 h 762626"/>
                <a:gd name="connsiteX132" fmla="*/ 25758 w 880627"/>
                <a:gd name="connsiteY132" fmla="*/ 558238 h 762626"/>
                <a:gd name="connsiteX133" fmla="*/ 178000 w 880627"/>
                <a:gd name="connsiteY133" fmla="*/ 558241 h 762626"/>
                <a:gd name="connsiteX134" fmla="*/ 178000 w 880627"/>
                <a:gd name="connsiteY134" fmla="*/ 681339 h 762626"/>
                <a:gd name="connsiteX135" fmla="*/ 304479 w 880627"/>
                <a:gd name="connsiteY135" fmla="*/ 681339 h 762626"/>
                <a:gd name="connsiteX136" fmla="*/ 304479 w 880627"/>
                <a:gd name="connsiteY136" fmla="*/ 558241 h 762626"/>
                <a:gd name="connsiteX137" fmla="*/ 178000 w 880627"/>
                <a:gd name="connsiteY137" fmla="*/ 558241 h 762626"/>
                <a:gd name="connsiteX138" fmla="*/ 330238 w 880627"/>
                <a:gd name="connsiteY138" fmla="*/ 558241 h 762626"/>
                <a:gd name="connsiteX139" fmla="*/ 330238 w 880627"/>
                <a:gd name="connsiteY139" fmla="*/ 681339 h 762626"/>
                <a:gd name="connsiteX140" fmla="*/ 494330 w 880627"/>
                <a:gd name="connsiteY140" fmla="*/ 681339 h 762626"/>
                <a:gd name="connsiteX141" fmla="*/ 447106 w 880627"/>
                <a:gd name="connsiteY141" fmla="*/ 558241 h 762626"/>
                <a:gd name="connsiteX142" fmla="*/ 330238 w 880627"/>
                <a:gd name="connsiteY142" fmla="*/ 558241 h 762626"/>
                <a:gd name="connsiteX143" fmla="*/ 647145 w 880627"/>
                <a:gd name="connsiteY143" fmla="*/ 25758 h 762626"/>
                <a:gd name="connsiteX144" fmla="*/ 621620 w 880627"/>
                <a:gd name="connsiteY144" fmla="*/ 51283 h 762626"/>
                <a:gd name="connsiteX145" fmla="*/ 621620 w 880627"/>
                <a:gd name="connsiteY145" fmla="*/ 140432 h 762626"/>
                <a:gd name="connsiteX146" fmla="*/ 647145 w 880627"/>
                <a:gd name="connsiteY146" fmla="*/ 165957 h 762626"/>
                <a:gd name="connsiteX147" fmla="*/ 672668 w 880627"/>
                <a:gd name="connsiteY147" fmla="*/ 140432 h 762626"/>
                <a:gd name="connsiteX148" fmla="*/ 672668 w 880627"/>
                <a:gd name="connsiteY148" fmla="*/ 51283 h 762626"/>
                <a:gd name="connsiteX149" fmla="*/ 647145 w 880627"/>
                <a:gd name="connsiteY149" fmla="*/ 25758 h 762626"/>
                <a:gd name="connsiteX150" fmla="*/ 478033 w 880627"/>
                <a:gd name="connsiteY150" fmla="*/ 25758 h 762626"/>
                <a:gd name="connsiteX151" fmla="*/ 452509 w 880627"/>
                <a:gd name="connsiteY151" fmla="*/ 51283 h 762626"/>
                <a:gd name="connsiteX152" fmla="*/ 452509 w 880627"/>
                <a:gd name="connsiteY152" fmla="*/ 140432 h 762626"/>
                <a:gd name="connsiteX153" fmla="*/ 478033 w 880627"/>
                <a:gd name="connsiteY153" fmla="*/ 165957 h 762626"/>
                <a:gd name="connsiteX154" fmla="*/ 503558 w 880627"/>
                <a:gd name="connsiteY154" fmla="*/ 140432 h 762626"/>
                <a:gd name="connsiteX155" fmla="*/ 503558 w 880627"/>
                <a:gd name="connsiteY155" fmla="*/ 51283 h 762626"/>
                <a:gd name="connsiteX156" fmla="*/ 478033 w 880627"/>
                <a:gd name="connsiteY156" fmla="*/ 25758 h 762626"/>
                <a:gd name="connsiteX157" fmla="*/ 308919 w 880627"/>
                <a:gd name="connsiteY157" fmla="*/ 25758 h 762626"/>
                <a:gd name="connsiteX158" fmla="*/ 283395 w 880627"/>
                <a:gd name="connsiteY158" fmla="*/ 51283 h 762626"/>
                <a:gd name="connsiteX159" fmla="*/ 283395 w 880627"/>
                <a:gd name="connsiteY159" fmla="*/ 140432 h 762626"/>
                <a:gd name="connsiteX160" fmla="*/ 308919 w 880627"/>
                <a:gd name="connsiteY160" fmla="*/ 165957 h 762626"/>
                <a:gd name="connsiteX161" fmla="*/ 334444 w 880627"/>
                <a:gd name="connsiteY161" fmla="*/ 140432 h 762626"/>
                <a:gd name="connsiteX162" fmla="*/ 334444 w 880627"/>
                <a:gd name="connsiteY162" fmla="*/ 51283 h 762626"/>
                <a:gd name="connsiteX163" fmla="*/ 308919 w 880627"/>
                <a:gd name="connsiteY163" fmla="*/ 25758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72668 w 880627"/>
                <a:gd name="connsiteY145" fmla="*/ 51283 h 762626"/>
                <a:gd name="connsiteX146" fmla="*/ 647145 w 880627"/>
                <a:gd name="connsiteY146" fmla="*/ 25758 h 762626"/>
                <a:gd name="connsiteX147" fmla="*/ 478033 w 880627"/>
                <a:gd name="connsiteY147" fmla="*/ 25758 h 762626"/>
                <a:gd name="connsiteX148" fmla="*/ 452509 w 880627"/>
                <a:gd name="connsiteY148" fmla="*/ 51283 h 762626"/>
                <a:gd name="connsiteX149" fmla="*/ 452509 w 880627"/>
                <a:gd name="connsiteY149" fmla="*/ 140432 h 762626"/>
                <a:gd name="connsiteX150" fmla="*/ 478033 w 880627"/>
                <a:gd name="connsiteY150" fmla="*/ 165957 h 762626"/>
                <a:gd name="connsiteX151" fmla="*/ 503558 w 880627"/>
                <a:gd name="connsiteY151" fmla="*/ 140432 h 762626"/>
                <a:gd name="connsiteX152" fmla="*/ 503558 w 880627"/>
                <a:gd name="connsiteY152" fmla="*/ 51283 h 762626"/>
                <a:gd name="connsiteX153" fmla="*/ 478033 w 880627"/>
                <a:gd name="connsiteY153" fmla="*/ 25758 h 762626"/>
                <a:gd name="connsiteX154" fmla="*/ 308919 w 880627"/>
                <a:gd name="connsiteY154" fmla="*/ 25758 h 762626"/>
                <a:gd name="connsiteX155" fmla="*/ 283395 w 880627"/>
                <a:gd name="connsiteY155" fmla="*/ 51283 h 762626"/>
                <a:gd name="connsiteX156" fmla="*/ 283395 w 880627"/>
                <a:gd name="connsiteY156" fmla="*/ 140432 h 762626"/>
                <a:gd name="connsiteX157" fmla="*/ 308919 w 880627"/>
                <a:gd name="connsiteY157" fmla="*/ 165957 h 762626"/>
                <a:gd name="connsiteX158" fmla="*/ 334444 w 880627"/>
                <a:gd name="connsiteY158" fmla="*/ 140432 h 762626"/>
                <a:gd name="connsiteX159" fmla="*/ 334444 w 880627"/>
                <a:gd name="connsiteY159" fmla="*/ 51283 h 762626"/>
                <a:gd name="connsiteX160" fmla="*/ 308919 w 880627"/>
                <a:gd name="connsiteY160" fmla="*/ 25758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72668 w 880627"/>
                <a:gd name="connsiteY145" fmla="*/ 51283 h 762626"/>
                <a:gd name="connsiteX146" fmla="*/ 647145 w 880627"/>
                <a:gd name="connsiteY146" fmla="*/ 25758 h 762626"/>
                <a:gd name="connsiteX147" fmla="*/ 478033 w 880627"/>
                <a:gd name="connsiteY147" fmla="*/ 25758 h 762626"/>
                <a:gd name="connsiteX148" fmla="*/ 452509 w 880627"/>
                <a:gd name="connsiteY148" fmla="*/ 51283 h 762626"/>
                <a:gd name="connsiteX149" fmla="*/ 452509 w 880627"/>
                <a:gd name="connsiteY149" fmla="*/ 140432 h 762626"/>
                <a:gd name="connsiteX150" fmla="*/ 478033 w 880627"/>
                <a:gd name="connsiteY150" fmla="*/ 165957 h 762626"/>
                <a:gd name="connsiteX151" fmla="*/ 503558 w 880627"/>
                <a:gd name="connsiteY151" fmla="*/ 140432 h 762626"/>
                <a:gd name="connsiteX152" fmla="*/ 503558 w 880627"/>
                <a:gd name="connsiteY152" fmla="*/ 51283 h 762626"/>
                <a:gd name="connsiteX153" fmla="*/ 478033 w 880627"/>
                <a:gd name="connsiteY153" fmla="*/ 25758 h 762626"/>
                <a:gd name="connsiteX154" fmla="*/ 334444 w 880627"/>
                <a:gd name="connsiteY154" fmla="*/ 51283 h 762626"/>
                <a:gd name="connsiteX155" fmla="*/ 283395 w 880627"/>
                <a:gd name="connsiteY155" fmla="*/ 51283 h 762626"/>
                <a:gd name="connsiteX156" fmla="*/ 283395 w 880627"/>
                <a:gd name="connsiteY156" fmla="*/ 140432 h 762626"/>
                <a:gd name="connsiteX157" fmla="*/ 308919 w 880627"/>
                <a:gd name="connsiteY157" fmla="*/ 165957 h 762626"/>
                <a:gd name="connsiteX158" fmla="*/ 334444 w 880627"/>
                <a:gd name="connsiteY158" fmla="*/ 140432 h 762626"/>
                <a:gd name="connsiteX159" fmla="*/ 334444 w 880627"/>
                <a:gd name="connsiteY159" fmla="*/ 51283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72668 w 880627"/>
                <a:gd name="connsiteY145" fmla="*/ 51283 h 762626"/>
                <a:gd name="connsiteX146" fmla="*/ 647145 w 880627"/>
                <a:gd name="connsiteY146" fmla="*/ 25758 h 762626"/>
                <a:gd name="connsiteX147" fmla="*/ 478033 w 880627"/>
                <a:gd name="connsiteY147" fmla="*/ 25758 h 762626"/>
                <a:gd name="connsiteX148" fmla="*/ 452509 w 880627"/>
                <a:gd name="connsiteY148" fmla="*/ 51283 h 762626"/>
                <a:gd name="connsiteX149" fmla="*/ 452509 w 880627"/>
                <a:gd name="connsiteY149" fmla="*/ 140432 h 762626"/>
                <a:gd name="connsiteX150" fmla="*/ 478033 w 880627"/>
                <a:gd name="connsiteY150" fmla="*/ 165957 h 762626"/>
                <a:gd name="connsiteX151" fmla="*/ 503558 w 880627"/>
                <a:gd name="connsiteY151" fmla="*/ 140432 h 762626"/>
                <a:gd name="connsiteX152" fmla="*/ 503558 w 880627"/>
                <a:gd name="connsiteY152" fmla="*/ 51283 h 762626"/>
                <a:gd name="connsiteX153" fmla="*/ 478033 w 880627"/>
                <a:gd name="connsiteY153" fmla="*/ 25758 h 762626"/>
                <a:gd name="connsiteX154" fmla="*/ 334444 w 880627"/>
                <a:gd name="connsiteY154" fmla="*/ 140432 h 762626"/>
                <a:gd name="connsiteX155" fmla="*/ 283395 w 880627"/>
                <a:gd name="connsiteY155" fmla="*/ 51283 h 762626"/>
                <a:gd name="connsiteX156" fmla="*/ 283395 w 880627"/>
                <a:gd name="connsiteY156" fmla="*/ 140432 h 762626"/>
                <a:gd name="connsiteX157" fmla="*/ 308919 w 880627"/>
                <a:gd name="connsiteY157" fmla="*/ 165957 h 762626"/>
                <a:gd name="connsiteX158" fmla="*/ 334444 w 880627"/>
                <a:gd name="connsiteY158" fmla="*/ 140432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72668 w 880627"/>
                <a:gd name="connsiteY145" fmla="*/ 51283 h 762626"/>
                <a:gd name="connsiteX146" fmla="*/ 647145 w 880627"/>
                <a:gd name="connsiteY146" fmla="*/ 25758 h 762626"/>
                <a:gd name="connsiteX147" fmla="*/ 478033 w 880627"/>
                <a:gd name="connsiteY147" fmla="*/ 25758 h 762626"/>
                <a:gd name="connsiteX148" fmla="*/ 452509 w 880627"/>
                <a:gd name="connsiteY148" fmla="*/ 51283 h 762626"/>
                <a:gd name="connsiteX149" fmla="*/ 452509 w 880627"/>
                <a:gd name="connsiteY149" fmla="*/ 140432 h 762626"/>
                <a:gd name="connsiteX150" fmla="*/ 478033 w 880627"/>
                <a:gd name="connsiteY150" fmla="*/ 165957 h 762626"/>
                <a:gd name="connsiteX151" fmla="*/ 503558 w 880627"/>
                <a:gd name="connsiteY151" fmla="*/ 140432 h 762626"/>
                <a:gd name="connsiteX152" fmla="*/ 503558 w 880627"/>
                <a:gd name="connsiteY152" fmla="*/ 51283 h 762626"/>
                <a:gd name="connsiteX153" fmla="*/ 478033 w 880627"/>
                <a:gd name="connsiteY153" fmla="*/ 25758 h 762626"/>
                <a:gd name="connsiteX154" fmla="*/ 334444 w 880627"/>
                <a:gd name="connsiteY154" fmla="*/ 140432 h 762626"/>
                <a:gd name="connsiteX155" fmla="*/ 283395 w 880627"/>
                <a:gd name="connsiteY155" fmla="*/ 140432 h 762626"/>
                <a:gd name="connsiteX156" fmla="*/ 308919 w 880627"/>
                <a:gd name="connsiteY156" fmla="*/ 165957 h 762626"/>
                <a:gd name="connsiteX157" fmla="*/ 334444 w 880627"/>
                <a:gd name="connsiteY157" fmla="*/ 140432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72668 w 880627"/>
                <a:gd name="connsiteY145" fmla="*/ 51283 h 762626"/>
                <a:gd name="connsiteX146" fmla="*/ 647145 w 880627"/>
                <a:gd name="connsiteY146" fmla="*/ 25758 h 762626"/>
                <a:gd name="connsiteX147" fmla="*/ 478033 w 880627"/>
                <a:gd name="connsiteY147" fmla="*/ 25758 h 762626"/>
                <a:gd name="connsiteX148" fmla="*/ 452509 w 880627"/>
                <a:gd name="connsiteY148" fmla="*/ 51283 h 762626"/>
                <a:gd name="connsiteX149" fmla="*/ 452509 w 880627"/>
                <a:gd name="connsiteY149" fmla="*/ 140432 h 762626"/>
                <a:gd name="connsiteX150" fmla="*/ 478033 w 880627"/>
                <a:gd name="connsiteY150" fmla="*/ 165957 h 762626"/>
                <a:gd name="connsiteX151" fmla="*/ 503558 w 880627"/>
                <a:gd name="connsiteY151" fmla="*/ 140432 h 762626"/>
                <a:gd name="connsiteX152" fmla="*/ 503558 w 880627"/>
                <a:gd name="connsiteY152" fmla="*/ 51283 h 762626"/>
                <a:gd name="connsiteX153" fmla="*/ 478033 w 880627"/>
                <a:gd name="connsiteY153" fmla="*/ 25758 h 762626"/>
                <a:gd name="connsiteX154" fmla="*/ 308919 w 880627"/>
                <a:gd name="connsiteY154" fmla="*/ 165957 h 762626"/>
                <a:gd name="connsiteX155" fmla="*/ 283395 w 880627"/>
                <a:gd name="connsiteY155" fmla="*/ 140432 h 762626"/>
                <a:gd name="connsiteX156" fmla="*/ 308919 w 880627"/>
                <a:gd name="connsiteY156" fmla="*/ 165957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72668 w 880627"/>
                <a:gd name="connsiteY145" fmla="*/ 51283 h 762626"/>
                <a:gd name="connsiteX146" fmla="*/ 647145 w 880627"/>
                <a:gd name="connsiteY146" fmla="*/ 25758 h 762626"/>
                <a:gd name="connsiteX147" fmla="*/ 478033 w 880627"/>
                <a:gd name="connsiteY147" fmla="*/ 25758 h 762626"/>
                <a:gd name="connsiteX148" fmla="*/ 452509 w 880627"/>
                <a:gd name="connsiteY148" fmla="*/ 51283 h 762626"/>
                <a:gd name="connsiteX149" fmla="*/ 452509 w 880627"/>
                <a:gd name="connsiteY149" fmla="*/ 140432 h 762626"/>
                <a:gd name="connsiteX150" fmla="*/ 478033 w 880627"/>
                <a:gd name="connsiteY150" fmla="*/ 165957 h 762626"/>
                <a:gd name="connsiteX151" fmla="*/ 503558 w 880627"/>
                <a:gd name="connsiteY151" fmla="*/ 140432 h 762626"/>
                <a:gd name="connsiteX152" fmla="*/ 503558 w 880627"/>
                <a:gd name="connsiteY152" fmla="*/ 51283 h 762626"/>
                <a:gd name="connsiteX153" fmla="*/ 478033 w 880627"/>
                <a:gd name="connsiteY153" fmla="*/ 25758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72668 w 880627"/>
                <a:gd name="connsiteY145" fmla="*/ 51283 h 762626"/>
                <a:gd name="connsiteX146" fmla="*/ 647145 w 880627"/>
                <a:gd name="connsiteY146" fmla="*/ 25758 h 762626"/>
                <a:gd name="connsiteX147" fmla="*/ 478033 w 880627"/>
                <a:gd name="connsiteY147" fmla="*/ 25758 h 762626"/>
                <a:gd name="connsiteX148" fmla="*/ 452509 w 880627"/>
                <a:gd name="connsiteY148" fmla="*/ 51283 h 762626"/>
                <a:gd name="connsiteX149" fmla="*/ 452509 w 880627"/>
                <a:gd name="connsiteY149" fmla="*/ 140432 h 762626"/>
                <a:gd name="connsiteX150" fmla="*/ 478033 w 880627"/>
                <a:gd name="connsiteY150" fmla="*/ 165957 h 762626"/>
                <a:gd name="connsiteX151" fmla="*/ 503558 w 880627"/>
                <a:gd name="connsiteY151" fmla="*/ 140432 h 762626"/>
                <a:gd name="connsiteX152" fmla="*/ 478033 w 880627"/>
                <a:gd name="connsiteY152" fmla="*/ 25758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72668 w 880627"/>
                <a:gd name="connsiteY145" fmla="*/ 51283 h 762626"/>
                <a:gd name="connsiteX146" fmla="*/ 647145 w 880627"/>
                <a:gd name="connsiteY146" fmla="*/ 25758 h 762626"/>
                <a:gd name="connsiteX147" fmla="*/ 503558 w 880627"/>
                <a:gd name="connsiteY147" fmla="*/ 140432 h 762626"/>
                <a:gd name="connsiteX148" fmla="*/ 452509 w 880627"/>
                <a:gd name="connsiteY148" fmla="*/ 51283 h 762626"/>
                <a:gd name="connsiteX149" fmla="*/ 452509 w 880627"/>
                <a:gd name="connsiteY149" fmla="*/ 140432 h 762626"/>
                <a:gd name="connsiteX150" fmla="*/ 478033 w 880627"/>
                <a:gd name="connsiteY150" fmla="*/ 165957 h 762626"/>
                <a:gd name="connsiteX151" fmla="*/ 503558 w 880627"/>
                <a:gd name="connsiteY151" fmla="*/ 140432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72668 w 880627"/>
                <a:gd name="connsiteY145" fmla="*/ 51283 h 762626"/>
                <a:gd name="connsiteX146" fmla="*/ 647145 w 880627"/>
                <a:gd name="connsiteY146" fmla="*/ 25758 h 762626"/>
                <a:gd name="connsiteX147" fmla="*/ 503558 w 880627"/>
                <a:gd name="connsiteY147" fmla="*/ 140432 h 762626"/>
                <a:gd name="connsiteX148" fmla="*/ 452509 w 880627"/>
                <a:gd name="connsiteY148" fmla="*/ 140432 h 762626"/>
                <a:gd name="connsiteX149" fmla="*/ 478033 w 880627"/>
                <a:gd name="connsiteY149" fmla="*/ 165957 h 762626"/>
                <a:gd name="connsiteX150" fmla="*/ 503558 w 880627"/>
                <a:gd name="connsiteY150" fmla="*/ 140432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72668 w 880627"/>
                <a:gd name="connsiteY145" fmla="*/ 51283 h 762626"/>
                <a:gd name="connsiteX146" fmla="*/ 647145 w 880627"/>
                <a:gd name="connsiteY146" fmla="*/ 25758 h 762626"/>
                <a:gd name="connsiteX147" fmla="*/ 478033 w 880627"/>
                <a:gd name="connsiteY147" fmla="*/ 165957 h 762626"/>
                <a:gd name="connsiteX148" fmla="*/ 452509 w 880627"/>
                <a:gd name="connsiteY148" fmla="*/ 140432 h 762626"/>
                <a:gd name="connsiteX149" fmla="*/ 478033 w 880627"/>
                <a:gd name="connsiteY149" fmla="*/ 165957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72668 w 880627"/>
                <a:gd name="connsiteY145" fmla="*/ 51283 h 762626"/>
                <a:gd name="connsiteX146" fmla="*/ 647145 w 880627"/>
                <a:gd name="connsiteY146" fmla="*/ 25758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51283 h 762626"/>
                <a:gd name="connsiteX142" fmla="*/ 621620 w 880627"/>
                <a:gd name="connsiteY142" fmla="*/ 140432 h 762626"/>
                <a:gd name="connsiteX143" fmla="*/ 647145 w 880627"/>
                <a:gd name="connsiteY143" fmla="*/ 165957 h 762626"/>
                <a:gd name="connsiteX144" fmla="*/ 672668 w 880627"/>
                <a:gd name="connsiteY144" fmla="*/ 140432 h 762626"/>
                <a:gd name="connsiteX145" fmla="*/ 647145 w 880627"/>
                <a:gd name="connsiteY145" fmla="*/ 25758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25758 h 762626"/>
                <a:gd name="connsiteX141" fmla="*/ 621620 w 880627"/>
                <a:gd name="connsiteY141" fmla="*/ 140432 h 762626"/>
                <a:gd name="connsiteX142" fmla="*/ 647145 w 880627"/>
                <a:gd name="connsiteY142" fmla="*/ 165957 h 762626"/>
                <a:gd name="connsiteX143" fmla="*/ 672668 w 880627"/>
                <a:gd name="connsiteY143" fmla="*/ 140432 h 762626"/>
                <a:gd name="connsiteX144" fmla="*/ 647145 w 880627"/>
                <a:gd name="connsiteY144" fmla="*/ 25758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72668 w 880627"/>
                <a:gd name="connsiteY140" fmla="*/ 140432 h 762626"/>
                <a:gd name="connsiteX141" fmla="*/ 621620 w 880627"/>
                <a:gd name="connsiteY141" fmla="*/ 140432 h 762626"/>
                <a:gd name="connsiteX142" fmla="*/ 647145 w 880627"/>
                <a:gd name="connsiteY142" fmla="*/ 165957 h 762626"/>
                <a:gd name="connsiteX143" fmla="*/ 672668 w 880627"/>
                <a:gd name="connsiteY143" fmla="*/ 140432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140" fmla="*/ 647145 w 880627"/>
                <a:gd name="connsiteY140" fmla="*/ 165957 h 762626"/>
                <a:gd name="connsiteX141" fmla="*/ 621620 w 880627"/>
                <a:gd name="connsiteY141" fmla="*/ 140432 h 762626"/>
                <a:gd name="connsiteX142" fmla="*/ 647145 w 880627"/>
                <a:gd name="connsiteY142" fmla="*/ 165957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25758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25758 w 880627"/>
                <a:gd name="connsiteY87" fmla="*/ 260522 h 762626"/>
                <a:gd name="connsiteX88" fmla="*/ 178000 w 880627"/>
                <a:gd name="connsiteY88" fmla="*/ 260522 h 762626"/>
                <a:gd name="connsiteX89" fmla="*/ 178000 w 880627"/>
                <a:gd name="connsiteY89" fmla="*/ 383622 h 762626"/>
                <a:gd name="connsiteX90" fmla="*/ 304479 w 880627"/>
                <a:gd name="connsiteY90" fmla="*/ 383622 h 762626"/>
                <a:gd name="connsiteX91" fmla="*/ 304479 w 880627"/>
                <a:gd name="connsiteY91" fmla="*/ 260522 h 762626"/>
                <a:gd name="connsiteX92" fmla="*/ 178000 w 880627"/>
                <a:gd name="connsiteY92" fmla="*/ 260522 h 762626"/>
                <a:gd name="connsiteX93" fmla="*/ 330238 w 880627"/>
                <a:gd name="connsiteY93" fmla="*/ 260522 h 762626"/>
                <a:gd name="connsiteX94" fmla="*/ 330238 w 880627"/>
                <a:gd name="connsiteY94" fmla="*/ 383622 h 762626"/>
                <a:gd name="connsiteX95" fmla="*/ 456717 w 880627"/>
                <a:gd name="connsiteY95" fmla="*/ 383622 h 762626"/>
                <a:gd name="connsiteX96" fmla="*/ 456717 w 880627"/>
                <a:gd name="connsiteY96" fmla="*/ 260522 h 762626"/>
                <a:gd name="connsiteX97" fmla="*/ 330238 w 880627"/>
                <a:gd name="connsiteY97" fmla="*/ 260522 h 762626"/>
                <a:gd name="connsiteX98" fmla="*/ 482477 w 880627"/>
                <a:gd name="connsiteY98" fmla="*/ 260522 h 762626"/>
                <a:gd name="connsiteX99" fmla="*/ 482477 w 880627"/>
                <a:gd name="connsiteY99" fmla="*/ 383622 h 762626"/>
                <a:gd name="connsiteX100" fmla="*/ 519639 w 880627"/>
                <a:gd name="connsiteY100" fmla="*/ 383622 h 762626"/>
                <a:gd name="connsiteX101" fmla="*/ 608956 w 880627"/>
                <a:gd name="connsiteY101" fmla="*/ 335743 h 762626"/>
                <a:gd name="connsiteX102" fmla="*/ 608956 w 880627"/>
                <a:gd name="connsiteY102" fmla="*/ 260522 h 762626"/>
                <a:gd name="connsiteX103" fmla="*/ 482477 w 880627"/>
                <a:gd name="connsiteY103" fmla="*/ 260522 h 762626"/>
                <a:gd name="connsiteX104" fmla="*/ 25758 w 880627"/>
                <a:gd name="connsiteY104" fmla="*/ 409382 h 762626"/>
                <a:gd name="connsiteX105" fmla="*/ 25758 w 880627"/>
                <a:gd name="connsiteY105" fmla="*/ 532480 h 762626"/>
                <a:gd name="connsiteX106" fmla="*/ 152236 w 880627"/>
                <a:gd name="connsiteY106" fmla="*/ 532480 h 762626"/>
                <a:gd name="connsiteX107" fmla="*/ 152236 w 880627"/>
                <a:gd name="connsiteY107" fmla="*/ 409382 h 762626"/>
                <a:gd name="connsiteX108" fmla="*/ 25758 w 880627"/>
                <a:gd name="connsiteY108" fmla="*/ 409382 h 762626"/>
                <a:gd name="connsiteX109" fmla="*/ 177997 w 880627"/>
                <a:gd name="connsiteY109" fmla="*/ 409382 h 762626"/>
                <a:gd name="connsiteX110" fmla="*/ 177997 w 880627"/>
                <a:gd name="connsiteY110" fmla="*/ 532480 h 762626"/>
                <a:gd name="connsiteX111" fmla="*/ 304475 w 880627"/>
                <a:gd name="connsiteY111" fmla="*/ 532480 h 762626"/>
                <a:gd name="connsiteX112" fmla="*/ 304475 w 880627"/>
                <a:gd name="connsiteY112" fmla="*/ 409382 h 762626"/>
                <a:gd name="connsiteX113" fmla="*/ 177997 w 880627"/>
                <a:gd name="connsiteY113" fmla="*/ 409382 h 762626"/>
                <a:gd name="connsiteX114" fmla="*/ 330235 w 880627"/>
                <a:gd name="connsiteY114" fmla="*/ 409382 h 762626"/>
                <a:gd name="connsiteX115" fmla="*/ 330235 w 880627"/>
                <a:gd name="connsiteY115" fmla="*/ 532483 h 762626"/>
                <a:gd name="connsiteX116" fmla="*/ 447158 w 880627"/>
                <a:gd name="connsiteY116" fmla="*/ 532483 h 762626"/>
                <a:gd name="connsiteX117" fmla="*/ 456715 w 880627"/>
                <a:gd name="connsiteY117" fmla="*/ 480623 h 762626"/>
                <a:gd name="connsiteX118" fmla="*/ 456715 w 880627"/>
                <a:gd name="connsiteY118" fmla="*/ 409382 h 762626"/>
                <a:gd name="connsiteX119" fmla="*/ 330235 w 880627"/>
                <a:gd name="connsiteY119" fmla="*/ 409382 h 762626"/>
                <a:gd name="connsiteX120" fmla="*/ 482477 w 880627"/>
                <a:gd name="connsiteY120" fmla="*/ 409382 h 762626"/>
                <a:gd name="connsiteX121" fmla="*/ 482477 w 880627"/>
                <a:gd name="connsiteY121" fmla="*/ 426554 h 762626"/>
                <a:gd name="connsiteX122" fmla="*/ 495050 w 880627"/>
                <a:gd name="connsiteY122" fmla="*/ 409382 h 762626"/>
                <a:gd name="connsiteX123" fmla="*/ 482477 w 880627"/>
                <a:gd name="connsiteY123" fmla="*/ 409382 h 762626"/>
                <a:gd name="connsiteX124" fmla="*/ 25758 w 880627"/>
                <a:gd name="connsiteY124" fmla="*/ 558238 h 762626"/>
                <a:gd name="connsiteX125" fmla="*/ 25758 w 880627"/>
                <a:gd name="connsiteY125" fmla="*/ 646211 h 762626"/>
                <a:gd name="connsiteX126" fmla="*/ 60884 w 880627"/>
                <a:gd name="connsiteY126" fmla="*/ 681339 h 762626"/>
                <a:gd name="connsiteX127" fmla="*/ 152236 w 880627"/>
                <a:gd name="connsiteY127" fmla="*/ 681339 h 762626"/>
                <a:gd name="connsiteX128" fmla="*/ 152236 w 880627"/>
                <a:gd name="connsiteY128" fmla="*/ 558238 h 762626"/>
                <a:gd name="connsiteX129" fmla="*/ 25758 w 880627"/>
                <a:gd name="connsiteY129" fmla="*/ 558238 h 762626"/>
                <a:gd name="connsiteX130" fmla="*/ 178000 w 880627"/>
                <a:gd name="connsiteY130" fmla="*/ 558241 h 762626"/>
                <a:gd name="connsiteX131" fmla="*/ 178000 w 880627"/>
                <a:gd name="connsiteY131" fmla="*/ 681339 h 762626"/>
                <a:gd name="connsiteX132" fmla="*/ 304479 w 880627"/>
                <a:gd name="connsiteY132" fmla="*/ 681339 h 762626"/>
                <a:gd name="connsiteX133" fmla="*/ 304479 w 880627"/>
                <a:gd name="connsiteY133" fmla="*/ 558241 h 762626"/>
                <a:gd name="connsiteX134" fmla="*/ 178000 w 880627"/>
                <a:gd name="connsiteY134" fmla="*/ 558241 h 762626"/>
                <a:gd name="connsiteX135" fmla="*/ 330238 w 880627"/>
                <a:gd name="connsiteY135" fmla="*/ 558241 h 762626"/>
                <a:gd name="connsiteX136" fmla="*/ 330238 w 880627"/>
                <a:gd name="connsiteY136" fmla="*/ 681339 h 762626"/>
                <a:gd name="connsiteX137" fmla="*/ 494330 w 880627"/>
                <a:gd name="connsiteY137" fmla="*/ 681339 h 762626"/>
                <a:gd name="connsiteX138" fmla="*/ 447106 w 880627"/>
                <a:gd name="connsiteY138" fmla="*/ 558241 h 762626"/>
                <a:gd name="connsiteX139" fmla="*/ 330238 w 880627"/>
                <a:gd name="connsiteY139"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52236 w 880627"/>
                <a:gd name="connsiteY83" fmla="*/ 260522 h 762626"/>
                <a:gd name="connsiteX84" fmla="*/ 25758 w 880627"/>
                <a:gd name="connsiteY84" fmla="*/ 383622 h 762626"/>
                <a:gd name="connsiteX85" fmla="*/ 152236 w 880627"/>
                <a:gd name="connsiteY85" fmla="*/ 383622 h 762626"/>
                <a:gd name="connsiteX86" fmla="*/ 152236 w 880627"/>
                <a:gd name="connsiteY86" fmla="*/ 260522 h 762626"/>
                <a:gd name="connsiteX87" fmla="*/ 178000 w 880627"/>
                <a:gd name="connsiteY87" fmla="*/ 260522 h 762626"/>
                <a:gd name="connsiteX88" fmla="*/ 178000 w 880627"/>
                <a:gd name="connsiteY88" fmla="*/ 383622 h 762626"/>
                <a:gd name="connsiteX89" fmla="*/ 304479 w 880627"/>
                <a:gd name="connsiteY89" fmla="*/ 383622 h 762626"/>
                <a:gd name="connsiteX90" fmla="*/ 304479 w 880627"/>
                <a:gd name="connsiteY90" fmla="*/ 260522 h 762626"/>
                <a:gd name="connsiteX91" fmla="*/ 178000 w 880627"/>
                <a:gd name="connsiteY91" fmla="*/ 260522 h 762626"/>
                <a:gd name="connsiteX92" fmla="*/ 330238 w 880627"/>
                <a:gd name="connsiteY92" fmla="*/ 260522 h 762626"/>
                <a:gd name="connsiteX93" fmla="*/ 330238 w 880627"/>
                <a:gd name="connsiteY93" fmla="*/ 383622 h 762626"/>
                <a:gd name="connsiteX94" fmla="*/ 456717 w 880627"/>
                <a:gd name="connsiteY94" fmla="*/ 383622 h 762626"/>
                <a:gd name="connsiteX95" fmla="*/ 456717 w 880627"/>
                <a:gd name="connsiteY95" fmla="*/ 260522 h 762626"/>
                <a:gd name="connsiteX96" fmla="*/ 330238 w 880627"/>
                <a:gd name="connsiteY96" fmla="*/ 260522 h 762626"/>
                <a:gd name="connsiteX97" fmla="*/ 482477 w 880627"/>
                <a:gd name="connsiteY97" fmla="*/ 260522 h 762626"/>
                <a:gd name="connsiteX98" fmla="*/ 482477 w 880627"/>
                <a:gd name="connsiteY98" fmla="*/ 383622 h 762626"/>
                <a:gd name="connsiteX99" fmla="*/ 519639 w 880627"/>
                <a:gd name="connsiteY99" fmla="*/ 383622 h 762626"/>
                <a:gd name="connsiteX100" fmla="*/ 608956 w 880627"/>
                <a:gd name="connsiteY100" fmla="*/ 335743 h 762626"/>
                <a:gd name="connsiteX101" fmla="*/ 608956 w 880627"/>
                <a:gd name="connsiteY101" fmla="*/ 260522 h 762626"/>
                <a:gd name="connsiteX102" fmla="*/ 482477 w 880627"/>
                <a:gd name="connsiteY102" fmla="*/ 260522 h 762626"/>
                <a:gd name="connsiteX103" fmla="*/ 25758 w 880627"/>
                <a:gd name="connsiteY103" fmla="*/ 409382 h 762626"/>
                <a:gd name="connsiteX104" fmla="*/ 25758 w 880627"/>
                <a:gd name="connsiteY104" fmla="*/ 532480 h 762626"/>
                <a:gd name="connsiteX105" fmla="*/ 152236 w 880627"/>
                <a:gd name="connsiteY105" fmla="*/ 532480 h 762626"/>
                <a:gd name="connsiteX106" fmla="*/ 152236 w 880627"/>
                <a:gd name="connsiteY106" fmla="*/ 409382 h 762626"/>
                <a:gd name="connsiteX107" fmla="*/ 25758 w 880627"/>
                <a:gd name="connsiteY107" fmla="*/ 409382 h 762626"/>
                <a:gd name="connsiteX108" fmla="*/ 177997 w 880627"/>
                <a:gd name="connsiteY108" fmla="*/ 409382 h 762626"/>
                <a:gd name="connsiteX109" fmla="*/ 177997 w 880627"/>
                <a:gd name="connsiteY109" fmla="*/ 532480 h 762626"/>
                <a:gd name="connsiteX110" fmla="*/ 304475 w 880627"/>
                <a:gd name="connsiteY110" fmla="*/ 532480 h 762626"/>
                <a:gd name="connsiteX111" fmla="*/ 304475 w 880627"/>
                <a:gd name="connsiteY111" fmla="*/ 409382 h 762626"/>
                <a:gd name="connsiteX112" fmla="*/ 177997 w 880627"/>
                <a:gd name="connsiteY112" fmla="*/ 409382 h 762626"/>
                <a:gd name="connsiteX113" fmla="*/ 330235 w 880627"/>
                <a:gd name="connsiteY113" fmla="*/ 409382 h 762626"/>
                <a:gd name="connsiteX114" fmla="*/ 330235 w 880627"/>
                <a:gd name="connsiteY114" fmla="*/ 532483 h 762626"/>
                <a:gd name="connsiteX115" fmla="*/ 447158 w 880627"/>
                <a:gd name="connsiteY115" fmla="*/ 532483 h 762626"/>
                <a:gd name="connsiteX116" fmla="*/ 456715 w 880627"/>
                <a:gd name="connsiteY116" fmla="*/ 480623 h 762626"/>
                <a:gd name="connsiteX117" fmla="*/ 456715 w 880627"/>
                <a:gd name="connsiteY117" fmla="*/ 409382 h 762626"/>
                <a:gd name="connsiteX118" fmla="*/ 330235 w 880627"/>
                <a:gd name="connsiteY118" fmla="*/ 409382 h 762626"/>
                <a:gd name="connsiteX119" fmla="*/ 482477 w 880627"/>
                <a:gd name="connsiteY119" fmla="*/ 409382 h 762626"/>
                <a:gd name="connsiteX120" fmla="*/ 482477 w 880627"/>
                <a:gd name="connsiteY120" fmla="*/ 426554 h 762626"/>
                <a:gd name="connsiteX121" fmla="*/ 495050 w 880627"/>
                <a:gd name="connsiteY121" fmla="*/ 409382 h 762626"/>
                <a:gd name="connsiteX122" fmla="*/ 482477 w 880627"/>
                <a:gd name="connsiteY122" fmla="*/ 409382 h 762626"/>
                <a:gd name="connsiteX123" fmla="*/ 25758 w 880627"/>
                <a:gd name="connsiteY123" fmla="*/ 558238 h 762626"/>
                <a:gd name="connsiteX124" fmla="*/ 25758 w 880627"/>
                <a:gd name="connsiteY124" fmla="*/ 646211 h 762626"/>
                <a:gd name="connsiteX125" fmla="*/ 60884 w 880627"/>
                <a:gd name="connsiteY125" fmla="*/ 681339 h 762626"/>
                <a:gd name="connsiteX126" fmla="*/ 152236 w 880627"/>
                <a:gd name="connsiteY126" fmla="*/ 681339 h 762626"/>
                <a:gd name="connsiteX127" fmla="*/ 152236 w 880627"/>
                <a:gd name="connsiteY127" fmla="*/ 558238 h 762626"/>
                <a:gd name="connsiteX128" fmla="*/ 25758 w 880627"/>
                <a:gd name="connsiteY128" fmla="*/ 558238 h 762626"/>
                <a:gd name="connsiteX129" fmla="*/ 178000 w 880627"/>
                <a:gd name="connsiteY129" fmla="*/ 558241 h 762626"/>
                <a:gd name="connsiteX130" fmla="*/ 178000 w 880627"/>
                <a:gd name="connsiteY130" fmla="*/ 681339 h 762626"/>
                <a:gd name="connsiteX131" fmla="*/ 304479 w 880627"/>
                <a:gd name="connsiteY131" fmla="*/ 681339 h 762626"/>
                <a:gd name="connsiteX132" fmla="*/ 304479 w 880627"/>
                <a:gd name="connsiteY132" fmla="*/ 558241 h 762626"/>
                <a:gd name="connsiteX133" fmla="*/ 178000 w 880627"/>
                <a:gd name="connsiteY133" fmla="*/ 558241 h 762626"/>
                <a:gd name="connsiteX134" fmla="*/ 330238 w 880627"/>
                <a:gd name="connsiteY134" fmla="*/ 558241 h 762626"/>
                <a:gd name="connsiteX135" fmla="*/ 330238 w 880627"/>
                <a:gd name="connsiteY135" fmla="*/ 681339 h 762626"/>
                <a:gd name="connsiteX136" fmla="*/ 494330 w 880627"/>
                <a:gd name="connsiteY136" fmla="*/ 681339 h 762626"/>
                <a:gd name="connsiteX137" fmla="*/ 447106 w 880627"/>
                <a:gd name="connsiteY137" fmla="*/ 558241 h 762626"/>
                <a:gd name="connsiteX138" fmla="*/ 330238 w 880627"/>
                <a:gd name="connsiteY138"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52236 w 880627"/>
                <a:gd name="connsiteY83" fmla="*/ 383622 h 762626"/>
                <a:gd name="connsiteX84" fmla="*/ 25758 w 880627"/>
                <a:gd name="connsiteY84" fmla="*/ 383622 h 762626"/>
                <a:gd name="connsiteX85" fmla="*/ 152236 w 880627"/>
                <a:gd name="connsiteY85" fmla="*/ 383622 h 762626"/>
                <a:gd name="connsiteX86" fmla="*/ 178000 w 880627"/>
                <a:gd name="connsiteY86" fmla="*/ 260522 h 762626"/>
                <a:gd name="connsiteX87" fmla="*/ 178000 w 880627"/>
                <a:gd name="connsiteY87" fmla="*/ 383622 h 762626"/>
                <a:gd name="connsiteX88" fmla="*/ 304479 w 880627"/>
                <a:gd name="connsiteY88" fmla="*/ 383622 h 762626"/>
                <a:gd name="connsiteX89" fmla="*/ 304479 w 880627"/>
                <a:gd name="connsiteY89" fmla="*/ 260522 h 762626"/>
                <a:gd name="connsiteX90" fmla="*/ 178000 w 880627"/>
                <a:gd name="connsiteY90" fmla="*/ 260522 h 762626"/>
                <a:gd name="connsiteX91" fmla="*/ 330238 w 880627"/>
                <a:gd name="connsiteY91" fmla="*/ 260522 h 762626"/>
                <a:gd name="connsiteX92" fmla="*/ 330238 w 880627"/>
                <a:gd name="connsiteY92" fmla="*/ 383622 h 762626"/>
                <a:gd name="connsiteX93" fmla="*/ 456717 w 880627"/>
                <a:gd name="connsiteY93" fmla="*/ 383622 h 762626"/>
                <a:gd name="connsiteX94" fmla="*/ 456717 w 880627"/>
                <a:gd name="connsiteY94" fmla="*/ 260522 h 762626"/>
                <a:gd name="connsiteX95" fmla="*/ 330238 w 880627"/>
                <a:gd name="connsiteY95" fmla="*/ 260522 h 762626"/>
                <a:gd name="connsiteX96" fmla="*/ 482477 w 880627"/>
                <a:gd name="connsiteY96" fmla="*/ 260522 h 762626"/>
                <a:gd name="connsiteX97" fmla="*/ 482477 w 880627"/>
                <a:gd name="connsiteY97" fmla="*/ 383622 h 762626"/>
                <a:gd name="connsiteX98" fmla="*/ 519639 w 880627"/>
                <a:gd name="connsiteY98" fmla="*/ 383622 h 762626"/>
                <a:gd name="connsiteX99" fmla="*/ 608956 w 880627"/>
                <a:gd name="connsiteY99" fmla="*/ 335743 h 762626"/>
                <a:gd name="connsiteX100" fmla="*/ 608956 w 880627"/>
                <a:gd name="connsiteY100" fmla="*/ 260522 h 762626"/>
                <a:gd name="connsiteX101" fmla="*/ 482477 w 880627"/>
                <a:gd name="connsiteY101" fmla="*/ 260522 h 762626"/>
                <a:gd name="connsiteX102" fmla="*/ 25758 w 880627"/>
                <a:gd name="connsiteY102" fmla="*/ 409382 h 762626"/>
                <a:gd name="connsiteX103" fmla="*/ 25758 w 880627"/>
                <a:gd name="connsiteY103" fmla="*/ 532480 h 762626"/>
                <a:gd name="connsiteX104" fmla="*/ 152236 w 880627"/>
                <a:gd name="connsiteY104" fmla="*/ 532480 h 762626"/>
                <a:gd name="connsiteX105" fmla="*/ 152236 w 880627"/>
                <a:gd name="connsiteY105" fmla="*/ 409382 h 762626"/>
                <a:gd name="connsiteX106" fmla="*/ 25758 w 880627"/>
                <a:gd name="connsiteY106" fmla="*/ 409382 h 762626"/>
                <a:gd name="connsiteX107" fmla="*/ 177997 w 880627"/>
                <a:gd name="connsiteY107" fmla="*/ 409382 h 762626"/>
                <a:gd name="connsiteX108" fmla="*/ 177997 w 880627"/>
                <a:gd name="connsiteY108" fmla="*/ 532480 h 762626"/>
                <a:gd name="connsiteX109" fmla="*/ 304475 w 880627"/>
                <a:gd name="connsiteY109" fmla="*/ 532480 h 762626"/>
                <a:gd name="connsiteX110" fmla="*/ 304475 w 880627"/>
                <a:gd name="connsiteY110" fmla="*/ 409382 h 762626"/>
                <a:gd name="connsiteX111" fmla="*/ 177997 w 880627"/>
                <a:gd name="connsiteY111" fmla="*/ 409382 h 762626"/>
                <a:gd name="connsiteX112" fmla="*/ 330235 w 880627"/>
                <a:gd name="connsiteY112" fmla="*/ 409382 h 762626"/>
                <a:gd name="connsiteX113" fmla="*/ 330235 w 880627"/>
                <a:gd name="connsiteY113" fmla="*/ 532483 h 762626"/>
                <a:gd name="connsiteX114" fmla="*/ 447158 w 880627"/>
                <a:gd name="connsiteY114" fmla="*/ 532483 h 762626"/>
                <a:gd name="connsiteX115" fmla="*/ 456715 w 880627"/>
                <a:gd name="connsiteY115" fmla="*/ 480623 h 762626"/>
                <a:gd name="connsiteX116" fmla="*/ 456715 w 880627"/>
                <a:gd name="connsiteY116" fmla="*/ 409382 h 762626"/>
                <a:gd name="connsiteX117" fmla="*/ 330235 w 880627"/>
                <a:gd name="connsiteY117" fmla="*/ 409382 h 762626"/>
                <a:gd name="connsiteX118" fmla="*/ 482477 w 880627"/>
                <a:gd name="connsiteY118" fmla="*/ 409382 h 762626"/>
                <a:gd name="connsiteX119" fmla="*/ 482477 w 880627"/>
                <a:gd name="connsiteY119" fmla="*/ 426554 h 762626"/>
                <a:gd name="connsiteX120" fmla="*/ 495050 w 880627"/>
                <a:gd name="connsiteY120" fmla="*/ 409382 h 762626"/>
                <a:gd name="connsiteX121" fmla="*/ 482477 w 880627"/>
                <a:gd name="connsiteY121" fmla="*/ 409382 h 762626"/>
                <a:gd name="connsiteX122" fmla="*/ 25758 w 880627"/>
                <a:gd name="connsiteY122" fmla="*/ 558238 h 762626"/>
                <a:gd name="connsiteX123" fmla="*/ 25758 w 880627"/>
                <a:gd name="connsiteY123" fmla="*/ 646211 h 762626"/>
                <a:gd name="connsiteX124" fmla="*/ 60884 w 880627"/>
                <a:gd name="connsiteY124" fmla="*/ 681339 h 762626"/>
                <a:gd name="connsiteX125" fmla="*/ 152236 w 880627"/>
                <a:gd name="connsiteY125" fmla="*/ 681339 h 762626"/>
                <a:gd name="connsiteX126" fmla="*/ 152236 w 880627"/>
                <a:gd name="connsiteY126" fmla="*/ 558238 h 762626"/>
                <a:gd name="connsiteX127" fmla="*/ 25758 w 880627"/>
                <a:gd name="connsiteY127" fmla="*/ 558238 h 762626"/>
                <a:gd name="connsiteX128" fmla="*/ 178000 w 880627"/>
                <a:gd name="connsiteY128" fmla="*/ 558241 h 762626"/>
                <a:gd name="connsiteX129" fmla="*/ 178000 w 880627"/>
                <a:gd name="connsiteY129" fmla="*/ 681339 h 762626"/>
                <a:gd name="connsiteX130" fmla="*/ 304479 w 880627"/>
                <a:gd name="connsiteY130" fmla="*/ 681339 h 762626"/>
                <a:gd name="connsiteX131" fmla="*/ 304479 w 880627"/>
                <a:gd name="connsiteY131" fmla="*/ 558241 h 762626"/>
                <a:gd name="connsiteX132" fmla="*/ 178000 w 880627"/>
                <a:gd name="connsiteY132" fmla="*/ 558241 h 762626"/>
                <a:gd name="connsiteX133" fmla="*/ 330238 w 880627"/>
                <a:gd name="connsiteY133" fmla="*/ 558241 h 762626"/>
                <a:gd name="connsiteX134" fmla="*/ 330238 w 880627"/>
                <a:gd name="connsiteY134" fmla="*/ 681339 h 762626"/>
                <a:gd name="connsiteX135" fmla="*/ 494330 w 880627"/>
                <a:gd name="connsiteY135" fmla="*/ 681339 h 762626"/>
                <a:gd name="connsiteX136" fmla="*/ 447106 w 880627"/>
                <a:gd name="connsiteY136" fmla="*/ 558241 h 762626"/>
                <a:gd name="connsiteX137" fmla="*/ 330238 w 880627"/>
                <a:gd name="connsiteY137"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25758 w 880627"/>
                <a:gd name="connsiteY99" fmla="*/ 409382 h 762626"/>
                <a:gd name="connsiteX100" fmla="*/ 25758 w 880627"/>
                <a:gd name="connsiteY100" fmla="*/ 532480 h 762626"/>
                <a:gd name="connsiteX101" fmla="*/ 152236 w 880627"/>
                <a:gd name="connsiteY101" fmla="*/ 532480 h 762626"/>
                <a:gd name="connsiteX102" fmla="*/ 152236 w 880627"/>
                <a:gd name="connsiteY102" fmla="*/ 409382 h 762626"/>
                <a:gd name="connsiteX103" fmla="*/ 25758 w 880627"/>
                <a:gd name="connsiteY103" fmla="*/ 409382 h 762626"/>
                <a:gd name="connsiteX104" fmla="*/ 177997 w 880627"/>
                <a:gd name="connsiteY104" fmla="*/ 409382 h 762626"/>
                <a:gd name="connsiteX105" fmla="*/ 177997 w 880627"/>
                <a:gd name="connsiteY105" fmla="*/ 532480 h 762626"/>
                <a:gd name="connsiteX106" fmla="*/ 304475 w 880627"/>
                <a:gd name="connsiteY106" fmla="*/ 532480 h 762626"/>
                <a:gd name="connsiteX107" fmla="*/ 304475 w 880627"/>
                <a:gd name="connsiteY107" fmla="*/ 409382 h 762626"/>
                <a:gd name="connsiteX108" fmla="*/ 177997 w 880627"/>
                <a:gd name="connsiteY108" fmla="*/ 409382 h 762626"/>
                <a:gd name="connsiteX109" fmla="*/ 330235 w 880627"/>
                <a:gd name="connsiteY109" fmla="*/ 409382 h 762626"/>
                <a:gd name="connsiteX110" fmla="*/ 330235 w 880627"/>
                <a:gd name="connsiteY110" fmla="*/ 532483 h 762626"/>
                <a:gd name="connsiteX111" fmla="*/ 447158 w 880627"/>
                <a:gd name="connsiteY111" fmla="*/ 532483 h 762626"/>
                <a:gd name="connsiteX112" fmla="*/ 456715 w 880627"/>
                <a:gd name="connsiteY112" fmla="*/ 480623 h 762626"/>
                <a:gd name="connsiteX113" fmla="*/ 456715 w 880627"/>
                <a:gd name="connsiteY113" fmla="*/ 409382 h 762626"/>
                <a:gd name="connsiteX114" fmla="*/ 330235 w 880627"/>
                <a:gd name="connsiteY114" fmla="*/ 409382 h 762626"/>
                <a:gd name="connsiteX115" fmla="*/ 482477 w 880627"/>
                <a:gd name="connsiteY115" fmla="*/ 409382 h 762626"/>
                <a:gd name="connsiteX116" fmla="*/ 482477 w 880627"/>
                <a:gd name="connsiteY116" fmla="*/ 426554 h 762626"/>
                <a:gd name="connsiteX117" fmla="*/ 495050 w 880627"/>
                <a:gd name="connsiteY117" fmla="*/ 409382 h 762626"/>
                <a:gd name="connsiteX118" fmla="*/ 482477 w 880627"/>
                <a:gd name="connsiteY118" fmla="*/ 409382 h 762626"/>
                <a:gd name="connsiteX119" fmla="*/ 25758 w 880627"/>
                <a:gd name="connsiteY119" fmla="*/ 558238 h 762626"/>
                <a:gd name="connsiteX120" fmla="*/ 25758 w 880627"/>
                <a:gd name="connsiteY120" fmla="*/ 646211 h 762626"/>
                <a:gd name="connsiteX121" fmla="*/ 60884 w 880627"/>
                <a:gd name="connsiteY121" fmla="*/ 681339 h 762626"/>
                <a:gd name="connsiteX122" fmla="*/ 152236 w 880627"/>
                <a:gd name="connsiteY122" fmla="*/ 681339 h 762626"/>
                <a:gd name="connsiteX123" fmla="*/ 152236 w 880627"/>
                <a:gd name="connsiteY123" fmla="*/ 558238 h 762626"/>
                <a:gd name="connsiteX124" fmla="*/ 25758 w 880627"/>
                <a:gd name="connsiteY124" fmla="*/ 558238 h 762626"/>
                <a:gd name="connsiteX125" fmla="*/ 178000 w 880627"/>
                <a:gd name="connsiteY125" fmla="*/ 558241 h 762626"/>
                <a:gd name="connsiteX126" fmla="*/ 178000 w 880627"/>
                <a:gd name="connsiteY126" fmla="*/ 681339 h 762626"/>
                <a:gd name="connsiteX127" fmla="*/ 304479 w 880627"/>
                <a:gd name="connsiteY127" fmla="*/ 681339 h 762626"/>
                <a:gd name="connsiteX128" fmla="*/ 304479 w 880627"/>
                <a:gd name="connsiteY128" fmla="*/ 558241 h 762626"/>
                <a:gd name="connsiteX129" fmla="*/ 178000 w 880627"/>
                <a:gd name="connsiteY129" fmla="*/ 558241 h 762626"/>
                <a:gd name="connsiteX130" fmla="*/ 330238 w 880627"/>
                <a:gd name="connsiteY130" fmla="*/ 558241 h 762626"/>
                <a:gd name="connsiteX131" fmla="*/ 330238 w 880627"/>
                <a:gd name="connsiteY131" fmla="*/ 681339 h 762626"/>
                <a:gd name="connsiteX132" fmla="*/ 494330 w 880627"/>
                <a:gd name="connsiteY132" fmla="*/ 681339 h 762626"/>
                <a:gd name="connsiteX133" fmla="*/ 447106 w 880627"/>
                <a:gd name="connsiteY133" fmla="*/ 558241 h 762626"/>
                <a:gd name="connsiteX134" fmla="*/ 330238 w 880627"/>
                <a:gd name="connsiteY134"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52236 w 880627"/>
                <a:gd name="connsiteY99" fmla="*/ 409382 h 762626"/>
                <a:gd name="connsiteX100" fmla="*/ 25758 w 880627"/>
                <a:gd name="connsiteY100" fmla="*/ 532480 h 762626"/>
                <a:gd name="connsiteX101" fmla="*/ 152236 w 880627"/>
                <a:gd name="connsiteY101" fmla="*/ 532480 h 762626"/>
                <a:gd name="connsiteX102" fmla="*/ 152236 w 880627"/>
                <a:gd name="connsiteY102" fmla="*/ 409382 h 762626"/>
                <a:gd name="connsiteX103" fmla="*/ 177997 w 880627"/>
                <a:gd name="connsiteY103" fmla="*/ 409382 h 762626"/>
                <a:gd name="connsiteX104" fmla="*/ 177997 w 880627"/>
                <a:gd name="connsiteY104" fmla="*/ 532480 h 762626"/>
                <a:gd name="connsiteX105" fmla="*/ 304475 w 880627"/>
                <a:gd name="connsiteY105" fmla="*/ 532480 h 762626"/>
                <a:gd name="connsiteX106" fmla="*/ 304475 w 880627"/>
                <a:gd name="connsiteY106" fmla="*/ 409382 h 762626"/>
                <a:gd name="connsiteX107" fmla="*/ 177997 w 880627"/>
                <a:gd name="connsiteY107" fmla="*/ 409382 h 762626"/>
                <a:gd name="connsiteX108" fmla="*/ 330235 w 880627"/>
                <a:gd name="connsiteY108" fmla="*/ 409382 h 762626"/>
                <a:gd name="connsiteX109" fmla="*/ 330235 w 880627"/>
                <a:gd name="connsiteY109" fmla="*/ 532483 h 762626"/>
                <a:gd name="connsiteX110" fmla="*/ 447158 w 880627"/>
                <a:gd name="connsiteY110" fmla="*/ 532483 h 762626"/>
                <a:gd name="connsiteX111" fmla="*/ 456715 w 880627"/>
                <a:gd name="connsiteY111" fmla="*/ 480623 h 762626"/>
                <a:gd name="connsiteX112" fmla="*/ 456715 w 880627"/>
                <a:gd name="connsiteY112" fmla="*/ 409382 h 762626"/>
                <a:gd name="connsiteX113" fmla="*/ 330235 w 880627"/>
                <a:gd name="connsiteY113" fmla="*/ 409382 h 762626"/>
                <a:gd name="connsiteX114" fmla="*/ 482477 w 880627"/>
                <a:gd name="connsiteY114" fmla="*/ 409382 h 762626"/>
                <a:gd name="connsiteX115" fmla="*/ 482477 w 880627"/>
                <a:gd name="connsiteY115" fmla="*/ 426554 h 762626"/>
                <a:gd name="connsiteX116" fmla="*/ 495050 w 880627"/>
                <a:gd name="connsiteY116" fmla="*/ 409382 h 762626"/>
                <a:gd name="connsiteX117" fmla="*/ 482477 w 880627"/>
                <a:gd name="connsiteY117" fmla="*/ 409382 h 762626"/>
                <a:gd name="connsiteX118" fmla="*/ 25758 w 880627"/>
                <a:gd name="connsiteY118" fmla="*/ 558238 h 762626"/>
                <a:gd name="connsiteX119" fmla="*/ 25758 w 880627"/>
                <a:gd name="connsiteY119" fmla="*/ 646211 h 762626"/>
                <a:gd name="connsiteX120" fmla="*/ 60884 w 880627"/>
                <a:gd name="connsiteY120" fmla="*/ 681339 h 762626"/>
                <a:gd name="connsiteX121" fmla="*/ 152236 w 880627"/>
                <a:gd name="connsiteY121" fmla="*/ 681339 h 762626"/>
                <a:gd name="connsiteX122" fmla="*/ 152236 w 880627"/>
                <a:gd name="connsiteY122" fmla="*/ 558238 h 762626"/>
                <a:gd name="connsiteX123" fmla="*/ 25758 w 880627"/>
                <a:gd name="connsiteY123" fmla="*/ 558238 h 762626"/>
                <a:gd name="connsiteX124" fmla="*/ 178000 w 880627"/>
                <a:gd name="connsiteY124" fmla="*/ 558241 h 762626"/>
                <a:gd name="connsiteX125" fmla="*/ 178000 w 880627"/>
                <a:gd name="connsiteY125" fmla="*/ 681339 h 762626"/>
                <a:gd name="connsiteX126" fmla="*/ 304479 w 880627"/>
                <a:gd name="connsiteY126" fmla="*/ 681339 h 762626"/>
                <a:gd name="connsiteX127" fmla="*/ 304479 w 880627"/>
                <a:gd name="connsiteY127" fmla="*/ 558241 h 762626"/>
                <a:gd name="connsiteX128" fmla="*/ 178000 w 880627"/>
                <a:gd name="connsiteY128" fmla="*/ 558241 h 762626"/>
                <a:gd name="connsiteX129" fmla="*/ 330238 w 880627"/>
                <a:gd name="connsiteY129" fmla="*/ 558241 h 762626"/>
                <a:gd name="connsiteX130" fmla="*/ 330238 w 880627"/>
                <a:gd name="connsiteY130" fmla="*/ 681339 h 762626"/>
                <a:gd name="connsiteX131" fmla="*/ 494330 w 880627"/>
                <a:gd name="connsiteY131" fmla="*/ 681339 h 762626"/>
                <a:gd name="connsiteX132" fmla="*/ 447106 w 880627"/>
                <a:gd name="connsiteY132" fmla="*/ 558241 h 762626"/>
                <a:gd name="connsiteX133" fmla="*/ 330238 w 880627"/>
                <a:gd name="connsiteY133"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52236 w 880627"/>
                <a:gd name="connsiteY99" fmla="*/ 532480 h 762626"/>
                <a:gd name="connsiteX100" fmla="*/ 25758 w 880627"/>
                <a:gd name="connsiteY100" fmla="*/ 532480 h 762626"/>
                <a:gd name="connsiteX101" fmla="*/ 152236 w 880627"/>
                <a:gd name="connsiteY101" fmla="*/ 532480 h 762626"/>
                <a:gd name="connsiteX102" fmla="*/ 177997 w 880627"/>
                <a:gd name="connsiteY102" fmla="*/ 409382 h 762626"/>
                <a:gd name="connsiteX103" fmla="*/ 177997 w 880627"/>
                <a:gd name="connsiteY103" fmla="*/ 532480 h 762626"/>
                <a:gd name="connsiteX104" fmla="*/ 304475 w 880627"/>
                <a:gd name="connsiteY104" fmla="*/ 532480 h 762626"/>
                <a:gd name="connsiteX105" fmla="*/ 304475 w 880627"/>
                <a:gd name="connsiteY105" fmla="*/ 409382 h 762626"/>
                <a:gd name="connsiteX106" fmla="*/ 177997 w 880627"/>
                <a:gd name="connsiteY106" fmla="*/ 409382 h 762626"/>
                <a:gd name="connsiteX107" fmla="*/ 330235 w 880627"/>
                <a:gd name="connsiteY107" fmla="*/ 409382 h 762626"/>
                <a:gd name="connsiteX108" fmla="*/ 330235 w 880627"/>
                <a:gd name="connsiteY108" fmla="*/ 532483 h 762626"/>
                <a:gd name="connsiteX109" fmla="*/ 447158 w 880627"/>
                <a:gd name="connsiteY109" fmla="*/ 532483 h 762626"/>
                <a:gd name="connsiteX110" fmla="*/ 456715 w 880627"/>
                <a:gd name="connsiteY110" fmla="*/ 480623 h 762626"/>
                <a:gd name="connsiteX111" fmla="*/ 456715 w 880627"/>
                <a:gd name="connsiteY111" fmla="*/ 409382 h 762626"/>
                <a:gd name="connsiteX112" fmla="*/ 330235 w 880627"/>
                <a:gd name="connsiteY112" fmla="*/ 409382 h 762626"/>
                <a:gd name="connsiteX113" fmla="*/ 482477 w 880627"/>
                <a:gd name="connsiteY113" fmla="*/ 409382 h 762626"/>
                <a:gd name="connsiteX114" fmla="*/ 482477 w 880627"/>
                <a:gd name="connsiteY114" fmla="*/ 426554 h 762626"/>
                <a:gd name="connsiteX115" fmla="*/ 495050 w 880627"/>
                <a:gd name="connsiteY115" fmla="*/ 409382 h 762626"/>
                <a:gd name="connsiteX116" fmla="*/ 482477 w 880627"/>
                <a:gd name="connsiteY116" fmla="*/ 409382 h 762626"/>
                <a:gd name="connsiteX117" fmla="*/ 25758 w 880627"/>
                <a:gd name="connsiteY117" fmla="*/ 558238 h 762626"/>
                <a:gd name="connsiteX118" fmla="*/ 25758 w 880627"/>
                <a:gd name="connsiteY118" fmla="*/ 646211 h 762626"/>
                <a:gd name="connsiteX119" fmla="*/ 60884 w 880627"/>
                <a:gd name="connsiteY119" fmla="*/ 681339 h 762626"/>
                <a:gd name="connsiteX120" fmla="*/ 152236 w 880627"/>
                <a:gd name="connsiteY120" fmla="*/ 681339 h 762626"/>
                <a:gd name="connsiteX121" fmla="*/ 152236 w 880627"/>
                <a:gd name="connsiteY121" fmla="*/ 558238 h 762626"/>
                <a:gd name="connsiteX122" fmla="*/ 25758 w 880627"/>
                <a:gd name="connsiteY122" fmla="*/ 558238 h 762626"/>
                <a:gd name="connsiteX123" fmla="*/ 178000 w 880627"/>
                <a:gd name="connsiteY123" fmla="*/ 558241 h 762626"/>
                <a:gd name="connsiteX124" fmla="*/ 178000 w 880627"/>
                <a:gd name="connsiteY124" fmla="*/ 681339 h 762626"/>
                <a:gd name="connsiteX125" fmla="*/ 304479 w 880627"/>
                <a:gd name="connsiteY125" fmla="*/ 681339 h 762626"/>
                <a:gd name="connsiteX126" fmla="*/ 304479 w 880627"/>
                <a:gd name="connsiteY126" fmla="*/ 558241 h 762626"/>
                <a:gd name="connsiteX127" fmla="*/ 178000 w 880627"/>
                <a:gd name="connsiteY127" fmla="*/ 558241 h 762626"/>
                <a:gd name="connsiteX128" fmla="*/ 330238 w 880627"/>
                <a:gd name="connsiteY128" fmla="*/ 558241 h 762626"/>
                <a:gd name="connsiteX129" fmla="*/ 330238 w 880627"/>
                <a:gd name="connsiteY129" fmla="*/ 681339 h 762626"/>
                <a:gd name="connsiteX130" fmla="*/ 494330 w 880627"/>
                <a:gd name="connsiteY130" fmla="*/ 681339 h 762626"/>
                <a:gd name="connsiteX131" fmla="*/ 447106 w 880627"/>
                <a:gd name="connsiteY131" fmla="*/ 558241 h 762626"/>
                <a:gd name="connsiteX132" fmla="*/ 330238 w 880627"/>
                <a:gd name="connsiteY132"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177997 w 880627"/>
                <a:gd name="connsiteY100" fmla="*/ 532480 h 762626"/>
                <a:gd name="connsiteX101" fmla="*/ 304475 w 880627"/>
                <a:gd name="connsiteY101" fmla="*/ 532480 h 762626"/>
                <a:gd name="connsiteX102" fmla="*/ 304475 w 880627"/>
                <a:gd name="connsiteY102" fmla="*/ 409382 h 762626"/>
                <a:gd name="connsiteX103" fmla="*/ 177997 w 880627"/>
                <a:gd name="connsiteY103" fmla="*/ 409382 h 762626"/>
                <a:gd name="connsiteX104" fmla="*/ 330235 w 880627"/>
                <a:gd name="connsiteY104" fmla="*/ 409382 h 762626"/>
                <a:gd name="connsiteX105" fmla="*/ 330235 w 880627"/>
                <a:gd name="connsiteY105" fmla="*/ 532483 h 762626"/>
                <a:gd name="connsiteX106" fmla="*/ 447158 w 880627"/>
                <a:gd name="connsiteY106" fmla="*/ 532483 h 762626"/>
                <a:gd name="connsiteX107" fmla="*/ 456715 w 880627"/>
                <a:gd name="connsiteY107" fmla="*/ 480623 h 762626"/>
                <a:gd name="connsiteX108" fmla="*/ 456715 w 880627"/>
                <a:gd name="connsiteY108" fmla="*/ 409382 h 762626"/>
                <a:gd name="connsiteX109" fmla="*/ 330235 w 880627"/>
                <a:gd name="connsiteY109" fmla="*/ 409382 h 762626"/>
                <a:gd name="connsiteX110" fmla="*/ 482477 w 880627"/>
                <a:gd name="connsiteY110" fmla="*/ 409382 h 762626"/>
                <a:gd name="connsiteX111" fmla="*/ 482477 w 880627"/>
                <a:gd name="connsiteY111" fmla="*/ 426554 h 762626"/>
                <a:gd name="connsiteX112" fmla="*/ 495050 w 880627"/>
                <a:gd name="connsiteY112" fmla="*/ 409382 h 762626"/>
                <a:gd name="connsiteX113" fmla="*/ 482477 w 880627"/>
                <a:gd name="connsiteY113" fmla="*/ 409382 h 762626"/>
                <a:gd name="connsiteX114" fmla="*/ 25758 w 880627"/>
                <a:gd name="connsiteY114" fmla="*/ 558238 h 762626"/>
                <a:gd name="connsiteX115" fmla="*/ 25758 w 880627"/>
                <a:gd name="connsiteY115" fmla="*/ 646211 h 762626"/>
                <a:gd name="connsiteX116" fmla="*/ 60884 w 880627"/>
                <a:gd name="connsiteY116" fmla="*/ 681339 h 762626"/>
                <a:gd name="connsiteX117" fmla="*/ 152236 w 880627"/>
                <a:gd name="connsiteY117" fmla="*/ 681339 h 762626"/>
                <a:gd name="connsiteX118" fmla="*/ 152236 w 880627"/>
                <a:gd name="connsiteY118" fmla="*/ 558238 h 762626"/>
                <a:gd name="connsiteX119" fmla="*/ 25758 w 880627"/>
                <a:gd name="connsiteY119" fmla="*/ 558238 h 762626"/>
                <a:gd name="connsiteX120" fmla="*/ 178000 w 880627"/>
                <a:gd name="connsiteY120" fmla="*/ 558241 h 762626"/>
                <a:gd name="connsiteX121" fmla="*/ 178000 w 880627"/>
                <a:gd name="connsiteY121" fmla="*/ 681339 h 762626"/>
                <a:gd name="connsiteX122" fmla="*/ 304479 w 880627"/>
                <a:gd name="connsiteY122" fmla="*/ 681339 h 762626"/>
                <a:gd name="connsiteX123" fmla="*/ 304479 w 880627"/>
                <a:gd name="connsiteY123" fmla="*/ 558241 h 762626"/>
                <a:gd name="connsiteX124" fmla="*/ 178000 w 880627"/>
                <a:gd name="connsiteY124" fmla="*/ 558241 h 762626"/>
                <a:gd name="connsiteX125" fmla="*/ 330238 w 880627"/>
                <a:gd name="connsiteY125" fmla="*/ 558241 h 762626"/>
                <a:gd name="connsiteX126" fmla="*/ 330238 w 880627"/>
                <a:gd name="connsiteY126" fmla="*/ 681339 h 762626"/>
                <a:gd name="connsiteX127" fmla="*/ 494330 w 880627"/>
                <a:gd name="connsiteY127" fmla="*/ 681339 h 762626"/>
                <a:gd name="connsiteX128" fmla="*/ 447106 w 880627"/>
                <a:gd name="connsiteY128" fmla="*/ 558241 h 762626"/>
                <a:gd name="connsiteX129" fmla="*/ 330238 w 880627"/>
                <a:gd name="connsiteY129"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177997 w 880627"/>
                <a:gd name="connsiteY100" fmla="*/ 532480 h 762626"/>
                <a:gd name="connsiteX101" fmla="*/ 304475 w 880627"/>
                <a:gd name="connsiteY101" fmla="*/ 532480 h 762626"/>
                <a:gd name="connsiteX102" fmla="*/ 304475 w 880627"/>
                <a:gd name="connsiteY102" fmla="*/ 409382 h 762626"/>
                <a:gd name="connsiteX103" fmla="*/ 177997 w 880627"/>
                <a:gd name="connsiteY103" fmla="*/ 409382 h 762626"/>
                <a:gd name="connsiteX104" fmla="*/ 330235 w 880627"/>
                <a:gd name="connsiteY104" fmla="*/ 409382 h 762626"/>
                <a:gd name="connsiteX105" fmla="*/ 330235 w 880627"/>
                <a:gd name="connsiteY105" fmla="*/ 532483 h 762626"/>
                <a:gd name="connsiteX106" fmla="*/ 447158 w 880627"/>
                <a:gd name="connsiteY106" fmla="*/ 532483 h 762626"/>
                <a:gd name="connsiteX107" fmla="*/ 456715 w 880627"/>
                <a:gd name="connsiteY107" fmla="*/ 480623 h 762626"/>
                <a:gd name="connsiteX108" fmla="*/ 456715 w 880627"/>
                <a:gd name="connsiteY108" fmla="*/ 409382 h 762626"/>
                <a:gd name="connsiteX109" fmla="*/ 330235 w 880627"/>
                <a:gd name="connsiteY109" fmla="*/ 409382 h 762626"/>
                <a:gd name="connsiteX110" fmla="*/ 482477 w 880627"/>
                <a:gd name="connsiteY110" fmla="*/ 409382 h 762626"/>
                <a:gd name="connsiteX111" fmla="*/ 482477 w 880627"/>
                <a:gd name="connsiteY111" fmla="*/ 426554 h 762626"/>
                <a:gd name="connsiteX112" fmla="*/ 495050 w 880627"/>
                <a:gd name="connsiteY112" fmla="*/ 409382 h 762626"/>
                <a:gd name="connsiteX113" fmla="*/ 482477 w 880627"/>
                <a:gd name="connsiteY113" fmla="*/ 409382 h 762626"/>
                <a:gd name="connsiteX114" fmla="*/ 152236 w 880627"/>
                <a:gd name="connsiteY114" fmla="*/ 558238 h 762626"/>
                <a:gd name="connsiteX115" fmla="*/ 25758 w 880627"/>
                <a:gd name="connsiteY115" fmla="*/ 646211 h 762626"/>
                <a:gd name="connsiteX116" fmla="*/ 60884 w 880627"/>
                <a:gd name="connsiteY116" fmla="*/ 681339 h 762626"/>
                <a:gd name="connsiteX117" fmla="*/ 152236 w 880627"/>
                <a:gd name="connsiteY117" fmla="*/ 681339 h 762626"/>
                <a:gd name="connsiteX118" fmla="*/ 152236 w 880627"/>
                <a:gd name="connsiteY118" fmla="*/ 558238 h 762626"/>
                <a:gd name="connsiteX119" fmla="*/ 178000 w 880627"/>
                <a:gd name="connsiteY119" fmla="*/ 558241 h 762626"/>
                <a:gd name="connsiteX120" fmla="*/ 178000 w 880627"/>
                <a:gd name="connsiteY120" fmla="*/ 681339 h 762626"/>
                <a:gd name="connsiteX121" fmla="*/ 304479 w 880627"/>
                <a:gd name="connsiteY121" fmla="*/ 681339 h 762626"/>
                <a:gd name="connsiteX122" fmla="*/ 304479 w 880627"/>
                <a:gd name="connsiteY122" fmla="*/ 558241 h 762626"/>
                <a:gd name="connsiteX123" fmla="*/ 178000 w 880627"/>
                <a:gd name="connsiteY123" fmla="*/ 558241 h 762626"/>
                <a:gd name="connsiteX124" fmla="*/ 330238 w 880627"/>
                <a:gd name="connsiteY124" fmla="*/ 558241 h 762626"/>
                <a:gd name="connsiteX125" fmla="*/ 330238 w 880627"/>
                <a:gd name="connsiteY125" fmla="*/ 681339 h 762626"/>
                <a:gd name="connsiteX126" fmla="*/ 494330 w 880627"/>
                <a:gd name="connsiteY126" fmla="*/ 681339 h 762626"/>
                <a:gd name="connsiteX127" fmla="*/ 447106 w 880627"/>
                <a:gd name="connsiteY127" fmla="*/ 558241 h 762626"/>
                <a:gd name="connsiteX128" fmla="*/ 330238 w 880627"/>
                <a:gd name="connsiteY128"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177997 w 880627"/>
                <a:gd name="connsiteY100" fmla="*/ 532480 h 762626"/>
                <a:gd name="connsiteX101" fmla="*/ 304475 w 880627"/>
                <a:gd name="connsiteY101" fmla="*/ 532480 h 762626"/>
                <a:gd name="connsiteX102" fmla="*/ 304475 w 880627"/>
                <a:gd name="connsiteY102" fmla="*/ 409382 h 762626"/>
                <a:gd name="connsiteX103" fmla="*/ 177997 w 880627"/>
                <a:gd name="connsiteY103" fmla="*/ 409382 h 762626"/>
                <a:gd name="connsiteX104" fmla="*/ 330235 w 880627"/>
                <a:gd name="connsiteY104" fmla="*/ 409382 h 762626"/>
                <a:gd name="connsiteX105" fmla="*/ 330235 w 880627"/>
                <a:gd name="connsiteY105" fmla="*/ 532483 h 762626"/>
                <a:gd name="connsiteX106" fmla="*/ 447158 w 880627"/>
                <a:gd name="connsiteY106" fmla="*/ 532483 h 762626"/>
                <a:gd name="connsiteX107" fmla="*/ 456715 w 880627"/>
                <a:gd name="connsiteY107" fmla="*/ 480623 h 762626"/>
                <a:gd name="connsiteX108" fmla="*/ 456715 w 880627"/>
                <a:gd name="connsiteY108" fmla="*/ 409382 h 762626"/>
                <a:gd name="connsiteX109" fmla="*/ 330235 w 880627"/>
                <a:gd name="connsiteY109" fmla="*/ 409382 h 762626"/>
                <a:gd name="connsiteX110" fmla="*/ 482477 w 880627"/>
                <a:gd name="connsiteY110" fmla="*/ 409382 h 762626"/>
                <a:gd name="connsiteX111" fmla="*/ 482477 w 880627"/>
                <a:gd name="connsiteY111" fmla="*/ 426554 h 762626"/>
                <a:gd name="connsiteX112" fmla="*/ 495050 w 880627"/>
                <a:gd name="connsiteY112" fmla="*/ 409382 h 762626"/>
                <a:gd name="connsiteX113" fmla="*/ 482477 w 880627"/>
                <a:gd name="connsiteY113" fmla="*/ 409382 h 762626"/>
                <a:gd name="connsiteX114" fmla="*/ 152236 w 880627"/>
                <a:gd name="connsiteY114" fmla="*/ 681339 h 762626"/>
                <a:gd name="connsiteX115" fmla="*/ 25758 w 880627"/>
                <a:gd name="connsiteY115" fmla="*/ 646211 h 762626"/>
                <a:gd name="connsiteX116" fmla="*/ 60884 w 880627"/>
                <a:gd name="connsiteY116" fmla="*/ 681339 h 762626"/>
                <a:gd name="connsiteX117" fmla="*/ 152236 w 880627"/>
                <a:gd name="connsiteY117" fmla="*/ 681339 h 762626"/>
                <a:gd name="connsiteX118" fmla="*/ 178000 w 880627"/>
                <a:gd name="connsiteY118" fmla="*/ 558241 h 762626"/>
                <a:gd name="connsiteX119" fmla="*/ 178000 w 880627"/>
                <a:gd name="connsiteY119" fmla="*/ 681339 h 762626"/>
                <a:gd name="connsiteX120" fmla="*/ 304479 w 880627"/>
                <a:gd name="connsiteY120" fmla="*/ 681339 h 762626"/>
                <a:gd name="connsiteX121" fmla="*/ 304479 w 880627"/>
                <a:gd name="connsiteY121" fmla="*/ 558241 h 762626"/>
                <a:gd name="connsiteX122" fmla="*/ 178000 w 880627"/>
                <a:gd name="connsiteY122" fmla="*/ 558241 h 762626"/>
                <a:gd name="connsiteX123" fmla="*/ 330238 w 880627"/>
                <a:gd name="connsiteY123" fmla="*/ 558241 h 762626"/>
                <a:gd name="connsiteX124" fmla="*/ 330238 w 880627"/>
                <a:gd name="connsiteY124" fmla="*/ 681339 h 762626"/>
                <a:gd name="connsiteX125" fmla="*/ 494330 w 880627"/>
                <a:gd name="connsiteY125" fmla="*/ 681339 h 762626"/>
                <a:gd name="connsiteX126" fmla="*/ 447106 w 880627"/>
                <a:gd name="connsiteY126" fmla="*/ 558241 h 762626"/>
                <a:gd name="connsiteX127" fmla="*/ 330238 w 880627"/>
                <a:gd name="connsiteY127"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177997 w 880627"/>
                <a:gd name="connsiteY100" fmla="*/ 532480 h 762626"/>
                <a:gd name="connsiteX101" fmla="*/ 304475 w 880627"/>
                <a:gd name="connsiteY101" fmla="*/ 532480 h 762626"/>
                <a:gd name="connsiteX102" fmla="*/ 304475 w 880627"/>
                <a:gd name="connsiteY102" fmla="*/ 409382 h 762626"/>
                <a:gd name="connsiteX103" fmla="*/ 177997 w 880627"/>
                <a:gd name="connsiteY103" fmla="*/ 409382 h 762626"/>
                <a:gd name="connsiteX104" fmla="*/ 330235 w 880627"/>
                <a:gd name="connsiteY104" fmla="*/ 409382 h 762626"/>
                <a:gd name="connsiteX105" fmla="*/ 330235 w 880627"/>
                <a:gd name="connsiteY105" fmla="*/ 532483 h 762626"/>
                <a:gd name="connsiteX106" fmla="*/ 447158 w 880627"/>
                <a:gd name="connsiteY106" fmla="*/ 532483 h 762626"/>
                <a:gd name="connsiteX107" fmla="*/ 456715 w 880627"/>
                <a:gd name="connsiteY107" fmla="*/ 480623 h 762626"/>
                <a:gd name="connsiteX108" fmla="*/ 456715 w 880627"/>
                <a:gd name="connsiteY108" fmla="*/ 409382 h 762626"/>
                <a:gd name="connsiteX109" fmla="*/ 330235 w 880627"/>
                <a:gd name="connsiteY109" fmla="*/ 409382 h 762626"/>
                <a:gd name="connsiteX110" fmla="*/ 482477 w 880627"/>
                <a:gd name="connsiteY110" fmla="*/ 409382 h 762626"/>
                <a:gd name="connsiteX111" fmla="*/ 482477 w 880627"/>
                <a:gd name="connsiteY111" fmla="*/ 426554 h 762626"/>
                <a:gd name="connsiteX112" fmla="*/ 495050 w 880627"/>
                <a:gd name="connsiteY112" fmla="*/ 409382 h 762626"/>
                <a:gd name="connsiteX113" fmla="*/ 482477 w 880627"/>
                <a:gd name="connsiteY113" fmla="*/ 409382 h 762626"/>
                <a:gd name="connsiteX114" fmla="*/ 60884 w 880627"/>
                <a:gd name="connsiteY114" fmla="*/ 681339 h 762626"/>
                <a:gd name="connsiteX115" fmla="*/ 25758 w 880627"/>
                <a:gd name="connsiteY115" fmla="*/ 646211 h 762626"/>
                <a:gd name="connsiteX116" fmla="*/ 60884 w 880627"/>
                <a:gd name="connsiteY116" fmla="*/ 681339 h 762626"/>
                <a:gd name="connsiteX117" fmla="*/ 178000 w 880627"/>
                <a:gd name="connsiteY117" fmla="*/ 558241 h 762626"/>
                <a:gd name="connsiteX118" fmla="*/ 178000 w 880627"/>
                <a:gd name="connsiteY118" fmla="*/ 681339 h 762626"/>
                <a:gd name="connsiteX119" fmla="*/ 304479 w 880627"/>
                <a:gd name="connsiteY119" fmla="*/ 681339 h 762626"/>
                <a:gd name="connsiteX120" fmla="*/ 304479 w 880627"/>
                <a:gd name="connsiteY120" fmla="*/ 558241 h 762626"/>
                <a:gd name="connsiteX121" fmla="*/ 178000 w 880627"/>
                <a:gd name="connsiteY121" fmla="*/ 558241 h 762626"/>
                <a:gd name="connsiteX122" fmla="*/ 330238 w 880627"/>
                <a:gd name="connsiteY122" fmla="*/ 558241 h 762626"/>
                <a:gd name="connsiteX123" fmla="*/ 330238 w 880627"/>
                <a:gd name="connsiteY123" fmla="*/ 681339 h 762626"/>
                <a:gd name="connsiteX124" fmla="*/ 494330 w 880627"/>
                <a:gd name="connsiteY124" fmla="*/ 681339 h 762626"/>
                <a:gd name="connsiteX125" fmla="*/ 447106 w 880627"/>
                <a:gd name="connsiteY125" fmla="*/ 558241 h 762626"/>
                <a:gd name="connsiteX126" fmla="*/ 330238 w 880627"/>
                <a:gd name="connsiteY126"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177997 w 880627"/>
                <a:gd name="connsiteY100" fmla="*/ 532480 h 762626"/>
                <a:gd name="connsiteX101" fmla="*/ 304475 w 880627"/>
                <a:gd name="connsiteY101" fmla="*/ 532480 h 762626"/>
                <a:gd name="connsiteX102" fmla="*/ 304475 w 880627"/>
                <a:gd name="connsiteY102" fmla="*/ 409382 h 762626"/>
                <a:gd name="connsiteX103" fmla="*/ 177997 w 880627"/>
                <a:gd name="connsiteY103" fmla="*/ 409382 h 762626"/>
                <a:gd name="connsiteX104" fmla="*/ 330235 w 880627"/>
                <a:gd name="connsiteY104" fmla="*/ 409382 h 762626"/>
                <a:gd name="connsiteX105" fmla="*/ 330235 w 880627"/>
                <a:gd name="connsiteY105" fmla="*/ 532483 h 762626"/>
                <a:gd name="connsiteX106" fmla="*/ 447158 w 880627"/>
                <a:gd name="connsiteY106" fmla="*/ 532483 h 762626"/>
                <a:gd name="connsiteX107" fmla="*/ 456715 w 880627"/>
                <a:gd name="connsiteY107" fmla="*/ 480623 h 762626"/>
                <a:gd name="connsiteX108" fmla="*/ 456715 w 880627"/>
                <a:gd name="connsiteY108" fmla="*/ 409382 h 762626"/>
                <a:gd name="connsiteX109" fmla="*/ 330235 w 880627"/>
                <a:gd name="connsiteY109" fmla="*/ 409382 h 762626"/>
                <a:gd name="connsiteX110" fmla="*/ 482477 w 880627"/>
                <a:gd name="connsiteY110" fmla="*/ 409382 h 762626"/>
                <a:gd name="connsiteX111" fmla="*/ 482477 w 880627"/>
                <a:gd name="connsiteY111" fmla="*/ 426554 h 762626"/>
                <a:gd name="connsiteX112" fmla="*/ 495050 w 880627"/>
                <a:gd name="connsiteY112" fmla="*/ 409382 h 762626"/>
                <a:gd name="connsiteX113" fmla="*/ 482477 w 880627"/>
                <a:gd name="connsiteY113" fmla="*/ 409382 h 762626"/>
                <a:gd name="connsiteX114" fmla="*/ 178000 w 880627"/>
                <a:gd name="connsiteY114" fmla="*/ 558241 h 762626"/>
                <a:gd name="connsiteX115" fmla="*/ 178000 w 880627"/>
                <a:gd name="connsiteY115" fmla="*/ 681339 h 762626"/>
                <a:gd name="connsiteX116" fmla="*/ 304479 w 880627"/>
                <a:gd name="connsiteY116" fmla="*/ 681339 h 762626"/>
                <a:gd name="connsiteX117" fmla="*/ 304479 w 880627"/>
                <a:gd name="connsiteY117" fmla="*/ 558241 h 762626"/>
                <a:gd name="connsiteX118" fmla="*/ 178000 w 880627"/>
                <a:gd name="connsiteY118" fmla="*/ 558241 h 762626"/>
                <a:gd name="connsiteX119" fmla="*/ 330238 w 880627"/>
                <a:gd name="connsiteY119" fmla="*/ 558241 h 762626"/>
                <a:gd name="connsiteX120" fmla="*/ 330238 w 880627"/>
                <a:gd name="connsiteY120" fmla="*/ 681339 h 762626"/>
                <a:gd name="connsiteX121" fmla="*/ 494330 w 880627"/>
                <a:gd name="connsiteY121" fmla="*/ 681339 h 762626"/>
                <a:gd name="connsiteX122" fmla="*/ 447106 w 880627"/>
                <a:gd name="connsiteY122" fmla="*/ 558241 h 762626"/>
                <a:gd name="connsiteX123" fmla="*/ 330238 w 880627"/>
                <a:gd name="connsiteY123"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177997 w 880627"/>
                <a:gd name="connsiteY100" fmla="*/ 532480 h 762626"/>
                <a:gd name="connsiteX101" fmla="*/ 304475 w 880627"/>
                <a:gd name="connsiteY101" fmla="*/ 532480 h 762626"/>
                <a:gd name="connsiteX102" fmla="*/ 304475 w 880627"/>
                <a:gd name="connsiteY102" fmla="*/ 409382 h 762626"/>
                <a:gd name="connsiteX103" fmla="*/ 177997 w 880627"/>
                <a:gd name="connsiteY103" fmla="*/ 409382 h 762626"/>
                <a:gd name="connsiteX104" fmla="*/ 330235 w 880627"/>
                <a:gd name="connsiteY104" fmla="*/ 409382 h 762626"/>
                <a:gd name="connsiteX105" fmla="*/ 330235 w 880627"/>
                <a:gd name="connsiteY105" fmla="*/ 532483 h 762626"/>
                <a:gd name="connsiteX106" fmla="*/ 447158 w 880627"/>
                <a:gd name="connsiteY106" fmla="*/ 532483 h 762626"/>
                <a:gd name="connsiteX107" fmla="*/ 456715 w 880627"/>
                <a:gd name="connsiteY107" fmla="*/ 480623 h 762626"/>
                <a:gd name="connsiteX108" fmla="*/ 456715 w 880627"/>
                <a:gd name="connsiteY108" fmla="*/ 409382 h 762626"/>
                <a:gd name="connsiteX109" fmla="*/ 330235 w 880627"/>
                <a:gd name="connsiteY109" fmla="*/ 409382 h 762626"/>
                <a:gd name="connsiteX110" fmla="*/ 482477 w 880627"/>
                <a:gd name="connsiteY110" fmla="*/ 409382 h 762626"/>
                <a:gd name="connsiteX111" fmla="*/ 482477 w 880627"/>
                <a:gd name="connsiteY111" fmla="*/ 426554 h 762626"/>
                <a:gd name="connsiteX112" fmla="*/ 495050 w 880627"/>
                <a:gd name="connsiteY112" fmla="*/ 409382 h 762626"/>
                <a:gd name="connsiteX113" fmla="*/ 482477 w 880627"/>
                <a:gd name="connsiteY113" fmla="*/ 409382 h 762626"/>
                <a:gd name="connsiteX114" fmla="*/ 178000 w 880627"/>
                <a:gd name="connsiteY114" fmla="*/ 558241 h 762626"/>
                <a:gd name="connsiteX115" fmla="*/ 178000 w 880627"/>
                <a:gd name="connsiteY115" fmla="*/ 681339 h 762626"/>
                <a:gd name="connsiteX116" fmla="*/ 181444 w 880627"/>
                <a:gd name="connsiteY116" fmla="*/ 681087 h 762626"/>
                <a:gd name="connsiteX117" fmla="*/ 304479 w 880627"/>
                <a:gd name="connsiteY117" fmla="*/ 681339 h 762626"/>
                <a:gd name="connsiteX118" fmla="*/ 304479 w 880627"/>
                <a:gd name="connsiteY118" fmla="*/ 558241 h 762626"/>
                <a:gd name="connsiteX119" fmla="*/ 178000 w 880627"/>
                <a:gd name="connsiteY119" fmla="*/ 558241 h 762626"/>
                <a:gd name="connsiteX120" fmla="*/ 330238 w 880627"/>
                <a:gd name="connsiteY120" fmla="*/ 558241 h 762626"/>
                <a:gd name="connsiteX121" fmla="*/ 330238 w 880627"/>
                <a:gd name="connsiteY121" fmla="*/ 681339 h 762626"/>
                <a:gd name="connsiteX122" fmla="*/ 494330 w 880627"/>
                <a:gd name="connsiteY122" fmla="*/ 681339 h 762626"/>
                <a:gd name="connsiteX123" fmla="*/ 447106 w 880627"/>
                <a:gd name="connsiteY123" fmla="*/ 558241 h 762626"/>
                <a:gd name="connsiteX124" fmla="*/ 330238 w 880627"/>
                <a:gd name="connsiteY124"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177997 w 880627"/>
                <a:gd name="connsiteY100" fmla="*/ 532480 h 762626"/>
                <a:gd name="connsiteX101" fmla="*/ 304475 w 880627"/>
                <a:gd name="connsiteY101" fmla="*/ 532480 h 762626"/>
                <a:gd name="connsiteX102" fmla="*/ 304475 w 880627"/>
                <a:gd name="connsiteY102" fmla="*/ 409382 h 762626"/>
                <a:gd name="connsiteX103" fmla="*/ 177997 w 880627"/>
                <a:gd name="connsiteY103" fmla="*/ 409382 h 762626"/>
                <a:gd name="connsiteX104" fmla="*/ 330235 w 880627"/>
                <a:gd name="connsiteY104" fmla="*/ 409382 h 762626"/>
                <a:gd name="connsiteX105" fmla="*/ 330235 w 880627"/>
                <a:gd name="connsiteY105" fmla="*/ 532483 h 762626"/>
                <a:gd name="connsiteX106" fmla="*/ 447158 w 880627"/>
                <a:gd name="connsiteY106" fmla="*/ 532483 h 762626"/>
                <a:gd name="connsiteX107" fmla="*/ 456715 w 880627"/>
                <a:gd name="connsiteY107" fmla="*/ 480623 h 762626"/>
                <a:gd name="connsiteX108" fmla="*/ 456715 w 880627"/>
                <a:gd name="connsiteY108" fmla="*/ 409382 h 762626"/>
                <a:gd name="connsiteX109" fmla="*/ 330235 w 880627"/>
                <a:gd name="connsiteY109" fmla="*/ 409382 h 762626"/>
                <a:gd name="connsiteX110" fmla="*/ 482477 w 880627"/>
                <a:gd name="connsiteY110" fmla="*/ 409382 h 762626"/>
                <a:gd name="connsiteX111" fmla="*/ 482477 w 880627"/>
                <a:gd name="connsiteY111" fmla="*/ 426554 h 762626"/>
                <a:gd name="connsiteX112" fmla="*/ 495050 w 880627"/>
                <a:gd name="connsiteY112" fmla="*/ 409382 h 762626"/>
                <a:gd name="connsiteX113" fmla="*/ 482477 w 880627"/>
                <a:gd name="connsiteY113" fmla="*/ 409382 h 762626"/>
                <a:gd name="connsiteX114" fmla="*/ 178000 w 880627"/>
                <a:gd name="connsiteY114" fmla="*/ 558241 h 762626"/>
                <a:gd name="connsiteX115" fmla="*/ 178000 w 880627"/>
                <a:gd name="connsiteY115" fmla="*/ 681339 h 762626"/>
                <a:gd name="connsiteX116" fmla="*/ 181444 w 880627"/>
                <a:gd name="connsiteY116" fmla="*/ 681087 h 762626"/>
                <a:gd name="connsiteX117" fmla="*/ 304479 w 880627"/>
                <a:gd name="connsiteY117" fmla="*/ 681339 h 762626"/>
                <a:gd name="connsiteX118" fmla="*/ 178000 w 880627"/>
                <a:gd name="connsiteY118" fmla="*/ 558241 h 762626"/>
                <a:gd name="connsiteX119" fmla="*/ 330238 w 880627"/>
                <a:gd name="connsiteY119" fmla="*/ 558241 h 762626"/>
                <a:gd name="connsiteX120" fmla="*/ 330238 w 880627"/>
                <a:gd name="connsiteY120" fmla="*/ 681339 h 762626"/>
                <a:gd name="connsiteX121" fmla="*/ 494330 w 880627"/>
                <a:gd name="connsiteY121" fmla="*/ 681339 h 762626"/>
                <a:gd name="connsiteX122" fmla="*/ 447106 w 880627"/>
                <a:gd name="connsiteY122" fmla="*/ 558241 h 762626"/>
                <a:gd name="connsiteX123" fmla="*/ 330238 w 880627"/>
                <a:gd name="connsiteY123"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177997 w 880627"/>
                <a:gd name="connsiteY100" fmla="*/ 532480 h 762626"/>
                <a:gd name="connsiteX101" fmla="*/ 304475 w 880627"/>
                <a:gd name="connsiteY101" fmla="*/ 532480 h 762626"/>
                <a:gd name="connsiteX102" fmla="*/ 304475 w 880627"/>
                <a:gd name="connsiteY102" fmla="*/ 409382 h 762626"/>
                <a:gd name="connsiteX103" fmla="*/ 177997 w 880627"/>
                <a:gd name="connsiteY103" fmla="*/ 409382 h 762626"/>
                <a:gd name="connsiteX104" fmla="*/ 330235 w 880627"/>
                <a:gd name="connsiteY104" fmla="*/ 409382 h 762626"/>
                <a:gd name="connsiteX105" fmla="*/ 330235 w 880627"/>
                <a:gd name="connsiteY105" fmla="*/ 532483 h 762626"/>
                <a:gd name="connsiteX106" fmla="*/ 447158 w 880627"/>
                <a:gd name="connsiteY106" fmla="*/ 532483 h 762626"/>
                <a:gd name="connsiteX107" fmla="*/ 456715 w 880627"/>
                <a:gd name="connsiteY107" fmla="*/ 480623 h 762626"/>
                <a:gd name="connsiteX108" fmla="*/ 456715 w 880627"/>
                <a:gd name="connsiteY108" fmla="*/ 409382 h 762626"/>
                <a:gd name="connsiteX109" fmla="*/ 330235 w 880627"/>
                <a:gd name="connsiteY109" fmla="*/ 409382 h 762626"/>
                <a:gd name="connsiteX110" fmla="*/ 482477 w 880627"/>
                <a:gd name="connsiteY110" fmla="*/ 409382 h 762626"/>
                <a:gd name="connsiteX111" fmla="*/ 482477 w 880627"/>
                <a:gd name="connsiteY111" fmla="*/ 426554 h 762626"/>
                <a:gd name="connsiteX112" fmla="*/ 495050 w 880627"/>
                <a:gd name="connsiteY112" fmla="*/ 409382 h 762626"/>
                <a:gd name="connsiteX113" fmla="*/ 482477 w 880627"/>
                <a:gd name="connsiteY113" fmla="*/ 409382 h 762626"/>
                <a:gd name="connsiteX114" fmla="*/ 178000 w 880627"/>
                <a:gd name="connsiteY114" fmla="*/ 558241 h 762626"/>
                <a:gd name="connsiteX115" fmla="*/ 178000 w 880627"/>
                <a:gd name="connsiteY115" fmla="*/ 681339 h 762626"/>
                <a:gd name="connsiteX116" fmla="*/ 181444 w 880627"/>
                <a:gd name="connsiteY116" fmla="*/ 681087 h 762626"/>
                <a:gd name="connsiteX117" fmla="*/ 178000 w 880627"/>
                <a:gd name="connsiteY117" fmla="*/ 558241 h 762626"/>
                <a:gd name="connsiteX118" fmla="*/ 330238 w 880627"/>
                <a:gd name="connsiteY118" fmla="*/ 558241 h 762626"/>
                <a:gd name="connsiteX119" fmla="*/ 330238 w 880627"/>
                <a:gd name="connsiteY119" fmla="*/ 681339 h 762626"/>
                <a:gd name="connsiteX120" fmla="*/ 494330 w 880627"/>
                <a:gd name="connsiteY120" fmla="*/ 681339 h 762626"/>
                <a:gd name="connsiteX121" fmla="*/ 447106 w 880627"/>
                <a:gd name="connsiteY121" fmla="*/ 558241 h 762626"/>
                <a:gd name="connsiteX122" fmla="*/ 330238 w 880627"/>
                <a:gd name="connsiteY122"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177997 w 880627"/>
                <a:gd name="connsiteY100" fmla="*/ 532480 h 762626"/>
                <a:gd name="connsiteX101" fmla="*/ 304475 w 880627"/>
                <a:gd name="connsiteY101" fmla="*/ 532480 h 762626"/>
                <a:gd name="connsiteX102" fmla="*/ 304475 w 880627"/>
                <a:gd name="connsiteY102" fmla="*/ 409382 h 762626"/>
                <a:gd name="connsiteX103" fmla="*/ 177997 w 880627"/>
                <a:gd name="connsiteY103" fmla="*/ 409382 h 762626"/>
                <a:gd name="connsiteX104" fmla="*/ 330235 w 880627"/>
                <a:gd name="connsiteY104" fmla="*/ 409382 h 762626"/>
                <a:gd name="connsiteX105" fmla="*/ 330235 w 880627"/>
                <a:gd name="connsiteY105" fmla="*/ 532483 h 762626"/>
                <a:gd name="connsiteX106" fmla="*/ 447158 w 880627"/>
                <a:gd name="connsiteY106" fmla="*/ 532483 h 762626"/>
                <a:gd name="connsiteX107" fmla="*/ 456715 w 880627"/>
                <a:gd name="connsiteY107" fmla="*/ 480623 h 762626"/>
                <a:gd name="connsiteX108" fmla="*/ 456715 w 880627"/>
                <a:gd name="connsiteY108" fmla="*/ 409382 h 762626"/>
                <a:gd name="connsiteX109" fmla="*/ 330235 w 880627"/>
                <a:gd name="connsiteY109" fmla="*/ 409382 h 762626"/>
                <a:gd name="connsiteX110" fmla="*/ 482477 w 880627"/>
                <a:gd name="connsiteY110" fmla="*/ 409382 h 762626"/>
                <a:gd name="connsiteX111" fmla="*/ 482477 w 880627"/>
                <a:gd name="connsiteY111" fmla="*/ 426554 h 762626"/>
                <a:gd name="connsiteX112" fmla="*/ 495050 w 880627"/>
                <a:gd name="connsiteY112" fmla="*/ 409382 h 762626"/>
                <a:gd name="connsiteX113" fmla="*/ 482477 w 880627"/>
                <a:gd name="connsiteY113" fmla="*/ 409382 h 762626"/>
                <a:gd name="connsiteX114" fmla="*/ 178000 w 880627"/>
                <a:gd name="connsiteY114" fmla="*/ 558241 h 762626"/>
                <a:gd name="connsiteX115" fmla="*/ 178000 w 880627"/>
                <a:gd name="connsiteY115" fmla="*/ 681339 h 762626"/>
                <a:gd name="connsiteX116" fmla="*/ 178000 w 880627"/>
                <a:gd name="connsiteY116" fmla="*/ 558241 h 762626"/>
                <a:gd name="connsiteX117" fmla="*/ 330238 w 880627"/>
                <a:gd name="connsiteY117" fmla="*/ 558241 h 762626"/>
                <a:gd name="connsiteX118" fmla="*/ 330238 w 880627"/>
                <a:gd name="connsiteY118" fmla="*/ 681339 h 762626"/>
                <a:gd name="connsiteX119" fmla="*/ 494330 w 880627"/>
                <a:gd name="connsiteY119" fmla="*/ 681339 h 762626"/>
                <a:gd name="connsiteX120" fmla="*/ 447106 w 880627"/>
                <a:gd name="connsiteY120" fmla="*/ 558241 h 762626"/>
                <a:gd name="connsiteX121" fmla="*/ 330238 w 880627"/>
                <a:gd name="connsiteY121"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177997 w 880627"/>
                <a:gd name="connsiteY100" fmla="*/ 532480 h 762626"/>
                <a:gd name="connsiteX101" fmla="*/ 304475 w 880627"/>
                <a:gd name="connsiteY101" fmla="*/ 532480 h 762626"/>
                <a:gd name="connsiteX102" fmla="*/ 304475 w 880627"/>
                <a:gd name="connsiteY102" fmla="*/ 409382 h 762626"/>
                <a:gd name="connsiteX103" fmla="*/ 177997 w 880627"/>
                <a:gd name="connsiteY103" fmla="*/ 409382 h 762626"/>
                <a:gd name="connsiteX104" fmla="*/ 330235 w 880627"/>
                <a:gd name="connsiteY104" fmla="*/ 409382 h 762626"/>
                <a:gd name="connsiteX105" fmla="*/ 330235 w 880627"/>
                <a:gd name="connsiteY105" fmla="*/ 532483 h 762626"/>
                <a:gd name="connsiteX106" fmla="*/ 447158 w 880627"/>
                <a:gd name="connsiteY106" fmla="*/ 532483 h 762626"/>
                <a:gd name="connsiteX107" fmla="*/ 456715 w 880627"/>
                <a:gd name="connsiteY107" fmla="*/ 480623 h 762626"/>
                <a:gd name="connsiteX108" fmla="*/ 456715 w 880627"/>
                <a:gd name="connsiteY108" fmla="*/ 409382 h 762626"/>
                <a:gd name="connsiteX109" fmla="*/ 330235 w 880627"/>
                <a:gd name="connsiteY109" fmla="*/ 409382 h 762626"/>
                <a:gd name="connsiteX110" fmla="*/ 482477 w 880627"/>
                <a:gd name="connsiteY110" fmla="*/ 409382 h 762626"/>
                <a:gd name="connsiteX111" fmla="*/ 482477 w 880627"/>
                <a:gd name="connsiteY111" fmla="*/ 426554 h 762626"/>
                <a:gd name="connsiteX112" fmla="*/ 495050 w 880627"/>
                <a:gd name="connsiteY112" fmla="*/ 409382 h 762626"/>
                <a:gd name="connsiteX113" fmla="*/ 482477 w 880627"/>
                <a:gd name="connsiteY113" fmla="*/ 409382 h 762626"/>
                <a:gd name="connsiteX114" fmla="*/ 330238 w 880627"/>
                <a:gd name="connsiteY114" fmla="*/ 558241 h 762626"/>
                <a:gd name="connsiteX115" fmla="*/ 330238 w 880627"/>
                <a:gd name="connsiteY115" fmla="*/ 681339 h 762626"/>
                <a:gd name="connsiteX116" fmla="*/ 494330 w 880627"/>
                <a:gd name="connsiteY116" fmla="*/ 681339 h 762626"/>
                <a:gd name="connsiteX117" fmla="*/ 447106 w 880627"/>
                <a:gd name="connsiteY117" fmla="*/ 558241 h 762626"/>
                <a:gd name="connsiteX118" fmla="*/ 330238 w 880627"/>
                <a:gd name="connsiteY118"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304475 w 880627"/>
                <a:gd name="connsiteY100" fmla="*/ 532480 h 762626"/>
                <a:gd name="connsiteX101" fmla="*/ 304475 w 880627"/>
                <a:gd name="connsiteY101" fmla="*/ 409382 h 762626"/>
                <a:gd name="connsiteX102" fmla="*/ 177997 w 880627"/>
                <a:gd name="connsiteY102" fmla="*/ 409382 h 762626"/>
                <a:gd name="connsiteX103" fmla="*/ 330235 w 880627"/>
                <a:gd name="connsiteY103" fmla="*/ 409382 h 762626"/>
                <a:gd name="connsiteX104" fmla="*/ 330235 w 880627"/>
                <a:gd name="connsiteY104" fmla="*/ 532483 h 762626"/>
                <a:gd name="connsiteX105" fmla="*/ 447158 w 880627"/>
                <a:gd name="connsiteY105" fmla="*/ 532483 h 762626"/>
                <a:gd name="connsiteX106" fmla="*/ 456715 w 880627"/>
                <a:gd name="connsiteY106" fmla="*/ 480623 h 762626"/>
                <a:gd name="connsiteX107" fmla="*/ 456715 w 880627"/>
                <a:gd name="connsiteY107" fmla="*/ 409382 h 762626"/>
                <a:gd name="connsiteX108" fmla="*/ 330235 w 880627"/>
                <a:gd name="connsiteY108" fmla="*/ 409382 h 762626"/>
                <a:gd name="connsiteX109" fmla="*/ 482477 w 880627"/>
                <a:gd name="connsiteY109" fmla="*/ 409382 h 762626"/>
                <a:gd name="connsiteX110" fmla="*/ 482477 w 880627"/>
                <a:gd name="connsiteY110" fmla="*/ 426554 h 762626"/>
                <a:gd name="connsiteX111" fmla="*/ 495050 w 880627"/>
                <a:gd name="connsiteY111" fmla="*/ 409382 h 762626"/>
                <a:gd name="connsiteX112" fmla="*/ 482477 w 880627"/>
                <a:gd name="connsiteY112" fmla="*/ 409382 h 762626"/>
                <a:gd name="connsiteX113" fmla="*/ 330238 w 880627"/>
                <a:gd name="connsiteY113" fmla="*/ 558241 h 762626"/>
                <a:gd name="connsiteX114" fmla="*/ 330238 w 880627"/>
                <a:gd name="connsiteY114" fmla="*/ 681339 h 762626"/>
                <a:gd name="connsiteX115" fmla="*/ 494330 w 880627"/>
                <a:gd name="connsiteY115" fmla="*/ 681339 h 762626"/>
                <a:gd name="connsiteX116" fmla="*/ 447106 w 880627"/>
                <a:gd name="connsiteY116" fmla="*/ 558241 h 762626"/>
                <a:gd name="connsiteX117" fmla="*/ 330238 w 880627"/>
                <a:gd name="connsiteY117"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177997 w 880627"/>
                <a:gd name="connsiteY99" fmla="*/ 409382 h 762626"/>
                <a:gd name="connsiteX100" fmla="*/ 304475 w 880627"/>
                <a:gd name="connsiteY100" fmla="*/ 409382 h 762626"/>
                <a:gd name="connsiteX101" fmla="*/ 177997 w 880627"/>
                <a:gd name="connsiteY101" fmla="*/ 409382 h 762626"/>
                <a:gd name="connsiteX102" fmla="*/ 330235 w 880627"/>
                <a:gd name="connsiteY102" fmla="*/ 409382 h 762626"/>
                <a:gd name="connsiteX103" fmla="*/ 330235 w 880627"/>
                <a:gd name="connsiteY103" fmla="*/ 532483 h 762626"/>
                <a:gd name="connsiteX104" fmla="*/ 447158 w 880627"/>
                <a:gd name="connsiteY104" fmla="*/ 532483 h 762626"/>
                <a:gd name="connsiteX105" fmla="*/ 456715 w 880627"/>
                <a:gd name="connsiteY105" fmla="*/ 480623 h 762626"/>
                <a:gd name="connsiteX106" fmla="*/ 456715 w 880627"/>
                <a:gd name="connsiteY106" fmla="*/ 409382 h 762626"/>
                <a:gd name="connsiteX107" fmla="*/ 330235 w 880627"/>
                <a:gd name="connsiteY107" fmla="*/ 409382 h 762626"/>
                <a:gd name="connsiteX108" fmla="*/ 482477 w 880627"/>
                <a:gd name="connsiteY108" fmla="*/ 409382 h 762626"/>
                <a:gd name="connsiteX109" fmla="*/ 482477 w 880627"/>
                <a:gd name="connsiteY109" fmla="*/ 426554 h 762626"/>
                <a:gd name="connsiteX110" fmla="*/ 495050 w 880627"/>
                <a:gd name="connsiteY110" fmla="*/ 409382 h 762626"/>
                <a:gd name="connsiteX111" fmla="*/ 482477 w 880627"/>
                <a:gd name="connsiteY111" fmla="*/ 409382 h 762626"/>
                <a:gd name="connsiteX112" fmla="*/ 330238 w 880627"/>
                <a:gd name="connsiteY112" fmla="*/ 558241 h 762626"/>
                <a:gd name="connsiteX113" fmla="*/ 330238 w 880627"/>
                <a:gd name="connsiteY113" fmla="*/ 681339 h 762626"/>
                <a:gd name="connsiteX114" fmla="*/ 494330 w 880627"/>
                <a:gd name="connsiteY114" fmla="*/ 681339 h 762626"/>
                <a:gd name="connsiteX115" fmla="*/ 447106 w 880627"/>
                <a:gd name="connsiteY115" fmla="*/ 558241 h 762626"/>
                <a:gd name="connsiteX116" fmla="*/ 330238 w 880627"/>
                <a:gd name="connsiteY116"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383622 h 762626"/>
                <a:gd name="connsiteX86" fmla="*/ 304479 w 880627"/>
                <a:gd name="connsiteY86" fmla="*/ 260522 h 762626"/>
                <a:gd name="connsiteX87" fmla="*/ 178000 w 880627"/>
                <a:gd name="connsiteY87" fmla="*/ 260522 h 762626"/>
                <a:gd name="connsiteX88" fmla="*/ 330238 w 880627"/>
                <a:gd name="connsiteY88" fmla="*/ 260522 h 762626"/>
                <a:gd name="connsiteX89" fmla="*/ 330238 w 880627"/>
                <a:gd name="connsiteY89" fmla="*/ 383622 h 762626"/>
                <a:gd name="connsiteX90" fmla="*/ 456717 w 880627"/>
                <a:gd name="connsiteY90" fmla="*/ 383622 h 762626"/>
                <a:gd name="connsiteX91" fmla="*/ 456717 w 880627"/>
                <a:gd name="connsiteY91" fmla="*/ 260522 h 762626"/>
                <a:gd name="connsiteX92" fmla="*/ 330238 w 880627"/>
                <a:gd name="connsiteY92" fmla="*/ 260522 h 762626"/>
                <a:gd name="connsiteX93" fmla="*/ 482477 w 880627"/>
                <a:gd name="connsiteY93" fmla="*/ 260522 h 762626"/>
                <a:gd name="connsiteX94" fmla="*/ 482477 w 880627"/>
                <a:gd name="connsiteY94" fmla="*/ 383622 h 762626"/>
                <a:gd name="connsiteX95" fmla="*/ 519639 w 880627"/>
                <a:gd name="connsiteY95" fmla="*/ 383622 h 762626"/>
                <a:gd name="connsiteX96" fmla="*/ 608956 w 880627"/>
                <a:gd name="connsiteY96" fmla="*/ 335743 h 762626"/>
                <a:gd name="connsiteX97" fmla="*/ 608956 w 880627"/>
                <a:gd name="connsiteY97" fmla="*/ 260522 h 762626"/>
                <a:gd name="connsiteX98" fmla="*/ 482477 w 880627"/>
                <a:gd name="connsiteY98" fmla="*/ 260522 h 762626"/>
                <a:gd name="connsiteX99" fmla="*/ 330235 w 880627"/>
                <a:gd name="connsiteY99" fmla="*/ 409382 h 762626"/>
                <a:gd name="connsiteX100" fmla="*/ 330235 w 880627"/>
                <a:gd name="connsiteY100" fmla="*/ 532483 h 762626"/>
                <a:gd name="connsiteX101" fmla="*/ 447158 w 880627"/>
                <a:gd name="connsiteY101" fmla="*/ 532483 h 762626"/>
                <a:gd name="connsiteX102" fmla="*/ 456715 w 880627"/>
                <a:gd name="connsiteY102" fmla="*/ 480623 h 762626"/>
                <a:gd name="connsiteX103" fmla="*/ 456715 w 880627"/>
                <a:gd name="connsiteY103" fmla="*/ 409382 h 762626"/>
                <a:gd name="connsiteX104" fmla="*/ 330235 w 880627"/>
                <a:gd name="connsiteY104" fmla="*/ 409382 h 762626"/>
                <a:gd name="connsiteX105" fmla="*/ 482477 w 880627"/>
                <a:gd name="connsiteY105" fmla="*/ 409382 h 762626"/>
                <a:gd name="connsiteX106" fmla="*/ 482477 w 880627"/>
                <a:gd name="connsiteY106" fmla="*/ 426554 h 762626"/>
                <a:gd name="connsiteX107" fmla="*/ 495050 w 880627"/>
                <a:gd name="connsiteY107" fmla="*/ 409382 h 762626"/>
                <a:gd name="connsiteX108" fmla="*/ 482477 w 880627"/>
                <a:gd name="connsiteY108" fmla="*/ 409382 h 762626"/>
                <a:gd name="connsiteX109" fmla="*/ 330238 w 880627"/>
                <a:gd name="connsiteY109" fmla="*/ 558241 h 762626"/>
                <a:gd name="connsiteX110" fmla="*/ 330238 w 880627"/>
                <a:gd name="connsiteY110" fmla="*/ 681339 h 762626"/>
                <a:gd name="connsiteX111" fmla="*/ 494330 w 880627"/>
                <a:gd name="connsiteY111" fmla="*/ 681339 h 762626"/>
                <a:gd name="connsiteX112" fmla="*/ 447106 w 880627"/>
                <a:gd name="connsiteY112" fmla="*/ 558241 h 762626"/>
                <a:gd name="connsiteX113" fmla="*/ 330238 w 880627"/>
                <a:gd name="connsiteY113"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178000 w 880627"/>
                <a:gd name="connsiteY84" fmla="*/ 383622 h 762626"/>
                <a:gd name="connsiteX85" fmla="*/ 304479 w 880627"/>
                <a:gd name="connsiteY85" fmla="*/ 260522 h 762626"/>
                <a:gd name="connsiteX86" fmla="*/ 178000 w 880627"/>
                <a:gd name="connsiteY86" fmla="*/ 260522 h 762626"/>
                <a:gd name="connsiteX87" fmla="*/ 330238 w 880627"/>
                <a:gd name="connsiteY87" fmla="*/ 260522 h 762626"/>
                <a:gd name="connsiteX88" fmla="*/ 330238 w 880627"/>
                <a:gd name="connsiteY88" fmla="*/ 383622 h 762626"/>
                <a:gd name="connsiteX89" fmla="*/ 456717 w 880627"/>
                <a:gd name="connsiteY89" fmla="*/ 383622 h 762626"/>
                <a:gd name="connsiteX90" fmla="*/ 456717 w 880627"/>
                <a:gd name="connsiteY90" fmla="*/ 260522 h 762626"/>
                <a:gd name="connsiteX91" fmla="*/ 330238 w 880627"/>
                <a:gd name="connsiteY91" fmla="*/ 260522 h 762626"/>
                <a:gd name="connsiteX92" fmla="*/ 482477 w 880627"/>
                <a:gd name="connsiteY92" fmla="*/ 260522 h 762626"/>
                <a:gd name="connsiteX93" fmla="*/ 482477 w 880627"/>
                <a:gd name="connsiteY93" fmla="*/ 383622 h 762626"/>
                <a:gd name="connsiteX94" fmla="*/ 519639 w 880627"/>
                <a:gd name="connsiteY94" fmla="*/ 383622 h 762626"/>
                <a:gd name="connsiteX95" fmla="*/ 608956 w 880627"/>
                <a:gd name="connsiteY95" fmla="*/ 335743 h 762626"/>
                <a:gd name="connsiteX96" fmla="*/ 608956 w 880627"/>
                <a:gd name="connsiteY96" fmla="*/ 260522 h 762626"/>
                <a:gd name="connsiteX97" fmla="*/ 482477 w 880627"/>
                <a:gd name="connsiteY97" fmla="*/ 260522 h 762626"/>
                <a:gd name="connsiteX98" fmla="*/ 330235 w 880627"/>
                <a:gd name="connsiteY98" fmla="*/ 409382 h 762626"/>
                <a:gd name="connsiteX99" fmla="*/ 330235 w 880627"/>
                <a:gd name="connsiteY99" fmla="*/ 532483 h 762626"/>
                <a:gd name="connsiteX100" fmla="*/ 447158 w 880627"/>
                <a:gd name="connsiteY100" fmla="*/ 532483 h 762626"/>
                <a:gd name="connsiteX101" fmla="*/ 456715 w 880627"/>
                <a:gd name="connsiteY101" fmla="*/ 480623 h 762626"/>
                <a:gd name="connsiteX102" fmla="*/ 456715 w 880627"/>
                <a:gd name="connsiteY102" fmla="*/ 409382 h 762626"/>
                <a:gd name="connsiteX103" fmla="*/ 330235 w 880627"/>
                <a:gd name="connsiteY103" fmla="*/ 409382 h 762626"/>
                <a:gd name="connsiteX104" fmla="*/ 482477 w 880627"/>
                <a:gd name="connsiteY104" fmla="*/ 409382 h 762626"/>
                <a:gd name="connsiteX105" fmla="*/ 482477 w 880627"/>
                <a:gd name="connsiteY105" fmla="*/ 426554 h 762626"/>
                <a:gd name="connsiteX106" fmla="*/ 495050 w 880627"/>
                <a:gd name="connsiteY106" fmla="*/ 409382 h 762626"/>
                <a:gd name="connsiteX107" fmla="*/ 482477 w 880627"/>
                <a:gd name="connsiteY107" fmla="*/ 409382 h 762626"/>
                <a:gd name="connsiteX108" fmla="*/ 330238 w 880627"/>
                <a:gd name="connsiteY108" fmla="*/ 558241 h 762626"/>
                <a:gd name="connsiteX109" fmla="*/ 330238 w 880627"/>
                <a:gd name="connsiteY109" fmla="*/ 681339 h 762626"/>
                <a:gd name="connsiteX110" fmla="*/ 494330 w 880627"/>
                <a:gd name="connsiteY110" fmla="*/ 681339 h 762626"/>
                <a:gd name="connsiteX111" fmla="*/ 447106 w 880627"/>
                <a:gd name="connsiteY111" fmla="*/ 558241 h 762626"/>
                <a:gd name="connsiteX112" fmla="*/ 330238 w 880627"/>
                <a:gd name="connsiteY112"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178000 w 880627"/>
                <a:gd name="connsiteY83" fmla="*/ 260522 h 762626"/>
                <a:gd name="connsiteX84" fmla="*/ 304479 w 880627"/>
                <a:gd name="connsiteY84" fmla="*/ 260522 h 762626"/>
                <a:gd name="connsiteX85" fmla="*/ 178000 w 880627"/>
                <a:gd name="connsiteY85" fmla="*/ 260522 h 762626"/>
                <a:gd name="connsiteX86" fmla="*/ 330238 w 880627"/>
                <a:gd name="connsiteY86" fmla="*/ 260522 h 762626"/>
                <a:gd name="connsiteX87" fmla="*/ 330238 w 880627"/>
                <a:gd name="connsiteY87" fmla="*/ 383622 h 762626"/>
                <a:gd name="connsiteX88" fmla="*/ 456717 w 880627"/>
                <a:gd name="connsiteY88" fmla="*/ 383622 h 762626"/>
                <a:gd name="connsiteX89" fmla="*/ 456717 w 880627"/>
                <a:gd name="connsiteY89" fmla="*/ 260522 h 762626"/>
                <a:gd name="connsiteX90" fmla="*/ 330238 w 880627"/>
                <a:gd name="connsiteY90" fmla="*/ 260522 h 762626"/>
                <a:gd name="connsiteX91" fmla="*/ 482477 w 880627"/>
                <a:gd name="connsiteY91" fmla="*/ 260522 h 762626"/>
                <a:gd name="connsiteX92" fmla="*/ 482477 w 880627"/>
                <a:gd name="connsiteY92" fmla="*/ 383622 h 762626"/>
                <a:gd name="connsiteX93" fmla="*/ 519639 w 880627"/>
                <a:gd name="connsiteY93" fmla="*/ 383622 h 762626"/>
                <a:gd name="connsiteX94" fmla="*/ 608956 w 880627"/>
                <a:gd name="connsiteY94" fmla="*/ 335743 h 762626"/>
                <a:gd name="connsiteX95" fmla="*/ 608956 w 880627"/>
                <a:gd name="connsiteY95" fmla="*/ 260522 h 762626"/>
                <a:gd name="connsiteX96" fmla="*/ 482477 w 880627"/>
                <a:gd name="connsiteY96" fmla="*/ 260522 h 762626"/>
                <a:gd name="connsiteX97" fmla="*/ 330235 w 880627"/>
                <a:gd name="connsiteY97" fmla="*/ 409382 h 762626"/>
                <a:gd name="connsiteX98" fmla="*/ 330235 w 880627"/>
                <a:gd name="connsiteY98" fmla="*/ 532483 h 762626"/>
                <a:gd name="connsiteX99" fmla="*/ 447158 w 880627"/>
                <a:gd name="connsiteY99" fmla="*/ 532483 h 762626"/>
                <a:gd name="connsiteX100" fmla="*/ 456715 w 880627"/>
                <a:gd name="connsiteY100" fmla="*/ 480623 h 762626"/>
                <a:gd name="connsiteX101" fmla="*/ 456715 w 880627"/>
                <a:gd name="connsiteY101" fmla="*/ 409382 h 762626"/>
                <a:gd name="connsiteX102" fmla="*/ 330235 w 880627"/>
                <a:gd name="connsiteY102" fmla="*/ 409382 h 762626"/>
                <a:gd name="connsiteX103" fmla="*/ 482477 w 880627"/>
                <a:gd name="connsiteY103" fmla="*/ 409382 h 762626"/>
                <a:gd name="connsiteX104" fmla="*/ 482477 w 880627"/>
                <a:gd name="connsiteY104" fmla="*/ 426554 h 762626"/>
                <a:gd name="connsiteX105" fmla="*/ 495050 w 880627"/>
                <a:gd name="connsiteY105" fmla="*/ 409382 h 762626"/>
                <a:gd name="connsiteX106" fmla="*/ 482477 w 880627"/>
                <a:gd name="connsiteY106" fmla="*/ 409382 h 762626"/>
                <a:gd name="connsiteX107" fmla="*/ 330238 w 880627"/>
                <a:gd name="connsiteY107" fmla="*/ 558241 h 762626"/>
                <a:gd name="connsiteX108" fmla="*/ 330238 w 880627"/>
                <a:gd name="connsiteY108" fmla="*/ 681339 h 762626"/>
                <a:gd name="connsiteX109" fmla="*/ 494330 w 880627"/>
                <a:gd name="connsiteY109" fmla="*/ 681339 h 762626"/>
                <a:gd name="connsiteX110" fmla="*/ 447106 w 880627"/>
                <a:gd name="connsiteY110" fmla="*/ 558241 h 762626"/>
                <a:gd name="connsiteX111" fmla="*/ 330238 w 880627"/>
                <a:gd name="connsiteY111"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330238 w 880627"/>
                <a:gd name="connsiteY83" fmla="*/ 260522 h 762626"/>
                <a:gd name="connsiteX84" fmla="*/ 330238 w 880627"/>
                <a:gd name="connsiteY84" fmla="*/ 383622 h 762626"/>
                <a:gd name="connsiteX85" fmla="*/ 456717 w 880627"/>
                <a:gd name="connsiteY85" fmla="*/ 383622 h 762626"/>
                <a:gd name="connsiteX86" fmla="*/ 456717 w 880627"/>
                <a:gd name="connsiteY86" fmla="*/ 260522 h 762626"/>
                <a:gd name="connsiteX87" fmla="*/ 330238 w 880627"/>
                <a:gd name="connsiteY87" fmla="*/ 260522 h 762626"/>
                <a:gd name="connsiteX88" fmla="*/ 482477 w 880627"/>
                <a:gd name="connsiteY88" fmla="*/ 260522 h 762626"/>
                <a:gd name="connsiteX89" fmla="*/ 482477 w 880627"/>
                <a:gd name="connsiteY89" fmla="*/ 383622 h 762626"/>
                <a:gd name="connsiteX90" fmla="*/ 519639 w 880627"/>
                <a:gd name="connsiteY90" fmla="*/ 383622 h 762626"/>
                <a:gd name="connsiteX91" fmla="*/ 608956 w 880627"/>
                <a:gd name="connsiteY91" fmla="*/ 335743 h 762626"/>
                <a:gd name="connsiteX92" fmla="*/ 608956 w 880627"/>
                <a:gd name="connsiteY92" fmla="*/ 260522 h 762626"/>
                <a:gd name="connsiteX93" fmla="*/ 482477 w 880627"/>
                <a:gd name="connsiteY93" fmla="*/ 260522 h 762626"/>
                <a:gd name="connsiteX94" fmla="*/ 330235 w 880627"/>
                <a:gd name="connsiteY94" fmla="*/ 409382 h 762626"/>
                <a:gd name="connsiteX95" fmla="*/ 330235 w 880627"/>
                <a:gd name="connsiteY95" fmla="*/ 532483 h 762626"/>
                <a:gd name="connsiteX96" fmla="*/ 447158 w 880627"/>
                <a:gd name="connsiteY96" fmla="*/ 532483 h 762626"/>
                <a:gd name="connsiteX97" fmla="*/ 456715 w 880627"/>
                <a:gd name="connsiteY97" fmla="*/ 480623 h 762626"/>
                <a:gd name="connsiteX98" fmla="*/ 456715 w 880627"/>
                <a:gd name="connsiteY98" fmla="*/ 409382 h 762626"/>
                <a:gd name="connsiteX99" fmla="*/ 330235 w 880627"/>
                <a:gd name="connsiteY99" fmla="*/ 409382 h 762626"/>
                <a:gd name="connsiteX100" fmla="*/ 482477 w 880627"/>
                <a:gd name="connsiteY100" fmla="*/ 409382 h 762626"/>
                <a:gd name="connsiteX101" fmla="*/ 482477 w 880627"/>
                <a:gd name="connsiteY101" fmla="*/ 426554 h 762626"/>
                <a:gd name="connsiteX102" fmla="*/ 495050 w 880627"/>
                <a:gd name="connsiteY102" fmla="*/ 409382 h 762626"/>
                <a:gd name="connsiteX103" fmla="*/ 482477 w 880627"/>
                <a:gd name="connsiteY103" fmla="*/ 409382 h 762626"/>
                <a:gd name="connsiteX104" fmla="*/ 330238 w 880627"/>
                <a:gd name="connsiteY104" fmla="*/ 558241 h 762626"/>
                <a:gd name="connsiteX105" fmla="*/ 330238 w 880627"/>
                <a:gd name="connsiteY105" fmla="*/ 681339 h 762626"/>
                <a:gd name="connsiteX106" fmla="*/ 494330 w 880627"/>
                <a:gd name="connsiteY106" fmla="*/ 681339 h 762626"/>
                <a:gd name="connsiteX107" fmla="*/ 447106 w 880627"/>
                <a:gd name="connsiteY107" fmla="*/ 558241 h 762626"/>
                <a:gd name="connsiteX108" fmla="*/ 330238 w 880627"/>
                <a:gd name="connsiteY108"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56717 w 880627"/>
                <a:gd name="connsiteY83" fmla="*/ 260522 h 762626"/>
                <a:gd name="connsiteX84" fmla="*/ 330238 w 880627"/>
                <a:gd name="connsiteY84" fmla="*/ 383622 h 762626"/>
                <a:gd name="connsiteX85" fmla="*/ 456717 w 880627"/>
                <a:gd name="connsiteY85" fmla="*/ 383622 h 762626"/>
                <a:gd name="connsiteX86" fmla="*/ 456717 w 880627"/>
                <a:gd name="connsiteY86" fmla="*/ 260522 h 762626"/>
                <a:gd name="connsiteX87" fmla="*/ 482477 w 880627"/>
                <a:gd name="connsiteY87" fmla="*/ 260522 h 762626"/>
                <a:gd name="connsiteX88" fmla="*/ 482477 w 880627"/>
                <a:gd name="connsiteY88" fmla="*/ 383622 h 762626"/>
                <a:gd name="connsiteX89" fmla="*/ 519639 w 880627"/>
                <a:gd name="connsiteY89" fmla="*/ 383622 h 762626"/>
                <a:gd name="connsiteX90" fmla="*/ 608956 w 880627"/>
                <a:gd name="connsiteY90" fmla="*/ 335743 h 762626"/>
                <a:gd name="connsiteX91" fmla="*/ 608956 w 880627"/>
                <a:gd name="connsiteY91" fmla="*/ 260522 h 762626"/>
                <a:gd name="connsiteX92" fmla="*/ 482477 w 880627"/>
                <a:gd name="connsiteY92" fmla="*/ 260522 h 762626"/>
                <a:gd name="connsiteX93" fmla="*/ 330235 w 880627"/>
                <a:gd name="connsiteY93" fmla="*/ 409382 h 762626"/>
                <a:gd name="connsiteX94" fmla="*/ 330235 w 880627"/>
                <a:gd name="connsiteY94" fmla="*/ 532483 h 762626"/>
                <a:gd name="connsiteX95" fmla="*/ 447158 w 880627"/>
                <a:gd name="connsiteY95" fmla="*/ 532483 h 762626"/>
                <a:gd name="connsiteX96" fmla="*/ 456715 w 880627"/>
                <a:gd name="connsiteY96" fmla="*/ 480623 h 762626"/>
                <a:gd name="connsiteX97" fmla="*/ 456715 w 880627"/>
                <a:gd name="connsiteY97" fmla="*/ 409382 h 762626"/>
                <a:gd name="connsiteX98" fmla="*/ 330235 w 880627"/>
                <a:gd name="connsiteY98" fmla="*/ 409382 h 762626"/>
                <a:gd name="connsiteX99" fmla="*/ 482477 w 880627"/>
                <a:gd name="connsiteY99" fmla="*/ 409382 h 762626"/>
                <a:gd name="connsiteX100" fmla="*/ 482477 w 880627"/>
                <a:gd name="connsiteY100" fmla="*/ 426554 h 762626"/>
                <a:gd name="connsiteX101" fmla="*/ 495050 w 880627"/>
                <a:gd name="connsiteY101" fmla="*/ 409382 h 762626"/>
                <a:gd name="connsiteX102" fmla="*/ 482477 w 880627"/>
                <a:gd name="connsiteY102" fmla="*/ 409382 h 762626"/>
                <a:gd name="connsiteX103" fmla="*/ 330238 w 880627"/>
                <a:gd name="connsiteY103" fmla="*/ 558241 h 762626"/>
                <a:gd name="connsiteX104" fmla="*/ 330238 w 880627"/>
                <a:gd name="connsiteY104" fmla="*/ 681339 h 762626"/>
                <a:gd name="connsiteX105" fmla="*/ 494330 w 880627"/>
                <a:gd name="connsiteY105" fmla="*/ 681339 h 762626"/>
                <a:gd name="connsiteX106" fmla="*/ 447106 w 880627"/>
                <a:gd name="connsiteY106" fmla="*/ 558241 h 762626"/>
                <a:gd name="connsiteX107" fmla="*/ 330238 w 880627"/>
                <a:gd name="connsiteY107"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56717 w 880627"/>
                <a:gd name="connsiteY83" fmla="*/ 383622 h 762626"/>
                <a:gd name="connsiteX84" fmla="*/ 330238 w 880627"/>
                <a:gd name="connsiteY84" fmla="*/ 383622 h 762626"/>
                <a:gd name="connsiteX85" fmla="*/ 456717 w 880627"/>
                <a:gd name="connsiteY85" fmla="*/ 383622 h 762626"/>
                <a:gd name="connsiteX86" fmla="*/ 482477 w 880627"/>
                <a:gd name="connsiteY86" fmla="*/ 260522 h 762626"/>
                <a:gd name="connsiteX87" fmla="*/ 482477 w 880627"/>
                <a:gd name="connsiteY87" fmla="*/ 383622 h 762626"/>
                <a:gd name="connsiteX88" fmla="*/ 519639 w 880627"/>
                <a:gd name="connsiteY88" fmla="*/ 383622 h 762626"/>
                <a:gd name="connsiteX89" fmla="*/ 608956 w 880627"/>
                <a:gd name="connsiteY89" fmla="*/ 335743 h 762626"/>
                <a:gd name="connsiteX90" fmla="*/ 608956 w 880627"/>
                <a:gd name="connsiteY90" fmla="*/ 260522 h 762626"/>
                <a:gd name="connsiteX91" fmla="*/ 482477 w 880627"/>
                <a:gd name="connsiteY91" fmla="*/ 260522 h 762626"/>
                <a:gd name="connsiteX92" fmla="*/ 330235 w 880627"/>
                <a:gd name="connsiteY92" fmla="*/ 409382 h 762626"/>
                <a:gd name="connsiteX93" fmla="*/ 330235 w 880627"/>
                <a:gd name="connsiteY93" fmla="*/ 532483 h 762626"/>
                <a:gd name="connsiteX94" fmla="*/ 447158 w 880627"/>
                <a:gd name="connsiteY94" fmla="*/ 532483 h 762626"/>
                <a:gd name="connsiteX95" fmla="*/ 456715 w 880627"/>
                <a:gd name="connsiteY95" fmla="*/ 480623 h 762626"/>
                <a:gd name="connsiteX96" fmla="*/ 456715 w 880627"/>
                <a:gd name="connsiteY96" fmla="*/ 409382 h 762626"/>
                <a:gd name="connsiteX97" fmla="*/ 330235 w 880627"/>
                <a:gd name="connsiteY97" fmla="*/ 409382 h 762626"/>
                <a:gd name="connsiteX98" fmla="*/ 482477 w 880627"/>
                <a:gd name="connsiteY98" fmla="*/ 409382 h 762626"/>
                <a:gd name="connsiteX99" fmla="*/ 482477 w 880627"/>
                <a:gd name="connsiteY99" fmla="*/ 426554 h 762626"/>
                <a:gd name="connsiteX100" fmla="*/ 495050 w 880627"/>
                <a:gd name="connsiteY100" fmla="*/ 409382 h 762626"/>
                <a:gd name="connsiteX101" fmla="*/ 482477 w 880627"/>
                <a:gd name="connsiteY101" fmla="*/ 409382 h 762626"/>
                <a:gd name="connsiteX102" fmla="*/ 330238 w 880627"/>
                <a:gd name="connsiteY102" fmla="*/ 558241 h 762626"/>
                <a:gd name="connsiteX103" fmla="*/ 330238 w 880627"/>
                <a:gd name="connsiteY103" fmla="*/ 681339 h 762626"/>
                <a:gd name="connsiteX104" fmla="*/ 494330 w 880627"/>
                <a:gd name="connsiteY104" fmla="*/ 681339 h 762626"/>
                <a:gd name="connsiteX105" fmla="*/ 447106 w 880627"/>
                <a:gd name="connsiteY105" fmla="*/ 558241 h 762626"/>
                <a:gd name="connsiteX106" fmla="*/ 330238 w 880627"/>
                <a:gd name="connsiteY106"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519639 w 880627"/>
                <a:gd name="connsiteY85" fmla="*/ 383622 h 762626"/>
                <a:gd name="connsiteX86" fmla="*/ 608956 w 880627"/>
                <a:gd name="connsiteY86" fmla="*/ 335743 h 762626"/>
                <a:gd name="connsiteX87" fmla="*/ 608956 w 880627"/>
                <a:gd name="connsiteY87" fmla="*/ 260522 h 762626"/>
                <a:gd name="connsiteX88" fmla="*/ 482477 w 880627"/>
                <a:gd name="connsiteY88" fmla="*/ 260522 h 762626"/>
                <a:gd name="connsiteX89" fmla="*/ 330235 w 880627"/>
                <a:gd name="connsiteY89" fmla="*/ 409382 h 762626"/>
                <a:gd name="connsiteX90" fmla="*/ 330235 w 880627"/>
                <a:gd name="connsiteY90" fmla="*/ 532483 h 762626"/>
                <a:gd name="connsiteX91" fmla="*/ 447158 w 880627"/>
                <a:gd name="connsiteY91" fmla="*/ 532483 h 762626"/>
                <a:gd name="connsiteX92" fmla="*/ 456715 w 880627"/>
                <a:gd name="connsiteY92" fmla="*/ 480623 h 762626"/>
                <a:gd name="connsiteX93" fmla="*/ 456715 w 880627"/>
                <a:gd name="connsiteY93" fmla="*/ 409382 h 762626"/>
                <a:gd name="connsiteX94" fmla="*/ 330235 w 880627"/>
                <a:gd name="connsiteY94" fmla="*/ 409382 h 762626"/>
                <a:gd name="connsiteX95" fmla="*/ 482477 w 880627"/>
                <a:gd name="connsiteY95" fmla="*/ 409382 h 762626"/>
                <a:gd name="connsiteX96" fmla="*/ 482477 w 880627"/>
                <a:gd name="connsiteY96" fmla="*/ 426554 h 762626"/>
                <a:gd name="connsiteX97" fmla="*/ 495050 w 880627"/>
                <a:gd name="connsiteY97" fmla="*/ 409382 h 762626"/>
                <a:gd name="connsiteX98" fmla="*/ 482477 w 880627"/>
                <a:gd name="connsiteY98" fmla="*/ 409382 h 762626"/>
                <a:gd name="connsiteX99" fmla="*/ 330238 w 880627"/>
                <a:gd name="connsiteY99" fmla="*/ 558241 h 762626"/>
                <a:gd name="connsiteX100" fmla="*/ 330238 w 880627"/>
                <a:gd name="connsiteY100" fmla="*/ 681339 h 762626"/>
                <a:gd name="connsiteX101" fmla="*/ 494330 w 880627"/>
                <a:gd name="connsiteY101" fmla="*/ 681339 h 762626"/>
                <a:gd name="connsiteX102" fmla="*/ 447106 w 880627"/>
                <a:gd name="connsiteY102" fmla="*/ 558241 h 762626"/>
                <a:gd name="connsiteX103" fmla="*/ 330238 w 880627"/>
                <a:gd name="connsiteY103"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519639 w 880627"/>
                <a:gd name="connsiteY85" fmla="*/ 383622 h 762626"/>
                <a:gd name="connsiteX86" fmla="*/ 608956 w 880627"/>
                <a:gd name="connsiteY86" fmla="*/ 335743 h 762626"/>
                <a:gd name="connsiteX87" fmla="*/ 608956 w 880627"/>
                <a:gd name="connsiteY87" fmla="*/ 260522 h 762626"/>
                <a:gd name="connsiteX88" fmla="*/ 482477 w 880627"/>
                <a:gd name="connsiteY88" fmla="*/ 260522 h 762626"/>
                <a:gd name="connsiteX89" fmla="*/ 456715 w 880627"/>
                <a:gd name="connsiteY89" fmla="*/ 409382 h 762626"/>
                <a:gd name="connsiteX90" fmla="*/ 330235 w 880627"/>
                <a:gd name="connsiteY90" fmla="*/ 532483 h 762626"/>
                <a:gd name="connsiteX91" fmla="*/ 447158 w 880627"/>
                <a:gd name="connsiteY91" fmla="*/ 532483 h 762626"/>
                <a:gd name="connsiteX92" fmla="*/ 456715 w 880627"/>
                <a:gd name="connsiteY92" fmla="*/ 480623 h 762626"/>
                <a:gd name="connsiteX93" fmla="*/ 456715 w 880627"/>
                <a:gd name="connsiteY93" fmla="*/ 409382 h 762626"/>
                <a:gd name="connsiteX94" fmla="*/ 482477 w 880627"/>
                <a:gd name="connsiteY94" fmla="*/ 409382 h 762626"/>
                <a:gd name="connsiteX95" fmla="*/ 482477 w 880627"/>
                <a:gd name="connsiteY95" fmla="*/ 426554 h 762626"/>
                <a:gd name="connsiteX96" fmla="*/ 495050 w 880627"/>
                <a:gd name="connsiteY96" fmla="*/ 409382 h 762626"/>
                <a:gd name="connsiteX97" fmla="*/ 482477 w 880627"/>
                <a:gd name="connsiteY97" fmla="*/ 409382 h 762626"/>
                <a:gd name="connsiteX98" fmla="*/ 330238 w 880627"/>
                <a:gd name="connsiteY98" fmla="*/ 558241 h 762626"/>
                <a:gd name="connsiteX99" fmla="*/ 330238 w 880627"/>
                <a:gd name="connsiteY99" fmla="*/ 681339 h 762626"/>
                <a:gd name="connsiteX100" fmla="*/ 494330 w 880627"/>
                <a:gd name="connsiteY100" fmla="*/ 681339 h 762626"/>
                <a:gd name="connsiteX101" fmla="*/ 447106 w 880627"/>
                <a:gd name="connsiteY101" fmla="*/ 558241 h 762626"/>
                <a:gd name="connsiteX102" fmla="*/ 330238 w 880627"/>
                <a:gd name="connsiteY102"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519639 w 880627"/>
                <a:gd name="connsiteY85" fmla="*/ 383622 h 762626"/>
                <a:gd name="connsiteX86" fmla="*/ 608956 w 880627"/>
                <a:gd name="connsiteY86" fmla="*/ 335743 h 762626"/>
                <a:gd name="connsiteX87" fmla="*/ 608956 w 880627"/>
                <a:gd name="connsiteY87" fmla="*/ 260522 h 762626"/>
                <a:gd name="connsiteX88" fmla="*/ 482477 w 880627"/>
                <a:gd name="connsiteY88" fmla="*/ 260522 h 762626"/>
                <a:gd name="connsiteX89" fmla="*/ 456715 w 880627"/>
                <a:gd name="connsiteY89" fmla="*/ 409382 h 762626"/>
                <a:gd name="connsiteX90" fmla="*/ 330235 w 880627"/>
                <a:gd name="connsiteY90" fmla="*/ 532483 h 762626"/>
                <a:gd name="connsiteX91" fmla="*/ 447158 w 880627"/>
                <a:gd name="connsiteY91" fmla="*/ 532483 h 762626"/>
                <a:gd name="connsiteX92" fmla="*/ 456715 w 880627"/>
                <a:gd name="connsiteY92" fmla="*/ 409382 h 762626"/>
                <a:gd name="connsiteX93" fmla="*/ 482477 w 880627"/>
                <a:gd name="connsiteY93" fmla="*/ 409382 h 762626"/>
                <a:gd name="connsiteX94" fmla="*/ 482477 w 880627"/>
                <a:gd name="connsiteY94" fmla="*/ 426554 h 762626"/>
                <a:gd name="connsiteX95" fmla="*/ 495050 w 880627"/>
                <a:gd name="connsiteY95" fmla="*/ 409382 h 762626"/>
                <a:gd name="connsiteX96" fmla="*/ 482477 w 880627"/>
                <a:gd name="connsiteY96" fmla="*/ 409382 h 762626"/>
                <a:gd name="connsiteX97" fmla="*/ 330238 w 880627"/>
                <a:gd name="connsiteY97" fmla="*/ 558241 h 762626"/>
                <a:gd name="connsiteX98" fmla="*/ 330238 w 880627"/>
                <a:gd name="connsiteY98" fmla="*/ 681339 h 762626"/>
                <a:gd name="connsiteX99" fmla="*/ 494330 w 880627"/>
                <a:gd name="connsiteY99" fmla="*/ 681339 h 762626"/>
                <a:gd name="connsiteX100" fmla="*/ 447106 w 880627"/>
                <a:gd name="connsiteY100" fmla="*/ 558241 h 762626"/>
                <a:gd name="connsiteX101" fmla="*/ 330238 w 880627"/>
                <a:gd name="connsiteY101"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519639 w 880627"/>
                <a:gd name="connsiteY85" fmla="*/ 383622 h 762626"/>
                <a:gd name="connsiteX86" fmla="*/ 608956 w 880627"/>
                <a:gd name="connsiteY86" fmla="*/ 335743 h 762626"/>
                <a:gd name="connsiteX87" fmla="*/ 608956 w 880627"/>
                <a:gd name="connsiteY87" fmla="*/ 260522 h 762626"/>
                <a:gd name="connsiteX88" fmla="*/ 482477 w 880627"/>
                <a:gd name="connsiteY88" fmla="*/ 260522 h 762626"/>
                <a:gd name="connsiteX89" fmla="*/ 447158 w 880627"/>
                <a:gd name="connsiteY89" fmla="*/ 532483 h 762626"/>
                <a:gd name="connsiteX90" fmla="*/ 330235 w 880627"/>
                <a:gd name="connsiteY90" fmla="*/ 532483 h 762626"/>
                <a:gd name="connsiteX91" fmla="*/ 447158 w 880627"/>
                <a:gd name="connsiteY91" fmla="*/ 532483 h 762626"/>
                <a:gd name="connsiteX92" fmla="*/ 482477 w 880627"/>
                <a:gd name="connsiteY92" fmla="*/ 409382 h 762626"/>
                <a:gd name="connsiteX93" fmla="*/ 482477 w 880627"/>
                <a:gd name="connsiteY93" fmla="*/ 426554 h 762626"/>
                <a:gd name="connsiteX94" fmla="*/ 495050 w 880627"/>
                <a:gd name="connsiteY94" fmla="*/ 409382 h 762626"/>
                <a:gd name="connsiteX95" fmla="*/ 482477 w 880627"/>
                <a:gd name="connsiteY95" fmla="*/ 409382 h 762626"/>
                <a:gd name="connsiteX96" fmla="*/ 330238 w 880627"/>
                <a:gd name="connsiteY96" fmla="*/ 558241 h 762626"/>
                <a:gd name="connsiteX97" fmla="*/ 330238 w 880627"/>
                <a:gd name="connsiteY97" fmla="*/ 681339 h 762626"/>
                <a:gd name="connsiteX98" fmla="*/ 494330 w 880627"/>
                <a:gd name="connsiteY98" fmla="*/ 681339 h 762626"/>
                <a:gd name="connsiteX99" fmla="*/ 447106 w 880627"/>
                <a:gd name="connsiteY99" fmla="*/ 558241 h 762626"/>
                <a:gd name="connsiteX100" fmla="*/ 330238 w 880627"/>
                <a:gd name="connsiteY100"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519639 w 880627"/>
                <a:gd name="connsiteY85" fmla="*/ 383622 h 762626"/>
                <a:gd name="connsiteX86" fmla="*/ 608956 w 880627"/>
                <a:gd name="connsiteY86" fmla="*/ 335743 h 762626"/>
                <a:gd name="connsiteX87" fmla="*/ 608956 w 880627"/>
                <a:gd name="connsiteY87" fmla="*/ 260522 h 762626"/>
                <a:gd name="connsiteX88" fmla="*/ 482477 w 880627"/>
                <a:gd name="connsiteY88" fmla="*/ 260522 h 762626"/>
                <a:gd name="connsiteX89" fmla="*/ 482477 w 880627"/>
                <a:gd name="connsiteY89" fmla="*/ 409382 h 762626"/>
                <a:gd name="connsiteX90" fmla="*/ 482477 w 880627"/>
                <a:gd name="connsiteY90" fmla="*/ 426554 h 762626"/>
                <a:gd name="connsiteX91" fmla="*/ 495050 w 880627"/>
                <a:gd name="connsiteY91" fmla="*/ 409382 h 762626"/>
                <a:gd name="connsiteX92" fmla="*/ 482477 w 880627"/>
                <a:gd name="connsiteY92" fmla="*/ 409382 h 762626"/>
                <a:gd name="connsiteX93" fmla="*/ 330238 w 880627"/>
                <a:gd name="connsiteY93" fmla="*/ 558241 h 762626"/>
                <a:gd name="connsiteX94" fmla="*/ 330238 w 880627"/>
                <a:gd name="connsiteY94" fmla="*/ 681339 h 762626"/>
                <a:gd name="connsiteX95" fmla="*/ 494330 w 880627"/>
                <a:gd name="connsiteY95" fmla="*/ 681339 h 762626"/>
                <a:gd name="connsiteX96" fmla="*/ 447106 w 880627"/>
                <a:gd name="connsiteY96" fmla="*/ 558241 h 762626"/>
                <a:gd name="connsiteX97" fmla="*/ 330238 w 880627"/>
                <a:gd name="connsiteY97"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519639 w 880627"/>
                <a:gd name="connsiteY85" fmla="*/ 383622 h 762626"/>
                <a:gd name="connsiteX86" fmla="*/ 608956 w 880627"/>
                <a:gd name="connsiteY86" fmla="*/ 335743 h 762626"/>
                <a:gd name="connsiteX87" fmla="*/ 608956 w 880627"/>
                <a:gd name="connsiteY87" fmla="*/ 260522 h 762626"/>
                <a:gd name="connsiteX88" fmla="*/ 482477 w 880627"/>
                <a:gd name="connsiteY88" fmla="*/ 260522 h 762626"/>
                <a:gd name="connsiteX89" fmla="*/ 482477 w 880627"/>
                <a:gd name="connsiteY89" fmla="*/ 409382 h 762626"/>
                <a:gd name="connsiteX90" fmla="*/ 482477 w 880627"/>
                <a:gd name="connsiteY90" fmla="*/ 426554 h 762626"/>
                <a:gd name="connsiteX91" fmla="*/ 495050 w 880627"/>
                <a:gd name="connsiteY91" fmla="*/ 409382 h 762626"/>
                <a:gd name="connsiteX92" fmla="*/ 482477 w 880627"/>
                <a:gd name="connsiteY92" fmla="*/ 409382 h 762626"/>
                <a:gd name="connsiteX93" fmla="*/ 447106 w 880627"/>
                <a:gd name="connsiteY93" fmla="*/ 558241 h 762626"/>
                <a:gd name="connsiteX94" fmla="*/ 330238 w 880627"/>
                <a:gd name="connsiteY94" fmla="*/ 681339 h 762626"/>
                <a:gd name="connsiteX95" fmla="*/ 494330 w 880627"/>
                <a:gd name="connsiteY95" fmla="*/ 681339 h 762626"/>
                <a:gd name="connsiteX96" fmla="*/ 447106 w 880627"/>
                <a:gd name="connsiteY96"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519639 w 880627"/>
                <a:gd name="connsiteY85" fmla="*/ 383622 h 762626"/>
                <a:gd name="connsiteX86" fmla="*/ 608956 w 880627"/>
                <a:gd name="connsiteY86" fmla="*/ 335743 h 762626"/>
                <a:gd name="connsiteX87" fmla="*/ 608956 w 880627"/>
                <a:gd name="connsiteY87" fmla="*/ 260522 h 762626"/>
                <a:gd name="connsiteX88" fmla="*/ 482477 w 880627"/>
                <a:gd name="connsiteY88" fmla="*/ 260522 h 762626"/>
                <a:gd name="connsiteX89" fmla="*/ 482477 w 880627"/>
                <a:gd name="connsiteY89" fmla="*/ 409382 h 762626"/>
                <a:gd name="connsiteX90" fmla="*/ 482477 w 880627"/>
                <a:gd name="connsiteY90" fmla="*/ 426554 h 762626"/>
                <a:gd name="connsiteX91" fmla="*/ 495050 w 880627"/>
                <a:gd name="connsiteY91" fmla="*/ 409382 h 762626"/>
                <a:gd name="connsiteX92" fmla="*/ 482477 w 880627"/>
                <a:gd name="connsiteY92" fmla="*/ 409382 h 762626"/>
                <a:gd name="connsiteX93" fmla="*/ 447106 w 880627"/>
                <a:gd name="connsiteY93" fmla="*/ 558241 h 762626"/>
                <a:gd name="connsiteX94" fmla="*/ 330238 w 880627"/>
                <a:gd name="connsiteY94" fmla="*/ 681339 h 762626"/>
                <a:gd name="connsiteX95" fmla="*/ 447106 w 880627"/>
                <a:gd name="connsiteY95" fmla="*/ 55824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519639 w 880627"/>
                <a:gd name="connsiteY85" fmla="*/ 383622 h 762626"/>
                <a:gd name="connsiteX86" fmla="*/ 608956 w 880627"/>
                <a:gd name="connsiteY86" fmla="*/ 335743 h 762626"/>
                <a:gd name="connsiteX87" fmla="*/ 608956 w 880627"/>
                <a:gd name="connsiteY87" fmla="*/ 260522 h 762626"/>
                <a:gd name="connsiteX88" fmla="*/ 482477 w 880627"/>
                <a:gd name="connsiteY88" fmla="*/ 260522 h 762626"/>
                <a:gd name="connsiteX89" fmla="*/ 482477 w 880627"/>
                <a:gd name="connsiteY89" fmla="*/ 409382 h 762626"/>
                <a:gd name="connsiteX90" fmla="*/ 482477 w 880627"/>
                <a:gd name="connsiteY90" fmla="*/ 426554 h 762626"/>
                <a:gd name="connsiteX91" fmla="*/ 495050 w 880627"/>
                <a:gd name="connsiteY91" fmla="*/ 409382 h 762626"/>
                <a:gd name="connsiteX92" fmla="*/ 482477 w 880627"/>
                <a:gd name="connsiteY92" fmla="*/ 409382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519639 w 880627"/>
                <a:gd name="connsiteY85" fmla="*/ 383622 h 762626"/>
                <a:gd name="connsiteX86" fmla="*/ 608956 w 880627"/>
                <a:gd name="connsiteY86" fmla="*/ 335743 h 762626"/>
                <a:gd name="connsiteX87" fmla="*/ 608956 w 880627"/>
                <a:gd name="connsiteY87" fmla="*/ 260522 h 762626"/>
                <a:gd name="connsiteX88" fmla="*/ 482477 w 880627"/>
                <a:gd name="connsiteY88" fmla="*/ 260522 h 762626"/>
                <a:gd name="connsiteX89" fmla="*/ 495050 w 880627"/>
                <a:gd name="connsiteY89" fmla="*/ 409382 h 762626"/>
                <a:gd name="connsiteX90" fmla="*/ 482477 w 880627"/>
                <a:gd name="connsiteY90" fmla="*/ 426554 h 762626"/>
                <a:gd name="connsiteX91" fmla="*/ 495050 w 880627"/>
                <a:gd name="connsiteY91" fmla="*/ 409382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519639 w 880627"/>
                <a:gd name="connsiteY85" fmla="*/ 383622 h 762626"/>
                <a:gd name="connsiteX86" fmla="*/ 608956 w 880627"/>
                <a:gd name="connsiteY86" fmla="*/ 335743 h 762626"/>
                <a:gd name="connsiteX87" fmla="*/ 608956 w 880627"/>
                <a:gd name="connsiteY87" fmla="*/ 260522 h 762626"/>
                <a:gd name="connsiteX88" fmla="*/ 482477 w 880627"/>
                <a:gd name="connsiteY88" fmla="*/ 260522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608956 w 880627"/>
                <a:gd name="connsiteY85" fmla="*/ 335743 h 762626"/>
                <a:gd name="connsiteX86" fmla="*/ 608956 w 880627"/>
                <a:gd name="connsiteY86" fmla="*/ 260522 h 762626"/>
                <a:gd name="connsiteX87" fmla="*/ 482477 w 880627"/>
                <a:gd name="connsiteY87" fmla="*/ 260522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608956 w 880627"/>
                <a:gd name="connsiteY85" fmla="*/ 260522 h 762626"/>
                <a:gd name="connsiteX86" fmla="*/ 482477 w 880627"/>
                <a:gd name="connsiteY86" fmla="*/ 260522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83" fmla="*/ 482477 w 880627"/>
                <a:gd name="connsiteY83" fmla="*/ 260522 h 762626"/>
                <a:gd name="connsiteX84" fmla="*/ 482477 w 880627"/>
                <a:gd name="connsiteY84" fmla="*/ 383622 h 762626"/>
                <a:gd name="connsiteX85" fmla="*/ 482477 w 880627"/>
                <a:gd name="connsiteY85" fmla="*/ 260522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634715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82" fmla="*/ 634715 w 880627"/>
                <a:gd name="connsiteY82" fmla="*/ 260519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761196 w 880627"/>
                <a:gd name="connsiteY75" fmla="*/ 260519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81" fmla="*/ 761196 w 880627"/>
                <a:gd name="connsiteY81" fmla="*/ 260519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761196 w 880627"/>
                <a:gd name="connsiteY75" fmla="*/ 351851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80" fmla="*/ 761196 w 880627"/>
                <a:gd name="connsiteY80" fmla="*/ 351851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723406 w 880627"/>
                <a:gd name="connsiteY75" fmla="*/ 337105 h 762626"/>
                <a:gd name="connsiteX76" fmla="*/ 634715 w 880627"/>
                <a:gd name="connsiteY76" fmla="*/ 330681 h 762626"/>
                <a:gd name="connsiteX77" fmla="*/ 663689 w 880627"/>
                <a:gd name="connsiteY77" fmla="*/ 328740 h 762626"/>
                <a:gd name="connsiteX78" fmla="*/ 722575 w 880627"/>
                <a:gd name="connsiteY78" fmla="*/ 336867 h 762626"/>
                <a:gd name="connsiteX79" fmla="*/ 723406 w 880627"/>
                <a:gd name="connsiteY79" fmla="*/ 337105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722575 w 880627"/>
                <a:gd name="connsiteY75" fmla="*/ 336867 h 762626"/>
                <a:gd name="connsiteX76" fmla="*/ 634715 w 880627"/>
                <a:gd name="connsiteY76" fmla="*/ 330681 h 762626"/>
                <a:gd name="connsiteX77" fmla="*/ 663689 w 880627"/>
                <a:gd name="connsiteY77" fmla="*/ 328740 h 762626"/>
                <a:gd name="connsiteX78" fmla="*/ 722575 w 880627"/>
                <a:gd name="connsiteY78" fmla="*/ 336867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 name="connsiteX75" fmla="*/ 722575 w 880627"/>
                <a:gd name="connsiteY75" fmla="*/ 336867 h 762626"/>
                <a:gd name="connsiteX76" fmla="*/ 634715 w 880627"/>
                <a:gd name="connsiteY76" fmla="*/ 330681 h 762626"/>
                <a:gd name="connsiteX77" fmla="*/ 722575 w 880627"/>
                <a:gd name="connsiteY77" fmla="*/ 336867 h 762626"/>
                <a:gd name="connsiteX0" fmla="*/ 139817 w 880627"/>
                <a:gd name="connsiteY0" fmla="*/ 0 h 762626"/>
                <a:gd name="connsiteX1" fmla="*/ 191100 w 880627"/>
                <a:gd name="connsiteY1" fmla="*/ 51283 h 762626"/>
                <a:gd name="connsiteX2" fmla="*/ 191100 w 880627"/>
                <a:gd name="connsiteY2" fmla="*/ 82979 h 762626"/>
                <a:gd name="connsiteX3" fmla="*/ 257644 w 880627"/>
                <a:gd name="connsiteY3" fmla="*/ 82979 h 762626"/>
                <a:gd name="connsiteX4" fmla="*/ 257644 w 880627"/>
                <a:gd name="connsiteY4" fmla="*/ 51283 h 762626"/>
                <a:gd name="connsiteX5" fmla="*/ 308926 w 880627"/>
                <a:gd name="connsiteY5" fmla="*/ 0 h 762626"/>
                <a:gd name="connsiteX6" fmla="*/ 360210 w 880627"/>
                <a:gd name="connsiteY6" fmla="*/ 51283 h 762626"/>
                <a:gd name="connsiteX7" fmla="*/ 360210 w 880627"/>
                <a:gd name="connsiteY7" fmla="*/ 82979 h 762626"/>
                <a:gd name="connsiteX8" fmla="*/ 426754 w 880627"/>
                <a:gd name="connsiteY8" fmla="*/ 82979 h 762626"/>
                <a:gd name="connsiteX9" fmla="*/ 426754 w 880627"/>
                <a:gd name="connsiteY9" fmla="*/ 51283 h 762626"/>
                <a:gd name="connsiteX10" fmla="*/ 478035 w 880627"/>
                <a:gd name="connsiteY10" fmla="*/ 0 h 762626"/>
                <a:gd name="connsiteX11" fmla="*/ 529319 w 880627"/>
                <a:gd name="connsiteY11" fmla="*/ 51283 h 762626"/>
                <a:gd name="connsiteX12" fmla="*/ 529319 w 880627"/>
                <a:gd name="connsiteY12" fmla="*/ 82979 h 762626"/>
                <a:gd name="connsiteX13" fmla="*/ 595863 w 880627"/>
                <a:gd name="connsiteY13" fmla="*/ 82979 h 762626"/>
                <a:gd name="connsiteX14" fmla="*/ 595863 w 880627"/>
                <a:gd name="connsiteY14" fmla="*/ 51283 h 762626"/>
                <a:gd name="connsiteX15" fmla="*/ 647146 w 880627"/>
                <a:gd name="connsiteY15" fmla="*/ 0 h 762626"/>
                <a:gd name="connsiteX16" fmla="*/ 698428 w 880627"/>
                <a:gd name="connsiteY16" fmla="*/ 51283 h 762626"/>
                <a:gd name="connsiteX17" fmla="*/ 698428 w 880627"/>
                <a:gd name="connsiteY17" fmla="*/ 82980 h 762626"/>
                <a:gd name="connsiteX18" fmla="*/ 726070 w 880627"/>
                <a:gd name="connsiteY18" fmla="*/ 82980 h 762626"/>
                <a:gd name="connsiteX19" fmla="*/ 786956 w 880627"/>
                <a:gd name="connsiteY19" fmla="*/ 143864 h 762626"/>
                <a:gd name="connsiteX20" fmla="*/ 786956 w 880627"/>
                <a:gd name="connsiteY20" fmla="*/ 367273 h 762626"/>
                <a:gd name="connsiteX21" fmla="*/ 880627 w 880627"/>
                <a:gd name="connsiteY21" fmla="*/ 545685 h 762626"/>
                <a:gd name="connsiteX22" fmla="*/ 831524 w 880627"/>
                <a:gd name="connsiteY22" fmla="*/ 683137 h 762626"/>
                <a:gd name="connsiteX23" fmla="*/ 813399 w 880627"/>
                <a:gd name="connsiteY23" fmla="*/ 684928 h 762626"/>
                <a:gd name="connsiteX24" fmla="*/ 811606 w 880627"/>
                <a:gd name="connsiteY24" fmla="*/ 666803 h 762626"/>
                <a:gd name="connsiteX25" fmla="*/ 854867 w 880627"/>
                <a:gd name="connsiteY25" fmla="*/ 545685 h 762626"/>
                <a:gd name="connsiteX26" fmla="*/ 721066 w 880627"/>
                <a:gd name="connsiteY26" fmla="*/ 363305 h 762626"/>
                <a:gd name="connsiteX27" fmla="*/ 719989 w 880627"/>
                <a:gd name="connsiteY27" fmla="*/ 362966 h 762626"/>
                <a:gd name="connsiteX28" fmla="*/ 663683 w 880627"/>
                <a:gd name="connsiteY28" fmla="*/ 354503 h 762626"/>
                <a:gd name="connsiteX29" fmla="*/ 472501 w 880627"/>
                <a:gd name="connsiteY29" fmla="*/ 545685 h 762626"/>
                <a:gd name="connsiteX30" fmla="*/ 663683 w 880627"/>
                <a:gd name="connsiteY30" fmla="*/ 736866 h 762626"/>
                <a:gd name="connsiteX31" fmla="*/ 776522 w 880627"/>
                <a:gd name="connsiteY31" fmla="*/ 700016 h 762626"/>
                <a:gd name="connsiteX32" fmla="*/ 794524 w 880627"/>
                <a:gd name="connsiteY32" fmla="*/ 702796 h 762626"/>
                <a:gd name="connsiteX33" fmla="*/ 791744 w 880627"/>
                <a:gd name="connsiteY33" fmla="*/ 720796 h 762626"/>
                <a:gd name="connsiteX34" fmla="*/ 663686 w 880627"/>
                <a:gd name="connsiteY34" fmla="*/ 762626 h 762626"/>
                <a:gd name="connsiteX35" fmla="*/ 518904 w 880627"/>
                <a:gd name="connsiteY35" fmla="*/ 707099 h 762626"/>
                <a:gd name="connsiteX36" fmla="*/ 60884 w 880627"/>
                <a:gd name="connsiteY36" fmla="*/ 707099 h 762626"/>
                <a:gd name="connsiteX37" fmla="*/ 0 w 880627"/>
                <a:gd name="connsiteY37" fmla="*/ 646213 h 762626"/>
                <a:gd name="connsiteX38" fmla="*/ 0 w 880627"/>
                <a:gd name="connsiteY38" fmla="*/ 201735 h 762626"/>
                <a:gd name="connsiteX39" fmla="*/ 12880 w 880627"/>
                <a:gd name="connsiteY39" fmla="*/ 188855 h 762626"/>
                <a:gd name="connsiteX40" fmla="*/ 25758 w 880627"/>
                <a:gd name="connsiteY40" fmla="*/ 201735 h 762626"/>
                <a:gd name="connsiteX41" fmla="*/ 25758 w 880627"/>
                <a:gd name="connsiteY41" fmla="*/ 234764 h 762626"/>
                <a:gd name="connsiteX42" fmla="*/ 761189 w 880627"/>
                <a:gd name="connsiteY42" fmla="*/ 234764 h 762626"/>
                <a:gd name="connsiteX43" fmla="*/ 761189 w 880627"/>
                <a:gd name="connsiteY43" fmla="*/ 143864 h 762626"/>
                <a:gd name="connsiteX44" fmla="*/ 726061 w 880627"/>
                <a:gd name="connsiteY44" fmla="*/ 108738 h 762626"/>
                <a:gd name="connsiteX45" fmla="*/ 698419 w 880627"/>
                <a:gd name="connsiteY45" fmla="*/ 108738 h 762626"/>
                <a:gd name="connsiteX46" fmla="*/ 698419 w 880627"/>
                <a:gd name="connsiteY46" fmla="*/ 140432 h 762626"/>
                <a:gd name="connsiteX47" fmla="*/ 647137 w 880627"/>
                <a:gd name="connsiteY47" fmla="*/ 191717 h 762626"/>
                <a:gd name="connsiteX48" fmla="*/ 595854 w 880627"/>
                <a:gd name="connsiteY48" fmla="*/ 140434 h 762626"/>
                <a:gd name="connsiteX49" fmla="*/ 595854 w 880627"/>
                <a:gd name="connsiteY49" fmla="*/ 108738 h 762626"/>
                <a:gd name="connsiteX50" fmla="*/ 529310 w 880627"/>
                <a:gd name="connsiteY50" fmla="*/ 108738 h 762626"/>
                <a:gd name="connsiteX51" fmla="*/ 529310 w 880627"/>
                <a:gd name="connsiteY51" fmla="*/ 140432 h 762626"/>
                <a:gd name="connsiteX52" fmla="*/ 478028 w 880627"/>
                <a:gd name="connsiteY52" fmla="*/ 191717 h 762626"/>
                <a:gd name="connsiteX53" fmla="*/ 426745 w 880627"/>
                <a:gd name="connsiteY53" fmla="*/ 140434 h 762626"/>
                <a:gd name="connsiteX54" fmla="*/ 426745 w 880627"/>
                <a:gd name="connsiteY54" fmla="*/ 108738 h 762626"/>
                <a:gd name="connsiteX55" fmla="*/ 360201 w 880627"/>
                <a:gd name="connsiteY55" fmla="*/ 108738 h 762626"/>
                <a:gd name="connsiteX56" fmla="*/ 360201 w 880627"/>
                <a:gd name="connsiteY56" fmla="*/ 140432 h 762626"/>
                <a:gd name="connsiteX57" fmla="*/ 308917 w 880627"/>
                <a:gd name="connsiteY57" fmla="*/ 191717 h 762626"/>
                <a:gd name="connsiteX58" fmla="*/ 257636 w 880627"/>
                <a:gd name="connsiteY58" fmla="*/ 140434 h 762626"/>
                <a:gd name="connsiteX59" fmla="*/ 257636 w 880627"/>
                <a:gd name="connsiteY59" fmla="*/ 108738 h 762626"/>
                <a:gd name="connsiteX60" fmla="*/ 191092 w 880627"/>
                <a:gd name="connsiteY60" fmla="*/ 108738 h 762626"/>
                <a:gd name="connsiteX61" fmla="*/ 191092 w 880627"/>
                <a:gd name="connsiteY61" fmla="*/ 140432 h 762626"/>
                <a:gd name="connsiteX62" fmla="*/ 139808 w 880627"/>
                <a:gd name="connsiteY62" fmla="*/ 191717 h 762626"/>
                <a:gd name="connsiteX63" fmla="*/ 88525 w 880627"/>
                <a:gd name="connsiteY63" fmla="*/ 140434 h 762626"/>
                <a:gd name="connsiteX64" fmla="*/ 88525 w 880627"/>
                <a:gd name="connsiteY64" fmla="*/ 108738 h 762626"/>
                <a:gd name="connsiteX65" fmla="*/ 60884 w 880627"/>
                <a:gd name="connsiteY65" fmla="*/ 108738 h 762626"/>
                <a:gd name="connsiteX66" fmla="*/ 25758 w 880627"/>
                <a:gd name="connsiteY66" fmla="*/ 143864 h 762626"/>
                <a:gd name="connsiteX67" fmla="*/ 25758 w 880627"/>
                <a:gd name="connsiteY67" fmla="*/ 150218 h 762626"/>
                <a:gd name="connsiteX68" fmla="*/ 12880 w 880627"/>
                <a:gd name="connsiteY68" fmla="*/ 163097 h 762626"/>
                <a:gd name="connsiteX69" fmla="*/ 0 w 880627"/>
                <a:gd name="connsiteY69" fmla="*/ 150218 h 762626"/>
                <a:gd name="connsiteX70" fmla="*/ 0 w 880627"/>
                <a:gd name="connsiteY70" fmla="*/ 143864 h 762626"/>
                <a:gd name="connsiteX71" fmla="*/ 60884 w 880627"/>
                <a:gd name="connsiteY71" fmla="*/ 82979 h 762626"/>
                <a:gd name="connsiteX72" fmla="*/ 88529 w 880627"/>
                <a:gd name="connsiteY72" fmla="*/ 82979 h 762626"/>
                <a:gd name="connsiteX73" fmla="*/ 88529 w 880627"/>
                <a:gd name="connsiteY73" fmla="*/ 51283 h 762626"/>
                <a:gd name="connsiteX74" fmla="*/ 139817 w 880627"/>
                <a:gd name="connsiteY74" fmla="*/ 0 h 76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80627" h="762626">
                  <a:moveTo>
                    <a:pt x="139817" y="0"/>
                  </a:moveTo>
                  <a:cubicBezTo>
                    <a:pt x="168095" y="0"/>
                    <a:pt x="191100" y="23004"/>
                    <a:pt x="191100" y="51283"/>
                  </a:cubicBezTo>
                  <a:lnTo>
                    <a:pt x="191100" y="82979"/>
                  </a:lnTo>
                  <a:lnTo>
                    <a:pt x="257644" y="82979"/>
                  </a:lnTo>
                  <a:lnTo>
                    <a:pt x="257644" y="51283"/>
                  </a:lnTo>
                  <a:cubicBezTo>
                    <a:pt x="257644" y="23004"/>
                    <a:pt x="280649" y="0"/>
                    <a:pt x="308926" y="0"/>
                  </a:cubicBezTo>
                  <a:cubicBezTo>
                    <a:pt x="337204" y="0"/>
                    <a:pt x="360210" y="23004"/>
                    <a:pt x="360210" y="51283"/>
                  </a:cubicBezTo>
                  <a:lnTo>
                    <a:pt x="360210" y="82979"/>
                  </a:lnTo>
                  <a:lnTo>
                    <a:pt x="426754" y="82979"/>
                  </a:lnTo>
                  <a:lnTo>
                    <a:pt x="426754" y="51283"/>
                  </a:lnTo>
                  <a:cubicBezTo>
                    <a:pt x="426754" y="23004"/>
                    <a:pt x="449758" y="0"/>
                    <a:pt x="478035" y="0"/>
                  </a:cubicBezTo>
                  <a:cubicBezTo>
                    <a:pt x="506315" y="0"/>
                    <a:pt x="529319" y="23004"/>
                    <a:pt x="529319" y="51283"/>
                  </a:cubicBezTo>
                  <a:lnTo>
                    <a:pt x="529319" y="82979"/>
                  </a:lnTo>
                  <a:lnTo>
                    <a:pt x="595863" y="82979"/>
                  </a:lnTo>
                  <a:lnTo>
                    <a:pt x="595863" y="51283"/>
                  </a:lnTo>
                  <a:cubicBezTo>
                    <a:pt x="595863" y="23004"/>
                    <a:pt x="618867" y="0"/>
                    <a:pt x="647146" y="0"/>
                  </a:cubicBezTo>
                  <a:cubicBezTo>
                    <a:pt x="675424" y="0"/>
                    <a:pt x="698428" y="23004"/>
                    <a:pt x="698428" y="51283"/>
                  </a:cubicBezTo>
                  <a:lnTo>
                    <a:pt x="698428" y="82980"/>
                  </a:lnTo>
                  <a:lnTo>
                    <a:pt x="726070" y="82980"/>
                  </a:lnTo>
                  <a:cubicBezTo>
                    <a:pt x="759642" y="82980"/>
                    <a:pt x="786956" y="110294"/>
                    <a:pt x="786956" y="143864"/>
                  </a:cubicBezTo>
                  <a:lnTo>
                    <a:pt x="786956" y="367273"/>
                  </a:lnTo>
                  <a:cubicBezTo>
                    <a:pt x="843508" y="406468"/>
                    <a:pt x="880627" y="471820"/>
                    <a:pt x="880627" y="545685"/>
                  </a:cubicBezTo>
                  <a:cubicBezTo>
                    <a:pt x="880627" y="595702"/>
                    <a:pt x="863188" y="644517"/>
                    <a:pt x="831524" y="683137"/>
                  </a:cubicBezTo>
                  <a:cubicBezTo>
                    <a:pt x="827015" y="688635"/>
                    <a:pt x="818900" y="689438"/>
                    <a:pt x="813399" y="684928"/>
                  </a:cubicBezTo>
                  <a:cubicBezTo>
                    <a:pt x="807898" y="680420"/>
                    <a:pt x="807096" y="672304"/>
                    <a:pt x="811606" y="666803"/>
                  </a:cubicBezTo>
                  <a:cubicBezTo>
                    <a:pt x="839503" y="632775"/>
                    <a:pt x="854867" y="589763"/>
                    <a:pt x="854867" y="545685"/>
                  </a:cubicBezTo>
                  <a:cubicBezTo>
                    <a:pt x="854867" y="460249"/>
                    <a:pt x="798535" y="387733"/>
                    <a:pt x="721066" y="363305"/>
                  </a:cubicBezTo>
                  <a:lnTo>
                    <a:pt x="719989" y="362966"/>
                  </a:lnTo>
                  <a:cubicBezTo>
                    <a:pt x="701755" y="357356"/>
                    <a:pt x="682758" y="354503"/>
                    <a:pt x="663683" y="354503"/>
                  </a:cubicBezTo>
                  <a:cubicBezTo>
                    <a:pt x="558266" y="354503"/>
                    <a:pt x="472501" y="440268"/>
                    <a:pt x="472501" y="545685"/>
                  </a:cubicBezTo>
                  <a:cubicBezTo>
                    <a:pt x="472501" y="651102"/>
                    <a:pt x="558264" y="736866"/>
                    <a:pt x="663683" y="736866"/>
                  </a:cubicBezTo>
                  <a:cubicBezTo>
                    <a:pt x="704590" y="736866"/>
                    <a:pt x="743607" y="724125"/>
                    <a:pt x="776522" y="700016"/>
                  </a:cubicBezTo>
                  <a:cubicBezTo>
                    <a:pt x="782258" y="695814"/>
                    <a:pt x="790319" y="697056"/>
                    <a:pt x="794524" y="702796"/>
                  </a:cubicBezTo>
                  <a:cubicBezTo>
                    <a:pt x="798728" y="708533"/>
                    <a:pt x="797484" y="716593"/>
                    <a:pt x="791744" y="720796"/>
                  </a:cubicBezTo>
                  <a:cubicBezTo>
                    <a:pt x="754383" y="748161"/>
                    <a:pt x="710102" y="762626"/>
                    <a:pt x="663686" y="762626"/>
                  </a:cubicBezTo>
                  <a:cubicBezTo>
                    <a:pt x="608095" y="762626"/>
                    <a:pt x="557333" y="741602"/>
                    <a:pt x="518904" y="707099"/>
                  </a:cubicBezTo>
                  <a:lnTo>
                    <a:pt x="60884" y="707099"/>
                  </a:lnTo>
                  <a:cubicBezTo>
                    <a:pt x="27313" y="707099"/>
                    <a:pt x="0" y="679786"/>
                    <a:pt x="0" y="646213"/>
                  </a:cubicBezTo>
                  <a:lnTo>
                    <a:pt x="0" y="201735"/>
                  </a:lnTo>
                  <a:cubicBezTo>
                    <a:pt x="0" y="194620"/>
                    <a:pt x="5766" y="188855"/>
                    <a:pt x="12880" y="188855"/>
                  </a:cubicBezTo>
                  <a:cubicBezTo>
                    <a:pt x="19992" y="188855"/>
                    <a:pt x="25758" y="194623"/>
                    <a:pt x="25758" y="201735"/>
                  </a:cubicBezTo>
                  <a:lnTo>
                    <a:pt x="25758" y="234764"/>
                  </a:lnTo>
                  <a:lnTo>
                    <a:pt x="761189" y="234764"/>
                  </a:lnTo>
                  <a:lnTo>
                    <a:pt x="761189" y="143864"/>
                  </a:lnTo>
                  <a:cubicBezTo>
                    <a:pt x="761189" y="124496"/>
                    <a:pt x="745431" y="108738"/>
                    <a:pt x="726061" y="108738"/>
                  </a:cubicBezTo>
                  <a:lnTo>
                    <a:pt x="698419" y="108738"/>
                  </a:lnTo>
                  <a:lnTo>
                    <a:pt x="698419" y="140432"/>
                  </a:lnTo>
                  <a:cubicBezTo>
                    <a:pt x="698419" y="168713"/>
                    <a:pt x="675415" y="191717"/>
                    <a:pt x="647137" y="191717"/>
                  </a:cubicBezTo>
                  <a:cubicBezTo>
                    <a:pt x="618860" y="191717"/>
                    <a:pt x="595854" y="168713"/>
                    <a:pt x="595854" y="140434"/>
                  </a:cubicBezTo>
                  <a:lnTo>
                    <a:pt x="595854" y="108738"/>
                  </a:lnTo>
                  <a:lnTo>
                    <a:pt x="529310" y="108738"/>
                  </a:lnTo>
                  <a:lnTo>
                    <a:pt x="529310" y="140432"/>
                  </a:lnTo>
                  <a:cubicBezTo>
                    <a:pt x="529310" y="168713"/>
                    <a:pt x="506306" y="191717"/>
                    <a:pt x="478028" y="191717"/>
                  </a:cubicBezTo>
                  <a:cubicBezTo>
                    <a:pt x="449749" y="191717"/>
                    <a:pt x="426745" y="168713"/>
                    <a:pt x="426745" y="140434"/>
                  </a:cubicBezTo>
                  <a:lnTo>
                    <a:pt x="426745" y="108738"/>
                  </a:lnTo>
                  <a:lnTo>
                    <a:pt x="360201" y="108738"/>
                  </a:lnTo>
                  <a:lnTo>
                    <a:pt x="360201" y="140432"/>
                  </a:lnTo>
                  <a:cubicBezTo>
                    <a:pt x="360201" y="168713"/>
                    <a:pt x="337197" y="191717"/>
                    <a:pt x="308917" y="191717"/>
                  </a:cubicBezTo>
                  <a:cubicBezTo>
                    <a:pt x="280640" y="191717"/>
                    <a:pt x="257636" y="168713"/>
                    <a:pt x="257636" y="140434"/>
                  </a:cubicBezTo>
                  <a:lnTo>
                    <a:pt x="257636" y="108738"/>
                  </a:lnTo>
                  <a:lnTo>
                    <a:pt x="191092" y="108738"/>
                  </a:lnTo>
                  <a:lnTo>
                    <a:pt x="191092" y="140432"/>
                  </a:lnTo>
                  <a:cubicBezTo>
                    <a:pt x="191092" y="168713"/>
                    <a:pt x="168086" y="191717"/>
                    <a:pt x="139808" y="191717"/>
                  </a:cubicBezTo>
                  <a:cubicBezTo>
                    <a:pt x="111530" y="191717"/>
                    <a:pt x="88525" y="168713"/>
                    <a:pt x="88525" y="140434"/>
                  </a:cubicBezTo>
                  <a:lnTo>
                    <a:pt x="88525" y="108738"/>
                  </a:lnTo>
                  <a:lnTo>
                    <a:pt x="60884" y="108738"/>
                  </a:lnTo>
                  <a:cubicBezTo>
                    <a:pt x="41516" y="108738"/>
                    <a:pt x="25758" y="124496"/>
                    <a:pt x="25758" y="143864"/>
                  </a:cubicBezTo>
                  <a:lnTo>
                    <a:pt x="25758" y="150218"/>
                  </a:lnTo>
                  <a:cubicBezTo>
                    <a:pt x="25758" y="157330"/>
                    <a:pt x="19992" y="163097"/>
                    <a:pt x="12880" y="163097"/>
                  </a:cubicBezTo>
                  <a:cubicBezTo>
                    <a:pt x="5766" y="163097"/>
                    <a:pt x="0" y="157330"/>
                    <a:pt x="0" y="150218"/>
                  </a:cubicBezTo>
                  <a:lnTo>
                    <a:pt x="0" y="143864"/>
                  </a:lnTo>
                  <a:cubicBezTo>
                    <a:pt x="0" y="110290"/>
                    <a:pt x="27313" y="82979"/>
                    <a:pt x="60884" y="82979"/>
                  </a:cubicBezTo>
                  <a:lnTo>
                    <a:pt x="88529" y="82979"/>
                  </a:lnTo>
                  <a:lnTo>
                    <a:pt x="88529" y="51283"/>
                  </a:lnTo>
                  <a:cubicBezTo>
                    <a:pt x="88529" y="23004"/>
                    <a:pt x="111539" y="0"/>
                    <a:pt x="139817" y="0"/>
                  </a:cubicBezTo>
                  <a:close/>
                </a:path>
              </a:pathLst>
            </a:custGeom>
            <a:noFill/>
            <a:ln w="12700" cap="flat">
              <a:solidFill>
                <a:schemeClr val="bg1"/>
              </a:solidFill>
              <a:prstDash val="solid"/>
              <a:miter/>
            </a:ln>
          </p:spPr>
          <p:txBody>
            <a:bodyPr rtlCol="0" anchor="ctr"/>
            <a:lstStyle/>
            <a:p>
              <a:endParaRPr lang="en-US" noProof="0"/>
            </a:p>
          </p:txBody>
        </p:sp>
        <p:sp>
          <p:nvSpPr>
            <p:cNvPr id="28" name="Freeform 27">
              <a:extLst>
                <a:ext uri="{FF2B5EF4-FFF2-40B4-BE49-F238E27FC236}">
                  <a16:creationId xmlns:a16="http://schemas.microsoft.com/office/drawing/2014/main" id="{F4615AC9-2162-2434-DB15-226724D8D962}"/>
                </a:ext>
              </a:extLst>
            </p:cNvPr>
            <p:cNvSpPr/>
            <p:nvPr/>
          </p:nvSpPr>
          <p:spPr>
            <a:xfrm>
              <a:off x="4561575" y="974630"/>
              <a:ext cx="319715" cy="319712"/>
            </a:xfrm>
            <a:custGeom>
              <a:avLst/>
              <a:gdLst>
                <a:gd name="connsiteX0" fmla="*/ 159858 w 319715"/>
                <a:gd name="connsiteY0" fmla="*/ 0 h 319712"/>
                <a:gd name="connsiteX1" fmla="*/ 319715 w 319715"/>
                <a:gd name="connsiteY1" fmla="*/ 159854 h 319712"/>
                <a:gd name="connsiteX2" fmla="*/ 159858 w 319715"/>
                <a:gd name="connsiteY2" fmla="*/ 319712 h 319712"/>
                <a:gd name="connsiteX3" fmla="*/ 0 w 319715"/>
                <a:gd name="connsiteY3" fmla="*/ 159854 h 319712"/>
                <a:gd name="connsiteX4" fmla="*/ 24503 w 319715"/>
                <a:gd name="connsiteY4" fmla="*/ 74842 h 319712"/>
                <a:gd name="connsiteX5" fmla="*/ 42263 w 319715"/>
                <a:gd name="connsiteY5" fmla="*/ 70801 h 319712"/>
                <a:gd name="connsiteX6" fmla="*/ 46303 w 319715"/>
                <a:gd name="connsiteY6" fmla="*/ 88560 h 319712"/>
                <a:gd name="connsiteX7" fmla="*/ 25760 w 319715"/>
                <a:gd name="connsiteY7" fmla="*/ 159854 h 319712"/>
                <a:gd name="connsiteX8" fmla="*/ 159858 w 319715"/>
                <a:gd name="connsiteY8" fmla="*/ 293952 h 319712"/>
                <a:gd name="connsiteX9" fmla="*/ 293955 w 319715"/>
                <a:gd name="connsiteY9" fmla="*/ 159854 h 319712"/>
                <a:gd name="connsiteX10" fmla="*/ 159858 w 319715"/>
                <a:gd name="connsiteY10" fmla="*/ 25757 h 319712"/>
                <a:gd name="connsiteX11" fmla="*/ 77252 w 319715"/>
                <a:gd name="connsiteY11" fmla="*/ 54266 h 319712"/>
                <a:gd name="connsiteX12" fmla="*/ 59168 w 319715"/>
                <a:gd name="connsiteY12" fmla="*/ 52072 h 319712"/>
                <a:gd name="connsiteX13" fmla="*/ 61364 w 319715"/>
                <a:gd name="connsiteY13" fmla="*/ 33992 h 319712"/>
                <a:gd name="connsiteX14" fmla="*/ 159858 w 319715"/>
                <a:gd name="connsiteY14" fmla="*/ 0 h 31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715" h="319712">
                  <a:moveTo>
                    <a:pt x="159858" y="0"/>
                  </a:moveTo>
                  <a:cubicBezTo>
                    <a:pt x="248005" y="0"/>
                    <a:pt x="319715" y="71713"/>
                    <a:pt x="319715" y="159854"/>
                  </a:cubicBezTo>
                  <a:cubicBezTo>
                    <a:pt x="319715" y="248001"/>
                    <a:pt x="248005" y="319712"/>
                    <a:pt x="159858" y="319712"/>
                  </a:cubicBezTo>
                  <a:cubicBezTo>
                    <a:pt x="71711" y="319712"/>
                    <a:pt x="0" y="247999"/>
                    <a:pt x="0" y="159854"/>
                  </a:cubicBezTo>
                  <a:cubicBezTo>
                    <a:pt x="0" y="129710"/>
                    <a:pt x="8474" y="100313"/>
                    <a:pt x="24503" y="74842"/>
                  </a:cubicBezTo>
                  <a:cubicBezTo>
                    <a:pt x="28291" y="68823"/>
                    <a:pt x="36243" y="67012"/>
                    <a:pt x="42263" y="70801"/>
                  </a:cubicBezTo>
                  <a:cubicBezTo>
                    <a:pt x="48281" y="74591"/>
                    <a:pt x="50092" y="82541"/>
                    <a:pt x="46303" y="88560"/>
                  </a:cubicBezTo>
                  <a:cubicBezTo>
                    <a:pt x="32863" y="109916"/>
                    <a:pt x="25760" y="134569"/>
                    <a:pt x="25760" y="159854"/>
                  </a:cubicBezTo>
                  <a:cubicBezTo>
                    <a:pt x="25760" y="233796"/>
                    <a:pt x="85916" y="293952"/>
                    <a:pt x="159858" y="293952"/>
                  </a:cubicBezTo>
                  <a:cubicBezTo>
                    <a:pt x="233800" y="293952"/>
                    <a:pt x="293955" y="233796"/>
                    <a:pt x="293955" y="159854"/>
                  </a:cubicBezTo>
                  <a:cubicBezTo>
                    <a:pt x="293955" y="85913"/>
                    <a:pt x="233800" y="25757"/>
                    <a:pt x="159858" y="25757"/>
                  </a:cubicBezTo>
                  <a:cubicBezTo>
                    <a:pt x="129621" y="25757"/>
                    <a:pt x="101055" y="35616"/>
                    <a:pt x="77252" y="54266"/>
                  </a:cubicBezTo>
                  <a:cubicBezTo>
                    <a:pt x="71654" y="58655"/>
                    <a:pt x="63555" y="57671"/>
                    <a:pt x="59168" y="52072"/>
                  </a:cubicBezTo>
                  <a:cubicBezTo>
                    <a:pt x="54781" y="46475"/>
                    <a:pt x="55764" y="38380"/>
                    <a:pt x="61364" y="33992"/>
                  </a:cubicBezTo>
                  <a:cubicBezTo>
                    <a:pt x="89745" y="11754"/>
                    <a:pt x="123804" y="0"/>
                    <a:pt x="159858" y="0"/>
                  </a:cubicBezTo>
                  <a:close/>
                </a:path>
              </a:pathLst>
            </a:custGeom>
            <a:solidFill>
              <a:schemeClr val="accent3"/>
            </a:solidFill>
            <a:ln w="1172" cap="flat">
              <a:noFill/>
              <a:prstDash val="solid"/>
              <a:miter/>
            </a:ln>
          </p:spPr>
          <p:txBody>
            <a:bodyPr rtlCol="0" anchor="ctr"/>
            <a:lstStyle/>
            <a:p>
              <a:endParaRPr lang="en-US" noProof="0"/>
            </a:p>
          </p:txBody>
        </p:sp>
        <p:sp>
          <p:nvSpPr>
            <p:cNvPr id="29" name="Freeform 28">
              <a:extLst>
                <a:ext uri="{FF2B5EF4-FFF2-40B4-BE49-F238E27FC236}">
                  <a16:creationId xmlns:a16="http://schemas.microsoft.com/office/drawing/2014/main" id="{54A02432-44E4-9B4D-6A61-1172580913E5}"/>
                </a:ext>
              </a:extLst>
            </p:cNvPr>
            <p:cNvSpPr/>
            <p:nvPr/>
          </p:nvSpPr>
          <p:spPr>
            <a:xfrm>
              <a:off x="4708556" y="1039811"/>
              <a:ext cx="126772" cy="126774"/>
            </a:xfrm>
            <a:custGeom>
              <a:avLst/>
              <a:gdLst>
                <a:gd name="connsiteX0" fmla="*/ 12880 w 126772"/>
                <a:gd name="connsiteY0" fmla="*/ 0 h 126774"/>
                <a:gd name="connsiteX1" fmla="*/ 25758 w 126772"/>
                <a:gd name="connsiteY1" fmla="*/ 12880 h 126774"/>
                <a:gd name="connsiteX2" fmla="*/ 25758 w 126772"/>
                <a:gd name="connsiteY2" fmla="*/ 101014 h 126774"/>
                <a:gd name="connsiteX3" fmla="*/ 113894 w 126772"/>
                <a:gd name="connsiteY3" fmla="*/ 101014 h 126774"/>
                <a:gd name="connsiteX4" fmla="*/ 126772 w 126772"/>
                <a:gd name="connsiteY4" fmla="*/ 113896 h 126774"/>
                <a:gd name="connsiteX5" fmla="*/ 113894 w 126772"/>
                <a:gd name="connsiteY5" fmla="*/ 126774 h 126774"/>
                <a:gd name="connsiteX6" fmla="*/ 12880 w 126772"/>
                <a:gd name="connsiteY6" fmla="*/ 126774 h 126774"/>
                <a:gd name="connsiteX7" fmla="*/ 0 w 126772"/>
                <a:gd name="connsiteY7" fmla="*/ 113896 h 126774"/>
                <a:gd name="connsiteX8" fmla="*/ 0 w 126772"/>
                <a:gd name="connsiteY8" fmla="*/ 12880 h 126774"/>
                <a:gd name="connsiteX9" fmla="*/ 12880 w 126772"/>
                <a:gd name="connsiteY9" fmla="*/ 0 h 12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772" h="126774">
                  <a:moveTo>
                    <a:pt x="12880" y="0"/>
                  </a:moveTo>
                  <a:cubicBezTo>
                    <a:pt x="19992" y="0"/>
                    <a:pt x="25758" y="5766"/>
                    <a:pt x="25758" y="12880"/>
                  </a:cubicBezTo>
                  <a:lnTo>
                    <a:pt x="25758" y="101014"/>
                  </a:lnTo>
                  <a:lnTo>
                    <a:pt x="113894" y="101014"/>
                  </a:lnTo>
                  <a:cubicBezTo>
                    <a:pt x="121006" y="101014"/>
                    <a:pt x="126772" y="106784"/>
                    <a:pt x="126772" y="113896"/>
                  </a:cubicBezTo>
                  <a:cubicBezTo>
                    <a:pt x="126772" y="121008"/>
                    <a:pt x="121006" y="126774"/>
                    <a:pt x="113894" y="126774"/>
                  </a:cubicBezTo>
                  <a:lnTo>
                    <a:pt x="12880" y="126774"/>
                  </a:lnTo>
                  <a:cubicBezTo>
                    <a:pt x="5766" y="126774"/>
                    <a:pt x="0" y="121008"/>
                    <a:pt x="0" y="113896"/>
                  </a:cubicBezTo>
                  <a:lnTo>
                    <a:pt x="0" y="12880"/>
                  </a:lnTo>
                  <a:cubicBezTo>
                    <a:pt x="0" y="5766"/>
                    <a:pt x="5766" y="0"/>
                    <a:pt x="12880" y="0"/>
                  </a:cubicBezTo>
                  <a:close/>
                </a:path>
              </a:pathLst>
            </a:custGeom>
            <a:solidFill>
              <a:srgbClr val="FF6C66"/>
            </a:solidFill>
            <a:ln w="1172" cap="flat">
              <a:noFill/>
              <a:prstDash val="solid"/>
              <a:miter/>
            </a:ln>
          </p:spPr>
          <p:txBody>
            <a:bodyPr rtlCol="0" anchor="ctr"/>
            <a:lstStyle/>
            <a:p>
              <a:endParaRPr lang="en-US" noProof="0"/>
            </a:p>
          </p:txBody>
        </p:sp>
        <p:grpSp>
          <p:nvGrpSpPr>
            <p:cNvPr id="30" name="Group 29">
              <a:extLst>
                <a:ext uri="{FF2B5EF4-FFF2-40B4-BE49-F238E27FC236}">
                  <a16:creationId xmlns:a16="http://schemas.microsoft.com/office/drawing/2014/main" id="{36BF053A-C29A-61CB-F131-B765C18D9B4E}"/>
                </a:ext>
              </a:extLst>
            </p:cNvPr>
            <p:cNvGrpSpPr/>
            <p:nvPr/>
          </p:nvGrpSpPr>
          <p:grpSpPr>
            <a:xfrm>
              <a:off x="4083507" y="849323"/>
              <a:ext cx="735438" cy="420821"/>
              <a:chOff x="4083507" y="849323"/>
              <a:chExt cx="735438" cy="420821"/>
            </a:xfrm>
          </p:grpSpPr>
          <p:sp>
            <p:nvSpPr>
              <p:cNvPr id="31" name="Freeform 30">
                <a:extLst>
                  <a:ext uri="{FF2B5EF4-FFF2-40B4-BE49-F238E27FC236}">
                    <a16:creationId xmlns:a16="http://schemas.microsoft.com/office/drawing/2014/main" id="{A4BE170A-6812-96E5-C41E-206AA38F01AB}"/>
                  </a:ext>
                </a:extLst>
              </p:cNvPr>
              <p:cNvSpPr/>
              <p:nvPr/>
            </p:nvSpPr>
            <p:spPr>
              <a:xfrm>
                <a:off x="4692464" y="849323"/>
                <a:ext cx="126481" cy="91332"/>
              </a:xfrm>
              <a:custGeom>
                <a:avLst/>
                <a:gdLst>
                  <a:gd name="connsiteX0" fmla="*/ 0 w 126481"/>
                  <a:gd name="connsiteY0" fmla="*/ 0 h 91332"/>
                  <a:gd name="connsiteX1" fmla="*/ 126481 w 126481"/>
                  <a:gd name="connsiteY1" fmla="*/ 0 h 91332"/>
                  <a:gd name="connsiteX2" fmla="*/ 126481 w 126481"/>
                  <a:gd name="connsiteY2" fmla="*/ 91332 h 91332"/>
                  <a:gd name="connsiteX3" fmla="*/ 88691 w 126481"/>
                  <a:gd name="connsiteY3" fmla="*/ 76586 h 91332"/>
                  <a:gd name="connsiteX4" fmla="*/ 87860 w 126481"/>
                  <a:gd name="connsiteY4" fmla="*/ 76348 h 91332"/>
                  <a:gd name="connsiteX5" fmla="*/ 28974 w 126481"/>
                  <a:gd name="connsiteY5" fmla="*/ 68221 h 91332"/>
                  <a:gd name="connsiteX6" fmla="*/ 0 w 126481"/>
                  <a:gd name="connsiteY6" fmla="*/ 70162 h 91332"/>
                  <a:gd name="connsiteX7" fmla="*/ 0 w 126481"/>
                  <a:gd name="connsiteY7" fmla="*/ 0 h 91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481" h="91332">
                    <a:moveTo>
                      <a:pt x="0" y="0"/>
                    </a:moveTo>
                    <a:lnTo>
                      <a:pt x="126481" y="0"/>
                    </a:lnTo>
                    <a:lnTo>
                      <a:pt x="126481" y="91332"/>
                    </a:lnTo>
                    <a:cubicBezTo>
                      <a:pt x="114352" y="85220"/>
                      <a:pt x="101700" y="80305"/>
                      <a:pt x="88691" y="76586"/>
                    </a:cubicBezTo>
                    <a:cubicBezTo>
                      <a:pt x="88414" y="76507"/>
                      <a:pt x="88136" y="76428"/>
                      <a:pt x="87860" y="76348"/>
                    </a:cubicBezTo>
                    <a:cubicBezTo>
                      <a:pt x="68729" y="70945"/>
                      <a:pt x="48853" y="68221"/>
                      <a:pt x="28974" y="68221"/>
                    </a:cubicBezTo>
                    <a:cubicBezTo>
                      <a:pt x="19150" y="68223"/>
                      <a:pt x="9482" y="68890"/>
                      <a:pt x="0" y="70162"/>
                    </a:cubicBezTo>
                    <a:lnTo>
                      <a:pt x="0" y="0"/>
                    </a:lnTo>
                    <a:close/>
                  </a:path>
                </a:pathLst>
              </a:custGeom>
              <a:solidFill>
                <a:schemeClr val="accent3">
                  <a:lumMod val="20000"/>
                  <a:lumOff val="80000"/>
                </a:schemeClr>
              </a:solidFill>
              <a:ln w="1172" cap="flat">
                <a:noFill/>
                <a:prstDash val="solid"/>
                <a:miter/>
              </a:ln>
            </p:spPr>
            <p:txBody>
              <a:bodyPr rtlCol="0" anchor="ctr"/>
              <a:lstStyle/>
              <a:p>
                <a:endParaRPr lang="en-US" noProof="0"/>
              </a:p>
            </p:txBody>
          </p:sp>
          <p:sp>
            <p:nvSpPr>
              <p:cNvPr id="32" name="Freeform 31">
                <a:extLst>
                  <a:ext uri="{FF2B5EF4-FFF2-40B4-BE49-F238E27FC236}">
                    <a16:creationId xmlns:a16="http://schemas.microsoft.com/office/drawing/2014/main" id="{E3428EA1-11D1-C00F-2A31-22FE26A025E8}"/>
                  </a:ext>
                </a:extLst>
              </p:cNvPr>
              <p:cNvSpPr/>
              <p:nvPr/>
            </p:nvSpPr>
            <p:spPr>
              <a:xfrm>
                <a:off x="4083507" y="849326"/>
                <a:ext cx="126478" cy="123100"/>
              </a:xfrm>
              <a:custGeom>
                <a:avLst/>
                <a:gdLst>
                  <a:gd name="connsiteX0" fmla="*/ 0 w 126478"/>
                  <a:gd name="connsiteY0" fmla="*/ 0 h 123100"/>
                  <a:gd name="connsiteX1" fmla="*/ 126478 w 126478"/>
                  <a:gd name="connsiteY1" fmla="*/ 0 h 123100"/>
                  <a:gd name="connsiteX2" fmla="*/ 126478 w 126478"/>
                  <a:gd name="connsiteY2" fmla="*/ 123100 h 123100"/>
                  <a:gd name="connsiteX3" fmla="*/ 0 w 126478"/>
                  <a:gd name="connsiteY3" fmla="*/ 123100 h 123100"/>
                  <a:gd name="connsiteX4" fmla="*/ 0 w 126478"/>
                  <a:gd name="connsiteY4" fmla="*/ 0 h 123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78" h="123100">
                    <a:moveTo>
                      <a:pt x="0" y="0"/>
                    </a:moveTo>
                    <a:lnTo>
                      <a:pt x="126478" y="0"/>
                    </a:lnTo>
                    <a:lnTo>
                      <a:pt x="126478" y="123100"/>
                    </a:lnTo>
                    <a:lnTo>
                      <a:pt x="0" y="123100"/>
                    </a:lnTo>
                    <a:lnTo>
                      <a:pt x="0" y="0"/>
                    </a:lnTo>
                    <a:close/>
                  </a:path>
                </a:pathLst>
              </a:custGeom>
              <a:solidFill>
                <a:schemeClr val="accent1">
                  <a:lumMod val="20000"/>
                  <a:lumOff val="80000"/>
                </a:schemeClr>
              </a:solidFill>
              <a:ln w="1172" cap="flat">
                <a:noFill/>
                <a:prstDash val="solid"/>
                <a:miter/>
              </a:ln>
            </p:spPr>
            <p:txBody>
              <a:bodyPr rtlCol="0" anchor="ctr"/>
              <a:lstStyle/>
              <a:p>
                <a:endParaRPr lang="en-US" noProof="0"/>
              </a:p>
            </p:txBody>
          </p:sp>
          <p:sp>
            <p:nvSpPr>
              <p:cNvPr id="33" name="Freeform 32">
                <a:extLst>
                  <a:ext uri="{FF2B5EF4-FFF2-40B4-BE49-F238E27FC236}">
                    <a16:creationId xmlns:a16="http://schemas.microsoft.com/office/drawing/2014/main" id="{0EFF1B10-35A0-5CA9-475F-759924A2A8D9}"/>
                  </a:ext>
                </a:extLst>
              </p:cNvPr>
              <p:cNvSpPr/>
              <p:nvPr/>
            </p:nvSpPr>
            <p:spPr>
              <a:xfrm>
                <a:off x="4235749" y="849326"/>
                <a:ext cx="126479" cy="123100"/>
              </a:xfrm>
              <a:custGeom>
                <a:avLst/>
                <a:gdLst>
                  <a:gd name="connsiteX0" fmla="*/ 0 w 126479"/>
                  <a:gd name="connsiteY0" fmla="*/ 0 h 123100"/>
                  <a:gd name="connsiteX1" fmla="*/ 126479 w 126479"/>
                  <a:gd name="connsiteY1" fmla="*/ 0 h 123100"/>
                  <a:gd name="connsiteX2" fmla="*/ 126479 w 126479"/>
                  <a:gd name="connsiteY2" fmla="*/ 123100 h 123100"/>
                  <a:gd name="connsiteX3" fmla="*/ 0 w 126479"/>
                  <a:gd name="connsiteY3" fmla="*/ 123100 h 123100"/>
                  <a:gd name="connsiteX4" fmla="*/ 0 w 126479"/>
                  <a:gd name="connsiteY4" fmla="*/ 0 h 123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79" h="123100">
                    <a:moveTo>
                      <a:pt x="0" y="0"/>
                    </a:moveTo>
                    <a:lnTo>
                      <a:pt x="126479" y="0"/>
                    </a:lnTo>
                    <a:lnTo>
                      <a:pt x="126479" y="123100"/>
                    </a:lnTo>
                    <a:lnTo>
                      <a:pt x="0" y="123100"/>
                    </a:lnTo>
                    <a:lnTo>
                      <a:pt x="0" y="0"/>
                    </a:lnTo>
                    <a:close/>
                  </a:path>
                </a:pathLst>
              </a:custGeom>
              <a:solidFill>
                <a:schemeClr val="accent3">
                  <a:lumMod val="20000"/>
                  <a:lumOff val="80000"/>
                </a:schemeClr>
              </a:solidFill>
              <a:ln w="1172" cap="flat">
                <a:noFill/>
                <a:prstDash val="solid"/>
                <a:miter/>
              </a:ln>
            </p:spPr>
            <p:txBody>
              <a:bodyPr rtlCol="0" anchor="ctr"/>
              <a:lstStyle/>
              <a:p>
                <a:endParaRPr lang="en-US" noProof="0"/>
              </a:p>
            </p:txBody>
          </p:sp>
          <p:sp>
            <p:nvSpPr>
              <p:cNvPr id="34" name="Freeform 33">
                <a:extLst>
                  <a:ext uri="{FF2B5EF4-FFF2-40B4-BE49-F238E27FC236}">
                    <a16:creationId xmlns:a16="http://schemas.microsoft.com/office/drawing/2014/main" id="{0214DFD4-F21D-6613-ABA3-3C4F1F500A12}"/>
                  </a:ext>
                </a:extLst>
              </p:cNvPr>
              <p:cNvSpPr/>
              <p:nvPr/>
            </p:nvSpPr>
            <p:spPr>
              <a:xfrm>
                <a:off x="4387987" y="849326"/>
                <a:ext cx="126479" cy="123100"/>
              </a:xfrm>
              <a:custGeom>
                <a:avLst/>
                <a:gdLst>
                  <a:gd name="connsiteX0" fmla="*/ 0 w 126479"/>
                  <a:gd name="connsiteY0" fmla="*/ 0 h 123100"/>
                  <a:gd name="connsiteX1" fmla="*/ 126479 w 126479"/>
                  <a:gd name="connsiteY1" fmla="*/ 0 h 123100"/>
                  <a:gd name="connsiteX2" fmla="*/ 126479 w 126479"/>
                  <a:gd name="connsiteY2" fmla="*/ 123100 h 123100"/>
                  <a:gd name="connsiteX3" fmla="*/ 0 w 126479"/>
                  <a:gd name="connsiteY3" fmla="*/ 123100 h 123100"/>
                  <a:gd name="connsiteX4" fmla="*/ 0 w 126479"/>
                  <a:gd name="connsiteY4" fmla="*/ 0 h 123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79" h="123100">
                    <a:moveTo>
                      <a:pt x="0" y="0"/>
                    </a:moveTo>
                    <a:lnTo>
                      <a:pt x="126479" y="0"/>
                    </a:lnTo>
                    <a:lnTo>
                      <a:pt x="126479" y="123100"/>
                    </a:lnTo>
                    <a:lnTo>
                      <a:pt x="0" y="123100"/>
                    </a:lnTo>
                    <a:lnTo>
                      <a:pt x="0" y="0"/>
                    </a:lnTo>
                    <a:close/>
                  </a:path>
                </a:pathLst>
              </a:custGeom>
              <a:solidFill>
                <a:schemeClr val="tx2">
                  <a:lumMod val="20000"/>
                  <a:lumOff val="80000"/>
                </a:schemeClr>
              </a:solidFill>
              <a:ln w="1172" cap="flat">
                <a:noFill/>
                <a:prstDash val="solid"/>
                <a:miter/>
              </a:ln>
            </p:spPr>
            <p:txBody>
              <a:bodyPr rtlCol="0" anchor="ctr"/>
              <a:lstStyle/>
              <a:p>
                <a:endParaRPr lang="en-US" noProof="0"/>
              </a:p>
            </p:txBody>
          </p:sp>
          <p:sp>
            <p:nvSpPr>
              <p:cNvPr id="35" name="Freeform 34">
                <a:extLst>
                  <a:ext uri="{FF2B5EF4-FFF2-40B4-BE49-F238E27FC236}">
                    <a16:creationId xmlns:a16="http://schemas.microsoft.com/office/drawing/2014/main" id="{F8F9F6E8-079E-E5F8-09EE-959830E595C5}"/>
                  </a:ext>
                </a:extLst>
              </p:cNvPr>
              <p:cNvSpPr/>
              <p:nvPr/>
            </p:nvSpPr>
            <p:spPr>
              <a:xfrm>
                <a:off x="4540226" y="849326"/>
                <a:ext cx="126479" cy="123100"/>
              </a:xfrm>
              <a:custGeom>
                <a:avLst/>
                <a:gdLst>
                  <a:gd name="connsiteX0" fmla="*/ 0 w 126479"/>
                  <a:gd name="connsiteY0" fmla="*/ 0 h 123100"/>
                  <a:gd name="connsiteX1" fmla="*/ 126479 w 126479"/>
                  <a:gd name="connsiteY1" fmla="*/ 0 h 123100"/>
                  <a:gd name="connsiteX2" fmla="*/ 126479 w 126479"/>
                  <a:gd name="connsiteY2" fmla="*/ 75221 h 123100"/>
                  <a:gd name="connsiteX3" fmla="*/ 37162 w 126479"/>
                  <a:gd name="connsiteY3" fmla="*/ 123100 h 123100"/>
                  <a:gd name="connsiteX4" fmla="*/ 0 w 126479"/>
                  <a:gd name="connsiteY4" fmla="*/ 123100 h 123100"/>
                  <a:gd name="connsiteX5" fmla="*/ 0 w 126479"/>
                  <a:gd name="connsiteY5" fmla="*/ 0 h 12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479" h="123100">
                    <a:moveTo>
                      <a:pt x="0" y="0"/>
                    </a:moveTo>
                    <a:lnTo>
                      <a:pt x="126479" y="0"/>
                    </a:lnTo>
                    <a:lnTo>
                      <a:pt x="126479" y="75221"/>
                    </a:lnTo>
                    <a:cubicBezTo>
                      <a:pt x="92852" y="83992"/>
                      <a:pt x="62384" y="100657"/>
                      <a:pt x="37162" y="123100"/>
                    </a:cubicBezTo>
                    <a:lnTo>
                      <a:pt x="0" y="123100"/>
                    </a:lnTo>
                    <a:lnTo>
                      <a:pt x="0" y="0"/>
                    </a:lnTo>
                    <a:close/>
                  </a:path>
                </a:pathLst>
              </a:custGeom>
              <a:solidFill>
                <a:schemeClr val="accent1">
                  <a:lumMod val="20000"/>
                  <a:lumOff val="80000"/>
                </a:schemeClr>
              </a:solidFill>
              <a:ln w="1172" cap="flat">
                <a:noFill/>
                <a:prstDash val="solid"/>
                <a:miter/>
              </a:ln>
            </p:spPr>
            <p:txBody>
              <a:bodyPr rtlCol="0" anchor="ctr"/>
              <a:lstStyle/>
              <a:p>
                <a:endParaRPr lang="en-US" noProof="0"/>
              </a:p>
            </p:txBody>
          </p:sp>
          <p:sp>
            <p:nvSpPr>
              <p:cNvPr id="36" name="Freeform 35">
                <a:extLst>
                  <a:ext uri="{FF2B5EF4-FFF2-40B4-BE49-F238E27FC236}">
                    <a16:creationId xmlns:a16="http://schemas.microsoft.com/office/drawing/2014/main" id="{215C6EA8-6D02-21D7-62CE-B980F09D1385}"/>
                  </a:ext>
                </a:extLst>
              </p:cNvPr>
              <p:cNvSpPr/>
              <p:nvPr/>
            </p:nvSpPr>
            <p:spPr>
              <a:xfrm>
                <a:off x="4083507" y="998186"/>
                <a:ext cx="126478" cy="123098"/>
              </a:xfrm>
              <a:custGeom>
                <a:avLst/>
                <a:gdLst>
                  <a:gd name="connsiteX0" fmla="*/ 0 w 126478"/>
                  <a:gd name="connsiteY0" fmla="*/ 0 h 123098"/>
                  <a:gd name="connsiteX1" fmla="*/ 126478 w 126478"/>
                  <a:gd name="connsiteY1" fmla="*/ 0 h 123098"/>
                  <a:gd name="connsiteX2" fmla="*/ 126478 w 126478"/>
                  <a:gd name="connsiteY2" fmla="*/ 123098 h 123098"/>
                  <a:gd name="connsiteX3" fmla="*/ 0 w 126478"/>
                  <a:gd name="connsiteY3" fmla="*/ 123098 h 123098"/>
                  <a:gd name="connsiteX4" fmla="*/ 0 w 126478"/>
                  <a:gd name="connsiteY4" fmla="*/ 0 h 123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78" h="123098">
                    <a:moveTo>
                      <a:pt x="0" y="0"/>
                    </a:moveTo>
                    <a:lnTo>
                      <a:pt x="126478" y="0"/>
                    </a:lnTo>
                    <a:lnTo>
                      <a:pt x="126478" y="123098"/>
                    </a:lnTo>
                    <a:lnTo>
                      <a:pt x="0" y="123098"/>
                    </a:lnTo>
                    <a:lnTo>
                      <a:pt x="0" y="0"/>
                    </a:lnTo>
                    <a:close/>
                  </a:path>
                </a:pathLst>
              </a:custGeom>
              <a:solidFill>
                <a:schemeClr val="tx2">
                  <a:lumMod val="20000"/>
                  <a:lumOff val="80000"/>
                </a:schemeClr>
              </a:solidFill>
              <a:ln w="1172" cap="flat">
                <a:noFill/>
                <a:prstDash val="solid"/>
                <a:miter/>
              </a:ln>
            </p:spPr>
            <p:txBody>
              <a:bodyPr rtlCol="0" anchor="ctr"/>
              <a:lstStyle/>
              <a:p>
                <a:endParaRPr lang="en-US" noProof="0"/>
              </a:p>
            </p:txBody>
          </p:sp>
          <p:sp>
            <p:nvSpPr>
              <p:cNvPr id="37" name="Freeform 36">
                <a:extLst>
                  <a:ext uri="{FF2B5EF4-FFF2-40B4-BE49-F238E27FC236}">
                    <a16:creationId xmlns:a16="http://schemas.microsoft.com/office/drawing/2014/main" id="{610E74B7-2184-3258-8F20-D7D01AD31FCE}"/>
                  </a:ext>
                </a:extLst>
              </p:cNvPr>
              <p:cNvSpPr/>
              <p:nvPr/>
            </p:nvSpPr>
            <p:spPr>
              <a:xfrm>
                <a:off x="4235746" y="998186"/>
                <a:ext cx="126478" cy="123098"/>
              </a:xfrm>
              <a:custGeom>
                <a:avLst/>
                <a:gdLst>
                  <a:gd name="connsiteX0" fmla="*/ 0 w 126478"/>
                  <a:gd name="connsiteY0" fmla="*/ 0 h 123098"/>
                  <a:gd name="connsiteX1" fmla="*/ 126478 w 126478"/>
                  <a:gd name="connsiteY1" fmla="*/ 0 h 123098"/>
                  <a:gd name="connsiteX2" fmla="*/ 126478 w 126478"/>
                  <a:gd name="connsiteY2" fmla="*/ 123098 h 123098"/>
                  <a:gd name="connsiteX3" fmla="*/ 0 w 126478"/>
                  <a:gd name="connsiteY3" fmla="*/ 123098 h 123098"/>
                  <a:gd name="connsiteX4" fmla="*/ 0 w 126478"/>
                  <a:gd name="connsiteY4" fmla="*/ 0 h 123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78" h="123098">
                    <a:moveTo>
                      <a:pt x="0" y="0"/>
                    </a:moveTo>
                    <a:lnTo>
                      <a:pt x="126478" y="0"/>
                    </a:lnTo>
                    <a:lnTo>
                      <a:pt x="126478" y="123098"/>
                    </a:lnTo>
                    <a:lnTo>
                      <a:pt x="0" y="123098"/>
                    </a:lnTo>
                    <a:lnTo>
                      <a:pt x="0" y="0"/>
                    </a:lnTo>
                    <a:close/>
                  </a:path>
                </a:pathLst>
              </a:custGeom>
              <a:solidFill>
                <a:schemeClr val="accent1">
                  <a:lumMod val="20000"/>
                  <a:lumOff val="80000"/>
                </a:schemeClr>
              </a:solidFill>
              <a:ln w="1172" cap="flat">
                <a:noFill/>
                <a:prstDash val="solid"/>
                <a:miter/>
              </a:ln>
            </p:spPr>
            <p:txBody>
              <a:bodyPr rtlCol="0" anchor="ctr"/>
              <a:lstStyle/>
              <a:p>
                <a:endParaRPr lang="en-US" noProof="0"/>
              </a:p>
            </p:txBody>
          </p:sp>
          <p:sp>
            <p:nvSpPr>
              <p:cNvPr id="38" name="Freeform 37">
                <a:extLst>
                  <a:ext uri="{FF2B5EF4-FFF2-40B4-BE49-F238E27FC236}">
                    <a16:creationId xmlns:a16="http://schemas.microsoft.com/office/drawing/2014/main" id="{25F73B5C-FF50-2CA8-BEF8-25DF26866847}"/>
                  </a:ext>
                </a:extLst>
              </p:cNvPr>
              <p:cNvSpPr/>
              <p:nvPr/>
            </p:nvSpPr>
            <p:spPr>
              <a:xfrm>
                <a:off x="4387984" y="998187"/>
                <a:ext cx="126480" cy="123101"/>
              </a:xfrm>
              <a:custGeom>
                <a:avLst/>
                <a:gdLst>
                  <a:gd name="connsiteX0" fmla="*/ 0 w 126480"/>
                  <a:gd name="connsiteY0" fmla="*/ 0 h 123101"/>
                  <a:gd name="connsiteX1" fmla="*/ 126480 w 126480"/>
                  <a:gd name="connsiteY1" fmla="*/ 0 h 123101"/>
                  <a:gd name="connsiteX2" fmla="*/ 126480 w 126480"/>
                  <a:gd name="connsiteY2" fmla="*/ 71241 h 123101"/>
                  <a:gd name="connsiteX3" fmla="*/ 116923 w 126480"/>
                  <a:gd name="connsiteY3" fmla="*/ 123101 h 123101"/>
                  <a:gd name="connsiteX4" fmla="*/ 0 w 126480"/>
                  <a:gd name="connsiteY4" fmla="*/ 123101 h 123101"/>
                  <a:gd name="connsiteX5" fmla="*/ 0 w 126480"/>
                  <a:gd name="connsiteY5" fmla="*/ 0 h 12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480" h="123101">
                    <a:moveTo>
                      <a:pt x="0" y="0"/>
                    </a:moveTo>
                    <a:lnTo>
                      <a:pt x="126480" y="0"/>
                    </a:lnTo>
                    <a:lnTo>
                      <a:pt x="126480" y="71241"/>
                    </a:lnTo>
                    <a:cubicBezTo>
                      <a:pt x="121275" y="87766"/>
                      <a:pt x="118006" y="105144"/>
                      <a:pt x="116923" y="123101"/>
                    </a:cubicBezTo>
                    <a:lnTo>
                      <a:pt x="0" y="123101"/>
                    </a:lnTo>
                    <a:lnTo>
                      <a:pt x="0" y="0"/>
                    </a:lnTo>
                    <a:close/>
                  </a:path>
                </a:pathLst>
              </a:custGeom>
              <a:solidFill>
                <a:schemeClr val="accent3">
                  <a:lumMod val="20000"/>
                  <a:lumOff val="80000"/>
                </a:schemeClr>
              </a:solidFill>
              <a:ln w="1172" cap="flat">
                <a:noFill/>
                <a:prstDash val="solid"/>
                <a:miter/>
              </a:ln>
            </p:spPr>
            <p:txBody>
              <a:bodyPr rtlCol="0" anchor="ctr"/>
              <a:lstStyle/>
              <a:p>
                <a:endParaRPr lang="en-US" noProof="0"/>
              </a:p>
            </p:txBody>
          </p:sp>
          <p:sp>
            <p:nvSpPr>
              <p:cNvPr id="39" name="Freeform 38">
                <a:extLst>
                  <a:ext uri="{FF2B5EF4-FFF2-40B4-BE49-F238E27FC236}">
                    <a16:creationId xmlns:a16="http://schemas.microsoft.com/office/drawing/2014/main" id="{9A0D213E-40F7-B11D-721A-790E458E9643}"/>
                  </a:ext>
                </a:extLst>
              </p:cNvPr>
              <p:cNvSpPr/>
              <p:nvPr/>
            </p:nvSpPr>
            <p:spPr>
              <a:xfrm>
                <a:off x="4540226" y="998186"/>
                <a:ext cx="12573" cy="17172"/>
              </a:xfrm>
              <a:custGeom>
                <a:avLst/>
                <a:gdLst>
                  <a:gd name="connsiteX0" fmla="*/ 0 w 12573"/>
                  <a:gd name="connsiteY0" fmla="*/ 0 h 17172"/>
                  <a:gd name="connsiteX1" fmla="*/ 12573 w 12573"/>
                  <a:gd name="connsiteY1" fmla="*/ 0 h 17172"/>
                  <a:gd name="connsiteX2" fmla="*/ 0 w 12573"/>
                  <a:gd name="connsiteY2" fmla="*/ 17172 h 17172"/>
                  <a:gd name="connsiteX3" fmla="*/ 0 w 12573"/>
                  <a:gd name="connsiteY3" fmla="*/ 0 h 17172"/>
                </a:gdLst>
                <a:ahLst/>
                <a:cxnLst>
                  <a:cxn ang="0">
                    <a:pos x="connsiteX0" y="connsiteY0"/>
                  </a:cxn>
                  <a:cxn ang="0">
                    <a:pos x="connsiteX1" y="connsiteY1"/>
                  </a:cxn>
                  <a:cxn ang="0">
                    <a:pos x="connsiteX2" y="connsiteY2"/>
                  </a:cxn>
                  <a:cxn ang="0">
                    <a:pos x="connsiteX3" y="connsiteY3"/>
                  </a:cxn>
                </a:cxnLst>
                <a:rect l="l" t="t" r="r" b="b"/>
                <a:pathLst>
                  <a:path w="12573" h="17172">
                    <a:moveTo>
                      <a:pt x="0" y="0"/>
                    </a:moveTo>
                    <a:lnTo>
                      <a:pt x="12573" y="0"/>
                    </a:lnTo>
                    <a:cubicBezTo>
                      <a:pt x="8112" y="5509"/>
                      <a:pt x="3914" y="11239"/>
                      <a:pt x="0" y="17172"/>
                    </a:cubicBezTo>
                    <a:lnTo>
                      <a:pt x="0" y="0"/>
                    </a:lnTo>
                    <a:close/>
                  </a:path>
                </a:pathLst>
              </a:custGeom>
              <a:solidFill>
                <a:schemeClr val="tx2">
                  <a:lumMod val="20000"/>
                  <a:lumOff val="80000"/>
                </a:schemeClr>
              </a:solidFill>
              <a:ln w="1172" cap="flat">
                <a:noFill/>
                <a:prstDash val="solid"/>
                <a:miter/>
              </a:ln>
            </p:spPr>
            <p:txBody>
              <a:bodyPr rtlCol="0" anchor="ctr"/>
              <a:lstStyle/>
              <a:p>
                <a:endParaRPr lang="en-US" noProof="0"/>
              </a:p>
            </p:txBody>
          </p:sp>
          <p:sp>
            <p:nvSpPr>
              <p:cNvPr id="40" name="Freeform 39">
                <a:extLst>
                  <a:ext uri="{FF2B5EF4-FFF2-40B4-BE49-F238E27FC236}">
                    <a16:creationId xmlns:a16="http://schemas.microsoft.com/office/drawing/2014/main" id="{0B7CF2C6-376B-8A2A-6434-E4E9496B9F11}"/>
                  </a:ext>
                </a:extLst>
              </p:cNvPr>
              <p:cNvSpPr/>
              <p:nvPr/>
            </p:nvSpPr>
            <p:spPr>
              <a:xfrm>
                <a:off x="4083507" y="1147043"/>
                <a:ext cx="126478" cy="123101"/>
              </a:xfrm>
              <a:custGeom>
                <a:avLst/>
                <a:gdLst>
                  <a:gd name="connsiteX0" fmla="*/ 0 w 126478"/>
                  <a:gd name="connsiteY0" fmla="*/ 0 h 123101"/>
                  <a:gd name="connsiteX1" fmla="*/ 126478 w 126478"/>
                  <a:gd name="connsiteY1" fmla="*/ 0 h 123101"/>
                  <a:gd name="connsiteX2" fmla="*/ 126478 w 126478"/>
                  <a:gd name="connsiteY2" fmla="*/ 123101 h 123101"/>
                  <a:gd name="connsiteX3" fmla="*/ 35126 w 126478"/>
                  <a:gd name="connsiteY3" fmla="*/ 123101 h 123101"/>
                  <a:gd name="connsiteX4" fmla="*/ 0 w 126478"/>
                  <a:gd name="connsiteY4" fmla="*/ 87973 h 123101"/>
                  <a:gd name="connsiteX5" fmla="*/ 0 w 126478"/>
                  <a:gd name="connsiteY5" fmla="*/ 0 h 12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478" h="123101">
                    <a:moveTo>
                      <a:pt x="0" y="0"/>
                    </a:moveTo>
                    <a:lnTo>
                      <a:pt x="126478" y="0"/>
                    </a:lnTo>
                    <a:lnTo>
                      <a:pt x="126478" y="123101"/>
                    </a:lnTo>
                    <a:lnTo>
                      <a:pt x="35126" y="123101"/>
                    </a:lnTo>
                    <a:cubicBezTo>
                      <a:pt x="15758" y="123101"/>
                      <a:pt x="0" y="107343"/>
                      <a:pt x="0" y="87973"/>
                    </a:cubicBezTo>
                    <a:lnTo>
                      <a:pt x="0" y="0"/>
                    </a:lnTo>
                    <a:close/>
                  </a:path>
                </a:pathLst>
              </a:custGeom>
              <a:solidFill>
                <a:schemeClr val="accent3">
                  <a:lumMod val="20000"/>
                  <a:lumOff val="80000"/>
                </a:schemeClr>
              </a:solidFill>
              <a:ln w="1172" cap="flat">
                <a:noFill/>
                <a:prstDash val="solid"/>
                <a:miter/>
              </a:ln>
            </p:spPr>
            <p:txBody>
              <a:bodyPr rtlCol="0" anchor="ctr"/>
              <a:lstStyle/>
              <a:p>
                <a:endParaRPr lang="en-US" noProof="0"/>
              </a:p>
            </p:txBody>
          </p:sp>
          <p:sp>
            <p:nvSpPr>
              <p:cNvPr id="41" name="Freeform 40">
                <a:extLst>
                  <a:ext uri="{FF2B5EF4-FFF2-40B4-BE49-F238E27FC236}">
                    <a16:creationId xmlns:a16="http://schemas.microsoft.com/office/drawing/2014/main" id="{6F31CED8-B4A6-E92E-6801-64262253AA87}"/>
                  </a:ext>
                </a:extLst>
              </p:cNvPr>
              <p:cNvSpPr/>
              <p:nvPr/>
            </p:nvSpPr>
            <p:spPr>
              <a:xfrm>
                <a:off x="4235749" y="1147045"/>
                <a:ext cx="126479" cy="123098"/>
              </a:xfrm>
              <a:custGeom>
                <a:avLst/>
                <a:gdLst>
                  <a:gd name="connsiteX0" fmla="*/ 0 w 126479"/>
                  <a:gd name="connsiteY0" fmla="*/ 0 h 123098"/>
                  <a:gd name="connsiteX1" fmla="*/ 126479 w 126479"/>
                  <a:gd name="connsiteY1" fmla="*/ 0 h 123098"/>
                  <a:gd name="connsiteX2" fmla="*/ 126479 w 126479"/>
                  <a:gd name="connsiteY2" fmla="*/ 123098 h 123098"/>
                  <a:gd name="connsiteX3" fmla="*/ 0 w 126479"/>
                  <a:gd name="connsiteY3" fmla="*/ 123098 h 123098"/>
                  <a:gd name="connsiteX4" fmla="*/ 0 w 126479"/>
                  <a:gd name="connsiteY4" fmla="*/ 0 h 123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79" h="123098">
                    <a:moveTo>
                      <a:pt x="0" y="0"/>
                    </a:moveTo>
                    <a:lnTo>
                      <a:pt x="126479" y="0"/>
                    </a:lnTo>
                    <a:lnTo>
                      <a:pt x="126479" y="123098"/>
                    </a:lnTo>
                    <a:lnTo>
                      <a:pt x="0" y="123098"/>
                    </a:lnTo>
                    <a:lnTo>
                      <a:pt x="0" y="0"/>
                    </a:lnTo>
                    <a:close/>
                  </a:path>
                </a:pathLst>
              </a:custGeom>
              <a:solidFill>
                <a:schemeClr val="tx2">
                  <a:lumMod val="20000"/>
                  <a:lumOff val="80000"/>
                </a:schemeClr>
              </a:solidFill>
              <a:ln w="1172" cap="flat">
                <a:noFill/>
                <a:prstDash val="solid"/>
                <a:miter/>
              </a:ln>
            </p:spPr>
            <p:txBody>
              <a:bodyPr rtlCol="0" anchor="ctr"/>
              <a:lstStyle/>
              <a:p>
                <a:endParaRPr lang="en-US" noProof="0"/>
              </a:p>
            </p:txBody>
          </p:sp>
          <p:sp>
            <p:nvSpPr>
              <p:cNvPr id="42" name="Freeform 41">
                <a:extLst>
                  <a:ext uri="{FF2B5EF4-FFF2-40B4-BE49-F238E27FC236}">
                    <a16:creationId xmlns:a16="http://schemas.microsoft.com/office/drawing/2014/main" id="{A48F3FBD-6B40-8203-C5B0-6B0254F57C87}"/>
                  </a:ext>
                </a:extLst>
              </p:cNvPr>
              <p:cNvSpPr/>
              <p:nvPr/>
            </p:nvSpPr>
            <p:spPr>
              <a:xfrm>
                <a:off x="4387987" y="1147045"/>
                <a:ext cx="164092" cy="123098"/>
              </a:xfrm>
              <a:custGeom>
                <a:avLst/>
                <a:gdLst>
                  <a:gd name="connsiteX0" fmla="*/ 0 w 164092"/>
                  <a:gd name="connsiteY0" fmla="*/ 0 h 123098"/>
                  <a:gd name="connsiteX1" fmla="*/ 116868 w 164092"/>
                  <a:gd name="connsiteY1" fmla="*/ 0 h 123098"/>
                  <a:gd name="connsiteX2" fmla="*/ 164092 w 164092"/>
                  <a:gd name="connsiteY2" fmla="*/ 123098 h 123098"/>
                  <a:gd name="connsiteX3" fmla="*/ 0 w 164092"/>
                  <a:gd name="connsiteY3" fmla="*/ 123098 h 123098"/>
                  <a:gd name="connsiteX4" fmla="*/ 0 w 164092"/>
                  <a:gd name="connsiteY4" fmla="*/ 0 h 123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92" h="123098">
                    <a:moveTo>
                      <a:pt x="0" y="0"/>
                    </a:moveTo>
                    <a:lnTo>
                      <a:pt x="116868" y="0"/>
                    </a:lnTo>
                    <a:cubicBezTo>
                      <a:pt x="119421" y="45461"/>
                      <a:pt x="135808" y="88011"/>
                      <a:pt x="164092" y="123098"/>
                    </a:cubicBezTo>
                    <a:lnTo>
                      <a:pt x="0" y="123098"/>
                    </a:lnTo>
                    <a:lnTo>
                      <a:pt x="0" y="0"/>
                    </a:lnTo>
                    <a:close/>
                  </a:path>
                </a:pathLst>
              </a:custGeom>
              <a:solidFill>
                <a:schemeClr val="accent1">
                  <a:lumMod val="20000"/>
                  <a:lumOff val="80000"/>
                </a:schemeClr>
              </a:solidFill>
              <a:ln w="1172" cap="flat">
                <a:noFill/>
                <a:prstDash val="solid"/>
                <a:miter/>
              </a:ln>
            </p:spPr>
            <p:txBody>
              <a:bodyPr rtlCol="0" anchor="ctr"/>
              <a:lstStyle/>
              <a:p>
                <a:endParaRPr lang="en-US" noProof="0"/>
              </a:p>
            </p:txBody>
          </p:sp>
        </p:grpSp>
      </p:grpSp>
      <p:sp>
        <p:nvSpPr>
          <p:cNvPr id="439" name="AutoShape 152">
            <a:extLst>
              <a:ext uri="{FF2B5EF4-FFF2-40B4-BE49-F238E27FC236}">
                <a16:creationId xmlns:a16="http://schemas.microsoft.com/office/drawing/2014/main" id="{53E25C2D-BEC0-1E0C-34B9-4A5FD1D72E3F}"/>
              </a:ext>
            </a:extLst>
          </p:cNvPr>
          <p:cNvSpPr>
            <a:spLocks noChangeAspect="1" noChangeArrowheads="1" noTextEdit="1"/>
          </p:cNvSpPr>
          <p:nvPr/>
        </p:nvSpPr>
        <p:spPr bwMode="auto">
          <a:xfrm>
            <a:off x="7648502" y="1136572"/>
            <a:ext cx="4175125" cy="228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4" name="Content Placeholder 1">
            <a:extLst>
              <a:ext uri="{FF2B5EF4-FFF2-40B4-BE49-F238E27FC236}">
                <a16:creationId xmlns:a16="http://schemas.microsoft.com/office/drawing/2014/main" id="{427B73C5-1235-5EE2-F974-3690C23D46DB}"/>
              </a:ext>
            </a:extLst>
          </p:cNvPr>
          <p:cNvSpPr txBox="1">
            <a:spLocks/>
          </p:cNvSpPr>
          <p:nvPr/>
        </p:nvSpPr>
        <p:spPr>
          <a:xfrm>
            <a:off x="1590518" y="5200650"/>
            <a:ext cx="4400865" cy="817562"/>
          </a:xfrm>
          <a:prstGeom prst="rect">
            <a:avLst/>
          </a:prstGeom>
        </p:spPr>
        <p:txBody>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noProof="0"/>
              <a:t>Median time to TIS ≥20 </a:t>
            </a:r>
            <a:r>
              <a:rPr lang="en-US" sz="1200" b="0" noProof="0">
                <a:solidFill>
                  <a:schemeClr val="tx2"/>
                </a:solidFill>
              </a:rPr>
              <a:t>was significantly shorter following treatment with efgartigimod PH20 SC versus placebo PH20 SC </a:t>
            </a:r>
            <a:br>
              <a:rPr lang="en-US" sz="1200" b="0" noProof="0">
                <a:solidFill>
                  <a:schemeClr val="tx2"/>
                </a:solidFill>
              </a:rPr>
            </a:br>
            <a:r>
              <a:rPr lang="en-US" sz="1400" noProof="0"/>
              <a:t>(30 days vs 72 days; </a:t>
            </a:r>
            <a:r>
              <a:rPr lang="en-US" sz="1400" i="1" noProof="0"/>
              <a:t>P</a:t>
            </a:r>
            <a:r>
              <a:rPr lang="en-US" sz="1400" noProof="0"/>
              <a:t>=.0020)</a:t>
            </a:r>
          </a:p>
          <a:p>
            <a:pPr algn="ctr"/>
            <a:endParaRPr lang="en-US" sz="1200" noProof="0"/>
          </a:p>
        </p:txBody>
      </p:sp>
      <p:sp>
        <p:nvSpPr>
          <p:cNvPr id="15" name="Content Placeholder 4">
            <a:extLst>
              <a:ext uri="{FF2B5EF4-FFF2-40B4-BE49-F238E27FC236}">
                <a16:creationId xmlns:a16="http://schemas.microsoft.com/office/drawing/2014/main" id="{E7A1BD55-CB2F-DA30-19C5-9560A2EAF894}"/>
              </a:ext>
            </a:extLst>
          </p:cNvPr>
          <p:cNvSpPr txBox="1">
            <a:spLocks/>
          </p:cNvSpPr>
          <p:nvPr/>
        </p:nvSpPr>
        <p:spPr>
          <a:xfrm>
            <a:off x="7000718" y="5202238"/>
            <a:ext cx="4400865" cy="817562"/>
          </a:xfrm>
          <a:prstGeom prst="rect">
            <a:avLst/>
          </a:prstGeom>
        </p:spPr>
        <p:txBody>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noProof="0"/>
              <a:t>Median time to TIS ≥40 </a:t>
            </a:r>
            <a:r>
              <a:rPr lang="en-US" sz="1200" b="0" noProof="0">
                <a:solidFill>
                  <a:schemeClr val="tx2"/>
                </a:solidFill>
              </a:rPr>
              <a:t>was significantly shorter following treatment with efgartigimod PH20 SC versus placebo PH20 SC </a:t>
            </a:r>
            <a:br>
              <a:rPr lang="en-US" sz="1200" b="0" noProof="0">
                <a:solidFill>
                  <a:schemeClr val="tx2"/>
                </a:solidFill>
              </a:rPr>
            </a:br>
            <a:r>
              <a:rPr lang="en-US" sz="1400" noProof="0"/>
              <a:t>(113 days vs not estimable, </a:t>
            </a:r>
            <a:r>
              <a:rPr lang="en-US" sz="1400" i="1" noProof="0"/>
              <a:t>P</a:t>
            </a:r>
            <a:r>
              <a:rPr lang="en-US" sz="1400" noProof="0"/>
              <a:t>=.0293)</a:t>
            </a:r>
          </a:p>
          <a:p>
            <a:pPr algn="ctr"/>
            <a:endParaRPr lang="en-US" sz="1200" noProof="0"/>
          </a:p>
        </p:txBody>
      </p:sp>
      <p:grpSp>
        <p:nvGrpSpPr>
          <p:cNvPr id="16" name="Group 15">
            <a:extLst>
              <a:ext uri="{FF2B5EF4-FFF2-40B4-BE49-F238E27FC236}">
                <a16:creationId xmlns:a16="http://schemas.microsoft.com/office/drawing/2014/main" id="{9F9FDA29-0156-6060-ECE6-194DB1531A43}"/>
              </a:ext>
            </a:extLst>
          </p:cNvPr>
          <p:cNvGrpSpPr/>
          <p:nvPr/>
        </p:nvGrpSpPr>
        <p:grpSpPr>
          <a:xfrm>
            <a:off x="1317856" y="1615621"/>
            <a:ext cx="10005054" cy="3446374"/>
            <a:chOff x="1317856" y="1615621"/>
            <a:chExt cx="10005054" cy="3446374"/>
          </a:xfrm>
        </p:grpSpPr>
        <p:grpSp>
          <p:nvGrpSpPr>
            <p:cNvPr id="17" name="Group 16">
              <a:extLst>
                <a:ext uri="{FF2B5EF4-FFF2-40B4-BE49-F238E27FC236}">
                  <a16:creationId xmlns:a16="http://schemas.microsoft.com/office/drawing/2014/main" id="{B390A452-FF7F-6DB1-7517-A6E516281CE1}"/>
                </a:ext>
              </a:extLst>
            </p:cNvPr>
            <p:cNvGrpSpPr/>
            <p:nvPr/>
          </p:nvGrpSpPr>
          <p:grpSpPr>
            <a:xfrm>
              <a:off x="1317856" y="1615621"/>
              <a:ext cx="4678674" cy="3446374"/>
              <a:chOff x="1317856" y="1615621"/>
              <a:chExt cx="4678674" cy="3446374"/>
            </a:xfrm>
          </p:grpSpPr>
          <p:grpSp>
            <p:nvGrpSpPr>
              <p:cNvPr id="525" name="Group 524">
                <a:extLst>
                  <a:ext uri="{FF2B5EF4-FFF2-40B4-BE49-F238E27FC236}">
                    <a16:creationId xmlns:a16="http://schemas.microsoft.com/office/drawing/2014/main" id="{49454AC3-26F0-B34C-A9CD-CF0CFAE5DE06}"/>
                  </a:ext>
                </a:extLst>
              </p:cNvPr>
              <p:cNvGrpSpPr/>
              <p:nvPr/>
            </p:nvGrpSpPr>
            <p:grpSpPr>
              <a:xfrm>
                <a:off x="1880144" y="1709406"/>
                <a:ext cx="4021088" cy="2377169"/>
                <a:chOff x="1880144" y="1709406"/>
                <a:chExt cx="4021088" cy="2377169"/>
              </a:xfrm>
            </p:grpSpPr>
            <p:sp>
              <p:nvSpPr>
                <p:cNvPr id="260" name="Freeform: Shape 16">
                  <a:extLst>
                    <a:ext uri="{FF2B5EF4-FFF2-40B4-BE49-F238E27FC236}">
                      <a16:creationId xmlns:a16="http://schemas.microsoft.com/office/drawing/2014/main" id="{8B325B27-6D42-F16C-2F4F-05A1A1233ED4}"/>
                    </a:ext>
                  </a:extLst>
                </p:cNvPr>
                <p:cNvSpPr/>
                <p:nvPr/>
              </p:nvSpPr>
              <p:spPr>
                <a:xfrm>
                  <a:off x="1950720" y="1712495"/>
                  <a:ext cx="3949566" cy="2300438"/>
                </a:xfrm>
                <a:custGeom>
                  <a:avLst/>
                  <a:gdLst>
                    <a:gd name="connsiteX0" fmla="*/ 0 w 4052235"/>
                    <a:gd name="connsiteY0" fmla="*/ 0 h 2300438"/>
                    <a:gd name="connsiteX1" fmla="*/ 0 w 4052235"/>
                    <a:gd name="connsiteY1" fmla="*/ 2300438 h 2300438"/>
                    <a:gd name="connsiteX2" fmla="*/ 4052235 w 4052235"/>
                    <a:gd name="connsiteY2" fmla="*/ 2300438 h 2300438"/>
                  </a:gdLst>
                  <a:ahLst/>
                  <a:cxnLst>
                    <a:cxn ang="0">
                      <a:pos x="connsiteX0" y="connsiteY0"/>
                    </a:cxn>
                    <a:cxn ang="0">
                      <a:pos x="connsiteX1" y="connsiteY1"/>
                    </a:cxn>
                    <a:cxn ang="0">
                      <a:pos x="connsiteX2" y="connsiteY2"/>
                    </a:cxn>
                  </a:cxnLst>
                  <a:rect l="l" t="t" r="r" b="b"/>
                  <a:pathLst>
                    <a:path w="4052235" h="2300438">
                      <a:moveTo>
                        <a:pt x="0" y="0"/>
                      </a:moveTo>
                      <a:lnTo>
                        <a:pt x="0" y="2300438"/>
                      </a:lnTo>
                      <a:lnTo>
                        <a:pt x="4052235" y="2300438"/>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61" name="Group 260">
                  <a:extLst>
                    <a:ext uri="{FF2B5EF4-FFF2-40B4-BE49-F238E27FC236}">
                      <a16:creationId xmlns:a16="http://schemas.microsoft.com/office/drawing/2014/main" id="{B6C5A947-F567-33DB-F5AA-7654706166BE}"/>
                    </a:ext>
                  </a:extLst>
                </p:cNvPr>
                <p:cNvGrpSpPr/>
                <p:nvPr/>
              </p:nvGrpSpPr>
              <p:grpSpPr>
                <a:xfrm>
                  <a:off x="1880144" y="1709406"/>
                  <a:ext cx="73152" cy="2303111"/>
                  <a:chOff x="1880144" y="1633206"/>
                  <a:chExt cx="73152" cy="2303111"/>
                </a:xfrm>
              </p:grpSpPr>
              <p:cxnSp>
                <p:nvCxnSpPr>
                  <p:cNvPr id="270" name="Straight Connector 269">
                    <a:extLst>
                      <a:ext uri="{FF2B5EF4-FFF2-40B4-BE49-F238E27FC236}">
                        <a16:creationId xmlns:a16="http://schemas.microsoft.com/office/drawing/2014/main" id="{26478F92-3FA3-41D9-CA15-801D395C4FBC}"/>
                      </a:ext>
                    </a:extLst>
                  </p:cNvPr>
                  <p:cNvCxnSpPr>
                    <a:cxnSpLocks/>
                  </p:cNvCxnSpPr>
                  <p:nvPr/>
                </p:nvCxnSpPr>
                <p:spPr>
                  <a:xfrm flipH="1">
                    <a:off x="1880144" y="163320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71" name="Straight Connector 270">
                    <a:extLst>
                      <a:ext uri="{FF2B5EF4-FFF2-40B4-BE49-F238E27FC236}">
                        <a16:creationId xmlns:a16="http://schemas.microsoft.com/office/drawing/2014/main" id="{5BBD8B9F-193E-81B1-2EE5-7AFC7E33B7D8}"/>
                      </a:ext>
                    </a:extLst>
                  </p:cNvPr>
                  <p:cNvCxnSpPr>
                    <a:cxnSpLocks/>
                  </p:cNvCxnSpPr>
                  <p:nvPr/>
                </p:nvCxnSpPr>
                <p:spPr>
                  <a:xfrm flipH="1">
                    <a:off x="1880144" y="1863517"/>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72" name="Straight Connector 271">
                    <a:extLst>
                      <a:ext uri="{FF2B5EF4-FFF2-40B4-BE49-F238E27FC236}">
                        <a16:creationId xmlns:a16="http://schemas.microsoft.com/office/drawing/2014/main" id="{7A8A7455-79FC-69EF-1180-4D50ADA82A39}"/>
                      </a:ext>
                    </a:extLst>
                  </p:cNvPr>
                  <p:cNvCxnSpPr>
                    <a:cxnSpLocks/>
                  </p:cNvCxnSpPr>
                  <p:nvPr/>
                </p:nvCxnSpPr>
                <p:spPr>
                  <a:xfrm flipH="1">
                    <a:off x="1880144" y="2093828"/>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73" name="Straight Connector 272">
                    <a:extLst>
                      <a:ext uri="{FF2B5EF4-FFF2-40B4-BE49-F238E27FC236}">
                        <a16:creationId xmlns:a16="http://schemas.microsoft.com/office/drawing/2014/main" id="{A3BCF091-846B-33C1-49AD-4C0A83E39CD9}"/>
                      </a:ext>
                    </a:extLst>
                  </p:cNvPr>
                  <p:cNvCxnSpPr>
                    <a:cxnSpLocks/>
                  </p:cNvCxnSpPr>
                  <p:nvPr/>
                </p:nvCxnSpPr>
                <p:spPr>
                  <a:xfrm flipH="1">
                    <a:off x="1880144" y="2324139"/>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74" name="Straight Connector 273">
                    <a:extLst>
                      <a:ext uri="{FF2B5EF4-FFF2-40B4-BE49-F238E27FC236}">
                        <a16:creationId xmlns:a16="http://schemas.microsoft.com/office/drawing/2014/main" id="{E239067F-835C-DE95-97DA-12ADA43D0ADC}"/>
                      </a:ext>
                    </a:extLst>
                  </p:cNvPr>
                  <p:cNvCxnSpPr>
                    <a:cxnSpLocks/>
                  </p:cNvCxnSpPr>
                  <p:nvPr/>
                </p:nvCxnSpPr>
                <p:spPr>
                  <a:xfrm flipH="1">
                    <a:off x="1880144" y="2554450"/>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75" name="Straight Connector 274">
                    <a:extLst>
                      <a:ext uri="{FF2B5EF4-FFF2-40B4-BE49-F238E27FC236}">
                        <a16:creationId xmlns:a16="http://schemas.microsoft.com/office/drawing/2014/main" id="{4C6F90E4-D34F-8556-65EF-7A6110FF8F9B}"/>
                      </a:ext>
                    </a:extLst>
                  </p:cNvPr>
                  <p:cNvCxnSpPr>
                    <a:cxnSpLocks/>
                  </p:cNvCxnSpPr>
                  <p:nvPr/>
                </p:nvCxnSpPr>
                <p:spPr>
                  <a:xfrm flipH="1">
                    <a:off x="1880144" y="2784761"/>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76" name="Straight Connector 275">
                    <a:extLst>
                      <a:ext uri="{FF2B5EF4-FFF2-40B4-BE49-F238E27FC236}">
                        <a16:creationId xmlns:a16="http://schemas.microsoft.com/office/drawing/2014/main" id="{4B4FB87E-BE30-36C1-0BE7-E34491226132}"/>
                      </a:ext>
                    </a:extLst>
                  </p:cNvPr>
                  <p:cNvCxnSpPr>
                    <a:cxnSpLocks/>
                  </p:cNvCxnSpPr>
                  <p:nvPr/>
                </p:nvCxnSpPr>
                <p:spPr>
                  <a:xfrm flipH="1">
                    <a:off x="1880144" y="3015072"/>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77" name="Straight Connector 276">
                    <a:extLst>
                      <a:ext uri="{FF2B5EF4-FFF2-40B4-BE49-F238E27FC236}">
                        <a16:creationId xmlns:a16="http://schemas.microsoft.com/office/drawing/2014/main" id="{471DBE57-2403-3928-29FF-45B01D93449C}"/>
                      </a:ext>
                    </a:extLst>
                  </p:cNvPr>
                  <p:cNvCxnSpPr>
                    <a:cxnSpLocks/>
                  </p:cNvCxnSpPr>
                  <p:nvPr/>
                </p:nvCxnSpPr>
                <p:spPr>
                  <a:xfrm flipH="1">
                    <a:off x="1880144" y="3245383"/>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78" name="Straight Connector 277">
                    <a:extLst>
                      <a:ext uri="{FF2B5EF4-FFF2-40B4-BE49-F238E27FC236}">
                        <a16:creationId xmlns:a16="http://schemas.microsoft.com/office/drawing/2014/main" id="{44820EB6-DA02-1BC0-231A-59D6667E07D0}"/>
                      </a:ext>
                    </a:extLst>
                  </p:cNvPr>
                  <p:cNvCxnSpPr>
                    <a:cxnSpLocks/>
                  </p:cNvCxnSpPr>
                  <p:nvPr/>
                </p:nvCxnSpPr>
                <p:spPr>
                  <a:xfrm flipH="1">
                    <a:off x="1880144" y="3475694"/>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79" name="Straight Connector 278">
                    <a:extLst>
                      <a:ext uri="{FF2B5EF4-FFF2-40B4-BE49-F238E27FC236}">
                        <a16:creationId xmlns:a16="http://schemas.microsoft.com/office/drawing/2014/main" id="{66DF367F-5041-DD25-03CF-B6B93AA168A8}"/>
                      </a:ext>
                    </a:extLst>
                  </p:cNvPr>
                  <p:cNvCxnSpPr>
                    <a:cxnSpLocks/>
                  </p:cNvCxnSpPr>
                  <p:nvPr/>
                </p:nvCxnSpPr>
                <p:spPr>
                  <a:xfrm flipH="1">
                    <a:off x="1880144" y="3706005"/>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80" name="Straight Connector 279">
                    <a:extLst>
                      <a:ext uri="{FF2B5EF4-FFF2-40B4-BE49-F238E27FC236}">
                        <a16:creationId xmlns:a16="http://schemas.microsoft.com/office/drawing/2014/main" id="{EC2893FC-66C8-99BD-BC3E-42D57D840396}"/>
                      </a:ext>
                    </a:extLst>
                  </p:cNvPr>
                  <p:cNvCxnSpPr>
                    <a:cxnSpLocks/>
                  </p:cNvCxnSpPr>
                  <p:nvPr/>
                </p:nvCxnSpPr>
                <p:spPr>
                  <a:xfrm flipH="1">
                    <a:off x="1880144" y="3936317"/>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262" name="Group 261">
                  <a:extLst>
                    <a:ext uri="{FF2B5EF4-FFF2-40B4-BE49-F238E27FC236}">
                      <a16:creationId xmlns:a16="http://schemas.microsoft.com/office/drawing/2014/main" id="{44BCCBAF-933A-E423-B256-77C5EC9F4088}"/>
                    </a:ext>
                  </a:extLst>
                </p:cNvPr>
                <p:cNvGrpSpPr/>
                <p:nvPr/>
              </p:nvGrpSpPr>
              <p:grpSpPr>
                <a:xfrm>
                  <a:off x="1951026" y="4013423"/>
                  <a:ext cx="3950206" cy="73152"/>
                  <a:chOff x="1951026" y="3932460"/>
                  <a:chExt cx="3950206" cy="73152"/>
                </a:xfrm>
              </p:grpSpPr>
              <p:cxnSp>
                <p:nvCxnSpPr>
                  <p:cNvPr id="263" name="Straight Connector 262">
                    <a:extLst>
                      <a:ext uri="{FF2B5EF4-FFF2-40B4-BE49-F238E27FC236}">
                        <a16:creationId xmlns:a16="http://schemas.microsoft.com/office/drawing/2014/main" id="{92BBFC5E-F344-F6AF-93A1-EBE62E869DBC}"/>
                      </a:ext>
                    </a:extLst>
                  </p:cNvPr>
                  <p:cNvCxnSpPr>
                    <a:cxnSpLocks/>
                  </p:cNvCxnSpPr>
                  <p:nvPr/>
                </p:nvCxnSpPr>
                <p:spPr>
                  <a:xfrm rot="16200000" flipH="1">
                    <a:off x="1914450"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64" name="Straight Connector 263">
                    <a:extLst>
                      <a:ext uri="{FF2B5EF4-FFF2-40B4-BE49-F238E27FC236}">
                        <a16:creationId xmlns:a16="http://schemas.microsoft.com/office/drawing/2014/main" id="{9ED3E21F-D17A-5384-B56C-B84DEB3391C3}"/>
                      </a:ext>
                    </a:extLst>
                  </p:cNvPr>
                  <p:cNvCxnSpPr>
                    <a:cxnSpLocks/>
                  </p:cNvCxnSpPr>
                  <p:nvPr/>
                </p:nvCxnSpPr>
                <p:spPr>
                  <a:xfrm rot="16200000" flipH="1">
                    <a:off x="2572818"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65" name="Straight Connector 264">
                    <a:extLst>
                      <a:ext uri="{FF2B5EF4-FFF2-40B4-BE49-F238E27FC236}">
                        <a16:creationId xmlns:a16="http://schemas.microsoft.com/office/drawing/2014/main" id="{C7F43335-074E-F004-8815-73CDB96BEAC6}"/>
                      </a:ext>
                    </a:extLst>
                  </p:cNvPr>
                  <p:cNvCxnSpPr>
                    <a:cxnSpLocks/>
                  </p:cNvCxnSpPr>
                  <p:nvPr/>
                </p:nvCxnSpPr>
                <p:spPr>
                  <a:xfrm rot="16200000" flipH="1">
                    <a:off x="3231185"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66" name="Straight Connector 265">
                    <a:extLst>
                      <a:ext uri="{FF2B5EF4-FFF2-40B4-BE49-F238E27FC236}">
                        <a16:creationId xmlns:a16="http://schemas.microsoft.com/office/drawing/2014/main" id="{C2651B1D-587F-4D9C-1A00-88DAF65B4C3B}"/>
                      </a:ext>
                    </a:extLst>
                  </p:cNvPr>
                  <p:cNvCxnSpPr>
                    <a:cxnSpLocks/>
                  </p:cNvCxnSpPr>
                  <p:nvPr/>
                </p:nvCxnSpPr>
                <p:spPr>
                  <a:xfrm rot="16200000" flipH="1">
                    <a:off x="3889553"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67" name="Straight Connector 266">
                    <a:extLst>
                      <a:ext uri="{FF2B5EF4-FFF2-40B4-BE49-F238E27FC236}">
                        <a16:creationId xmlns:a16="http://schemas.microsoft.com/office/drawing/2014/main" id="{E341FD67-6198-2FE5-4ED3-12B0161D0AC6}"/>
                      </a:ext>
                    </a:extLst>
                  </p:cNvPr>
                  <p:cNvCxnSpPr>
                    <a:cxnSpLocks/>
                  </p:cNvCxnSpPr>
                  <p:nvPr/>
                </p:nvCxnSpPr>
                <p:spPr>
                  <a:xfrm rot="16200000" flipH="1">
                    <a:off x="4547921"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68" name="Straight Connector 267">
                    <a:extLst>
                      <a:ext uri="{FF2B5EF4-FFF2-40B4-BE49-F238E27FC236}">
                        <a16:creationId xmlns:a16="http://schemas.microsoft.com/office/drawing/2014/main" id="{BCF9F332-6BB1-A0AF-CCEA-E376C70EF801}"/>
                      </a:ext>
                    </a:extLst>
                  </p:cNvPr>
                  <p:cNvCxnSpPr>
                    <a:cxnSpLocks/>
                  </p:cNvCxnSpPr>
                  <p:nvPr/>
                </p:nvCxnSpPr>
                <p:spPr>
                  <a:xfrm rot="16200000" flipH="1">
                    <a:off x="5206289"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69" name="Straight Connector 268">
                    <a:extLst>
                      <a:ext uri="{FF2B5EF4-FFF2-40B4-BE49-F238E27FC236}">
                        <a16:creationId xmlns:a16="http://schemas.microsoft.com/office/drawing/2014/main" id="{446420FC-5242-435A-624A-D422969B2798}"/>
                      </a:ext>
                    </a:extLst>
                  </p:cNvPr>
                  <p:cNvCxnSpPr>
                    <a:cxnSpLocks/>
                  </p:cNvCxnSpPr>
                  <p:nvPr/>
                </p:nvCxnSpPr>
                <p:spPr>
                  <a:xfrm rot="16200000" flipH="1">
                    <a:off x="5864656"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526" name="Group 525">
                <a:extLst>
                  <a:ext uri="{FF2B5EF4-FFF2-40B4-BE49-F238E27FC236}">
                    <a16:creationId xmlns:a16="http://schemas.microsoft.com/office/drawing/2014/main" id="{448666E2-6BCB-CA81-A729-90078A71FBAA}"/>
                  </a:ext>
                </a:extLst>
              </p:cNvPr>
              <p:cNvGrpSpPr/>
              <p:nvPr/>
            </p:nvGrpSpPr>
            <p:grpSpPr>
              <a:xfrm>
                <a:off x="1660753" y="1615621"/>
                <a:ext cx="4335777" cy="2608157"/>
                <a:chOff x="1660753" y="1615621"/>
                <a:chExt cx="4335777" cy="2608157"/>
              </a:xfrm>
            </p:grpSpPr>
            <p:grpSp>
              <p:nvGrpSpPr>
                <p:cNvPr id="201" name="Group 200">
                  <a:extLst>
                    <a:ext uri="{FF2B5EF4-FFF2-40B4-BE49-F238E27FC236}">
                      <a16:creationId xmlns:a16="http://schemas.microsoft.com/office/drawing/2014/main" id="{45E56A91-578B-62A2-A021-0BB3332DF908}"/>
                    </a:ext>
                  </a:extLst>
                </p:cNvPr>
                <p:cNvGrpSpPr/>
                <p:nvPr/>
              </p:nvGrpSpPr>
              <p:grpSpPr>
                <a:xfrm>
                  <a:off x="1660753" y="1615621"/>
                  <a:ext cx="182880" cy="2485991"/>
                  <a:chOff x="1660753" y="1539421"/>
                  <a:chExt cx="182880" cy="2485991"/>
                </a:xfrm>
              </p:grpSpPr>
              <p:sp>
                <p:nvSpPr>
                  <p:cNvPr id="236" name="Content Placeholder 1">
                    <a:extLst>
                      <a:ext uri="{FF2B5EF4-FFF2-40B4-BE49-F238E27FC236}">
                        <a16:creationId xmlns:a16="http://schemas.microsoft.com/office/drawing/2014/main" id="{83F94027-66CA-5188-1F16-313827A2DCBC}"/>
                      </a:ext>
                    </a:extLst>
                  </p:cNvPr>
                  <p:cNvSpPr txBox="1">
                    <a:spLocks/>
                  </p:cNvSpPr>
                  <p:nvPr/>
                </p:nvSpPr>
                <p:spPr>
                  <a:xfrm>
                    <a:off x="1660753" y="1539421"/>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1.0</a:t>
                    </a:r>
                    <a:endParaRPr lang="en-US" sz="800" noProof="0"/>
                  </a:p>
                </p:txBody>
              </p:sp>
              <p:sp>
                <p:nvSpPr>
                  <p:cNvPr id="237" name="Content Placeholder 1">
                    <a:extLst>
                      <a:ext uri="{FF2B5EF4-FFF2-40B4-BE49-F238E27FC236}">
                        <a16:creationId xmlns:a16="http://schemas.microsoft.com/office/drawing/2014/main" id="{53B8CD53-3260-1366-526B-E30A25AFE609}"/>
                      </a:ext>
                    </a:extLst>
                  </p:cNvPr>
                  <p:cNvSpPr txBox="1">
                    <a:spLocks/>
                  </p:cNvSpPr>
                  <p:nvPr/>
                </p:nvSpPr>
                <p:spPr>
                  <a:xfrm>
                    <a:off x="1660753" y="1769732"/>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9</a:t>
                    </a:r>
                    <a:endParaRPr lang="en-US" sz="800" noProof="0"/>
                  </a:p>
                </p:txBody>
              </p:sp>
              <p:sp>
                <p:nvSpPr>
                  <p:cNvPr id="251" name="Content Placeholder 1">
                    <a:extLst>
                      <a:ext uri="{FF2B5EF4-FFF2-40B4-BE49-F238E27FC236}">
                        <a16:creationId xmlns:a16="http://schemas.microsoft.com/office/drawing/2014/main" id="{62F67336-330F-B799-895F-947DBF64B012}"/>
                      </a:ext>
                    </a:extLst>
                  </p:cNvPr>
                  <p:cNvSpPr txBox="1">
                    <a:spLocks/>
                  </p:cNvSpPr>
                  <p:nvPr/>
                </p:nvSpPr>
                <p:spPr>
                  <a:xfrm>
                    <a:off x="1660753" y="2000043"/>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8</a:t>
                    </a:r>
                    <a:endParaRPr lang="en-US" sz="800" noProof="0"/>
                  </a:p>
                </p:txBody>
              </p:sp>
              <p:sp>
                <p:nvSpPr>
                  <p:cNvPr id="252" name="Content Placeholder 1">
                    <a:extLst>
                      <a:ext uri="{FF2B5EF4-FFF2-40B4-BE49-F238E27FC236}">
                        <a16:creationId xmlns:a16="http://schemas.microsoft.com/office/drawing/2014/main" id="{DB04A9FD-5113-B73B-038A-1DF140C13730}"/>
                      </a:ext>
                    </a:extLst>
                  </p:cNvPr>
                  <p:cNvSpPr txBox="1">
                    <a:spLocks/>
                  </p:cNvSpPr>
                  <p:nvPr/>
                </p:nvSpPr>
                <p:spPr>
                  <a:xfrm>
                    <a:off x="1660753" y="2230354"/>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7</a:t>
                    </a:r>
                    <a:endParaRPr lang="en-US" sz="800" noProof="0"/>
                  </a:p>
                </p:txBody>
              </p:sp>
              <p:sp>
                <p:nvSpPr>
                  <p:cNvPr id="253" name="Content Placeholder 1">
                    <a:extLst>
                      <a:ext uri="{FF2B5EF4-FFF2-40B4-BE49-F238E27FC236}">
                        <a16:creationId xmlns:a16="http://schemas.microsoft.com/office/drawing/2014/main" id="{28422F0B-AD15-5856-5D97-5DF821D119E0}"/>
                      </a:ext>
                    </a:extLst>
                  </p:cNvPr>
                  <p:cNvSpPr txBox="1">
                    <a:spLocks/>
                  </p:cNvSpPr>
                  <p:nvPr/>
                </p:nvSpPr>
                <p:spPr>
                  <a:xfrm>
                    <a:off x="1660753" y="24606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6</a:t>
                    </a:r>
                    <a:endParaRPr lang="en-US" sz="800" noProof="0"/>
                  </a:p>
                </p:txBody>
              </p:sp>
              <p:sp>
                <p:nvSpPr>
                  <p:cNvPr id="254" name="Content Placeholder 1">
                    <a:extLst>
                      <a:ext uri="{FF2B5EF4-FFF2-40B4-BE49-F238E27FC236}">
                        <a16:creationId xmlns:a16="http://schemas.microsoft.com/office/drawing/2014/main" id="{33C890A1-6A7C-006B-0842-2350C3BC8966}"/>
                      </a:ext>
                    </a:extLst>
                  </p:cNvPr>
                  <p:cNvSpPr txBox="1">
                    <a:spLocks/>
                  </p:cNvSpPr>
                  <p:nvPr/>
                </p:nvSpPr>
                <p:spPr>
                  <a:xfrm>
                    <a:off x="1660753" y="2690976"/>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5</a:t>
                    </a:r>
                    <a:endParaRPr lang="en-US" sz="800" noProof="0"/>
                  </a:p>
                </p:txBody>
              </p:sp>
              <p:sp>
                <p:nvSpPr>
                  <p:cNvPr id="255" name="Content Placeholder 1">
                    <a:extLst>
                      <a:ext uri="{FF2B5EF4-FFF2-40B4-BE49-F238E27FC236}">
                        <a16:creationId xmlns:a16="http://schemas.microsoft.com/office/drawing/2014/main" id="{B1C7290B-DC79-B00E-76EA-689A57FA1C11}"/>
                      </a:ext>
                    </a:extLst>
                  </p:cNvPr>
                  <p:cNvSpPr txBox="1">
                    <a:spLocks/>
                  </p:cNvSpPr>
                  <p:nvPr/>
                </p:nvSpPr>
                <p:spPr>
                  <a:xfrm>
                    <a:off x="1660753" y="2921287"/>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4</a:t>
                    </a:r>
                    <a:endParaRPr lang="en-US" sz="800" noProof="0"/>
                  </a:p>
                </p:txBody>
              </p:sp>
              <p:sp>
                <p:nvSpPr>
                  <p:cNvPr id="256" name="Content Placeholder 1">
                    <a:extLst>
                      <a:ext uri="{FF2B5EF4-FFF2-40B4-BE49-F238E27FC236}">
                        <a16:creationId xmlns:a16="http://schemas.microsoft.com/office/drawing/2014/main" id="{6F307D44-2705-5C12-FC84-ECF132C2F7A5}"/>
                      </a:ext>
                    </a:extLst>
                  </p:cNvPr>
                  <p:cNvSpPr txBox="1">
                    <a:spLocks/>
                  </p:cNvSpPr>
                  <p:nvPr/>
                </p:nvSpPr>
                <p:spPr>
                  <a:xfrm>
                    <a:off x="1660753" y="3151598"/>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3</a:t>
                    </a:r>
                    <a:endParaRPr lang="en-US" sz="800" noProof="0"/>
                  </a:p>
                </p:txBody>
              </p:sp>
              <p:sp>
                <p:nvSpPr>
                  <p:cNvPr id="257" name="Content Placeholder 1">
                    <a:extLst>
                      <a:ext uri="{FF2B5EF4-FFF2-40B4-BE49-F238E27FC236}">
                        <a16:creationId xmlns:a16="http://schemas.microsoft.com/office/drawing/2014/main" id="{B9DE9480-BA8B-DC25-2E63-8C311EF5CC75}"/>
                      </a:ext>
                    </a:extLst>
                  </p:cNvPr>
                  <p:cNvSpPr txBox="1">
                    <a:spLocks/>
                  </p:cNvSpPr>
                  <p:nvPr/>
                </p:nvSpPr>
                <p:spPr>
                  <a:xfrm>
                    <a:off x="1660753" y="3381909"/>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2</a:t>
                    </a:r>
                    <a:endParaRPr lang="en-US" sz="800" noProof="0"/>
                  </a:p>
                </p:txBody>
              </p:sp>
              <p:sp>
                <p:nvSpPr>
                  <p:cNvPr id="258" name="Content Placeholder 1">
                    <a:extLst>
                      <a:ext uri="{FF2B5EF4-FFF2-40B4-BE49-F238E27FC236}">
                        <a16:creationId xmlns:a16="http://schemas.microsoft.com/office/drawing/2014/main" id="{E66D4FD6-91F2-CB20-4CC2-B4C58B09858B}"/>
                      </a:ext>
                    </a:extLst>
                  </p:cNvPr>
                  <p:cNvSpPr txBox="1">
                    <a:spLocks/>
                  </p:cNvSpPr>
                  <p:nvPr/>
                </p:nvSpPr>
                <p:spPr>
                  <a:xfrm>
                    <a:off x="1660753" y="3612220"/>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1</a:t>
                    </a:r>
                    <a:endParaRPr lang="en-US" sz="800" noProof="0"/>
                  </a:p>
                </p:txBody>
              </p:sp>
              <p:sp>
                <p:nvSpPr>
                  <p:cNvPr id="259" name="Content Placeholder 1">
                    <a:extLst>
                      <a:ext uri="{FF2B5EF4-FFF2-40B4-BE49-F238E27FC236}">
                        <a16:creationId xmlns:a16="http://schemas.microsoft.com/office/drawing/2014/main" id="{AD5701D6-3F71-6967-5ED0-B5B681CB970D}"/>
                      </a:ext>
                    </a:extLst>
                  </p:cNvPr>
                  <p:cNvSpPr txBox="1">
                    <a:spLocks/>
                  </p:cNvSpPr>
                  <p:nvPr/>
                </p:nvSpPr>
                <p:spPr>
                  <a:xfrm>
                    <a:off x="1660753" y="3842532"/>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0</a:t>
                    </a:r>
                    <a:endParaRPr lang="en-US" sz="800" noProof="0"/>
                  </a:p>
                </p:txBody>
              </p:sp>
            </p:grpSp>
            <p:grpSp>
              <p:nvGrpSpPr>
                <p:cNvPr id="202" name="Group 201">
                  <a:extLst>
                    <a:ext uri="{FF2B5EF4-FFF2-40B4-BE49-F238E27FC236}">
                      <a16:creationId xmlns:a16="http://schemas.microsoft.com/office/drawing/2014/main" id="{F53FE47D-21A3-324E-9455-7B72C4CD5B92}"/>
                    </a:ext>
                  </a:extLst>
                </p:cNvPr>
                <p:cNvGrpSpPr/>
                <p:nvPr/>
              </p:nvGrpSpPr>
              <p:grpSpPr>
                <a:xfrm>
                  <a:off x="1865543" y="4129929"/>
                  <a:ext cx="4130987" cy="93849"/>
                  <a:chOff x="1865543" y="4066365"/>
                  <a:chExt cx="4130987" cy="182884"/>
                </a:xfrm>
              </p:grpSpPr>
              <p:sp>
                <p:nvSpPr>
                  <p:cNvPr id="203" name="Content Placeholder 1">
                    <a:extLst>
                      <a:ext uri="{FF2B5EF4-FFF2-40B4-BE49-F238E27FC236}">
                        <a16:creationId xmlns:a16="http://schemas.microsoft.com/office/drawing/2014/main" id="{9841B645-D176-D881-D69C-0CE96265C9BD}"/>
                      </a:ext>
                    </a:extLst>
                  </p:cNvPr>
                  <p:cNvSpPr txBox="1">
                    <a:spLocks/>
                  </p:cNvSpPr>
                  <p:nvPr/>
                </p:nvSpPr>
                <p:spPr>
                  <a:xfrm>
                    <a:off x="1865543"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0</a:t>
                    </a:r>
                    <a:endParaRPr lang="en-US" sz="800" noProof="0"/>
                  </a:p>
                </p:txBody>
              </p:sp>
              <p:sp>
                <p:nvSpPr>
                  <p:cNvPr id="204" name="Content Placeholder 1">
                    <a:extLst>
                      <a:ext uri="{FF2B5EF4-FFF2-40B4-BE49-F238E27FC236}">
                        <a16:creationId xmlns:a16="http://schemas.microsoft.com/office/drawing/2014/main" id="{AD3A1B5E-7C3C-D2D0-0FC3-F1EC0AD2E30C}"/>
                      </a:ext>
                    </a:extLst>
                  </p:cNvPr>
                  <p:cNvSpPr txBox="1">
                    <a:spLocks/>
                  </p:cNvSpPr>
                  <p:nvPr/>
                </p:nvSpPr>
                <p:spPr>
                  <a:xfrm>
                    <a:off x="2523561"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4</a:t>
                    </a:r>
                    <a:endParaRPr lang="en-US" sz="800" noProof="0"/>
                  </a:p>
                </p:txBody>
              </p:sp>
              <p:sp>
                <p:nvSpPr>
                  <p:cNvPr id="231" name="Content Placeholder 1">
                    <a:extLst>
                      <a:ext uri="{FF2B5EF4-FFF2-40B4-BE49-F238E27FC236}">
                        <a16:creationId xmlns:a16="http://schemas.microsoft.com/office/drawing/2014/main" id="{2E539CF7-6214-F407-A582-B75E33A91F85}"/>
                      </a:ext>
                    </a:extLst>
                  </p:cNvPr>
                  <p:cNvSpPr txBox="1">
                    <a:spLocks/>
                  </p:cNvSpPr>
                  <p:nvPr/>
                </p:nvSpPr>
                <p:spPr>
                  <a:xfrm>
                    <a:off x="3181579"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8</a:t>
                    </a:r>
                    <a:endParaRPr lang="en-US" sz="800" noProof="0"/>
                  </a:p>
                </p:txBody>
              </p:sp>
              <p:sp>
                <p:nvSpPr>
                  <p:cNvPr id="232" name="Content Placeholder 1">
                    <a:extLst>
                      <a:ext uri="{FF2B5EF4-FFF2-40B4-BE49-F238E27FC236}">
                        <a16:creationId xmlns:a16="http://schemas.microsoft.com/office/drawing/2014/main" id="{3C115364-697C-D4CD-F1F7-363D2C05FAD1}"/>
                      </a:ext>
                    </a:extLst>
                  </p:cNvPr>
                  <p:cNvSpPr txBox="1">
                    <a:spLocks/>
                  </p:cNvSpPr>
                  <p:nvPr/>
                </p:nvSpPr>
                <p:spPr>
                  <a:xfrm>
                    <a:off x="3839597"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12</a:t>
                    </a:r>
                    <a:endParaRPr lang="en-US" sz="800" noProof="0"/>
                  </a:p>
                </p:txBody>
              </p:sp>
              <p:sp>
                <p:nvSpPr>
                  <p:cNvPr id="233" name="Content Placeholder 1">
                    <a:extLst>
                      <a:ext uri="{FF2B5EF4-FFF2-40B4-BE49-F238E27FC236}">
                        <a16:creationId xmlns:a16="http://schemas.microsoft.com/office/drawing/2014/main" id="{AD96B030-CD58-7F73-AEDB-67C636A48C63}"/>
                      </a:ext>
                    </a:extLst>
                  </p:cNvPr>
                  <p:cNvSpPr txBox="1">
                    <a:spLocks/>
                  </p:cNvSpPr>
                  <p:nvPr/>
                </p:nvSpPr>
                <p:spPr>
                  <a:xfrm>
                    <a:off x="4497615"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16</a:t>
                    </a:r>
                    <a:endParaRPr lang="en-US" sz="800" noProof="0"/>
                  </a:p>
                </p:txBody>
              </p:sp>
              <p:sp>
                <p:nvSpPr>
                  <p:cNvPr id="234" name="Content Placeholder 1">
                    <a:extLst>
                      <a:ext uri="{FF2B5EF4-FFF2-40B4-BE49-F238E27FC236}">
                        <a16:creationId xmlns:a16="http://schemas.microsoft.com/office/drawing/2014/main" id="{7F8AC962-64EF-C4FA-AAC5-CC266E65A5BD}"/>
                      </a:ext>
                    </a:extLst>
                  </p:cNvPr>
                  <p:cNvSpPr txBox="1">
                    <a:spLocks/>
                  </p:cNvSpPr>
                  <p:nvPr/>
                </p:nvSpPr>
                <p:spPr>
                  <a:xfrm>
                    <a:off x="5155633"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20</a:t>
                    </a:r>
                    <a:endParaRPr lang="en-US" sz="800" noProof="0"/>
                  </a:p>
                </p:txBody>
              </p:sp>
              <p:sp>
                <p:nvSpPr>
                  <p:cNvPr id="235" name="Content Placeholder 1">
                    <a:extLst>
                      <a:ext uri="{FF2B5EF4-FFF2-40B4-BE49-F238E27FC236}">
                        <a16:creationId xmlns:a16="http://schemas.microsoft.com/office/drawing/2014/main" id="{A25ED1F2-75B3-C19A-F8B9-4616B01FDD01}"/>
                      </a:ext>
                    </a:extLst>
                  </p:cNvPr>
                  <p:cNvSpPr txBox="1">
                    <a:spLocks/>
                  </p:cNvSpPr>
                  <p:nvPr/>
                </p:nvSpPr>
                <p:spPr>
                  <a:xfrm>
                    <a:off x="5813650" y="4066369"/>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24</a:t>
                    </a:r>
                    <a:endParaRPr lang="en-US" sz="800" noProof="0"/>
                  </a:p>
                </p:txBody>
              </p:sp>
            </p:grpSp>
          </p:grpSp>
          <p:grpSp>
            <p:nvGrpSpPr>
              <p:cNvPr id="527" name="Group 526">
                <a:extLst>
                  <a:ext uri="{FF2B5EF4-FFF2-40B4-BE49-F238E27FC236}">
                    <a16:creationId xmlns:a16="http://schemas.microsoft.com/office/drawing/2014/main" id="{F1BD36E5-A83A-5332-E7FA-1A1A8FD0BDD0}"/>
                  </a:ext>
                </a:extLst>
              </p:cNvPr>
              <p:cNvGrpSpPr/>
              <p:nvPr/>
            </p:nvGrpSpPr>
            <p:grpSpPr>
              <a:xfrm>
                <a:off x="1317856" y="4387106"/>
                <a:ext cx="4678674" cy="674889"/>
                <a:chOff x="1317856" y="4387106"/>
                <a:chExt cx="4678674" cy="674889"/>
              </a:xfrm>
            </p:grpSpPr>
            <p:sp>
              <p:nvSpPr>
                <p:cNvPr id="531" name="Content Placeholder 1">
                  <a:extLst>
                    <a:ext uri="{FF2B5EF4-FFF2-40B4-BE49-F238E27FC236}">
                      <a16:creationId xmlns:a16="http://schemas.microsoft.com/office/drawing/2014/main" id="{387610BE-D853-661F-57D3-A83717ECF6D5}"/>
                    </a:ext>
                  </a:extLst>
                </p:cNvPr>
                <p:cNvSpPr txBox="1">
                  <a:spLocks/>
                </p:cNvSpPr>
                <p:nvPr/>
              </p:nvSpPr>
              <p:spPr>
                <a:xfrm>
                  <a:off x="1317856" y="4546650"/>
                  <a:ext cx="182880"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noProof="0"/>
                    <a:t>Efgartigimod PH20 SC</a:t>
                  </a:r>
                </a:p>
              </p:txBody>
            </p:sp>
            <p:sp>
              <p:nvSpPr>
                <p:cNvPr id="532" name="Content Placeholder 1">
                  <a:extLst>
                    <a:ext uri="{FF2B5EF4-FFF2-40B4-BE49-F238E27FC236}">
                      <a16:creationId xmlns:a16="http://schemas.microsoft.com/office/drawing/2014/main" id="{94911558-3B2D-9717-2208-851A67692FDA}"/>
                    </a:ext>
                  </a:extLst>
                </p:cNvPr>
                <p:cNvSpPr txBox="1">
                  <a:spLocks/>
                </p:cNvSpPr>
                <p:nvPr/>
              </p:nvSpPr>
              <p:spPr>
                <a:xfrm>
                  <a:off x="1317856" y="4837163"/>
                  <a:ext cx="182880"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noProof="0">
                      <a:solidFill>
                        <a:srgbClr val="7CA744"/>
                      </a:solidFill>
                    </a:rPr>
                    <a:t>Placebo PH20 SC</a:t>
                  </a:r>
                </a:p>
              </p:txBody>
            </p:sp>
            <p:sp>
              <p:nvSpPr>
                <p:cNvPr id="534" name="Content Placeholder 1">
                  <a:extLst>
                    <a:ext uri="{FF2B5EF4-FFF2-40B4-BE49-F238E27FC236}">
                      <a16:creationId xmlns:a16="http://schemas.microsoft.com/office/drawing/2014/main" id="{EF145E24-12AE-610D-8B1F-342971E6D9E4}"/>
                    </a:ext>
                  </a:extLst>
                </p:cNvPr>
                <p:cNvSpPr txBox="1">
                  <a:spLocks/>
                </p:cNvSpPr>
                <p:nvPr/>
              </p:nvSpPr>
              <p:spPr>
                <a:xfrm>
                  <a:off x="1317856" y="4387106"/>
                  <a:ext cx="182880"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noProof="0">
                      <a:solidFill>
                        <a:schemeClr val="tx2"/>
                      </a:solidFill>
                    </a:rPr>
                    <a:t>Patients at risk/events</a:t>
                  </a:r>
                  <a:endParaRPr lang="en-US" sz="800" noProof="0"/>
                </a:p>
              </p:txBody>
            </p:sp>
            <p:grpSp>
              <p:nvGrpSpPr>
                <p:cNvPr id="539" name="Group 538">
                  <a:extLst>
                    <a:ext uri="{FF2B5EF4-FFF2-40B4-BE49-F238E27FC236}">
                      <a16:creationId xmlns:a16="http://schemas.microsoft.com/office/drawing/2014/main" id="{240AA12C-449C-5A28-C87C-BB24E3037331}"/>
                    </a:ext>
                  </a:extLst>
                </p:cNvPr>
                <p:cNvGrpSpPr/>
                <p:nvPr/>
              </p:nvGrpSpPr>
              <p:grpSpPr>
                <a:xfrm>
                  <a:off x="1865543" y="4677619"/>
                  <a:ext cx="4130987" cy="93847"/>
                  <a:chOff x="1865543" y="4066365"/>
                  <a:chExt cx="4130987" cy="182880"/>
                </a:xfrm>
              </p:grpSpPr>
              <p:sp>
                <p:nvSpPr>
                  <p:cNvPr id="194" name="Content Placeholder 1">
                    <a:extLst>
                      <a:ext uri="{FF2B5EF4-FFF2-40B4-BE49-F238E27FC236}">
                        <a16:creationId xmlns:a16="http://schemas.microsoft.com/office/drawing/2014/main" id="{3BB80E89-AB4E-D369-B6CA-84EDF3DB55C8}"/>
                      </a:ext>
                    </a:extLst>
                  </p:cNvPr>
                  <p:cNvSpPr txBox="1">
                    <a:spLocks/>
                  </p:cNvSpPr>
                  <p:nvPr/>
                </p:nvSpPr>
                <p:spPr>
                  <a:xfrm>
                    <a:off x="1865543"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47/0</a:t>
                    </a:r>
                    <a:endParaRPr lang="en-US" sz="800" noProof="0"/>
                  </a:p>
                </p:txBody>
              </p:sp>
              <p:sp>
                <p:nvSpPr>
                  <p:cNvPr id="195" name="Content Placeholder 1">
                    <a:extLst>
                      <a:ext uri="{FF2B5EF4-FFF2-40B4-BE49-F238E27FC236}">
                        <a16:creationId xmlns:a16="http://schemas.microsoft.com/office/drawing/2014/main" id="{9B55E5E2-87C3-FCBD-0FD0-678F988D6DB5}"/>
                      </a:ext>
                    </a:extLst>
                  </p:cNvPr>
                  <p:cNvSpPr txBox="1">
                    <a:spLocks/>
                  </p:cNvSpPr>
                  <p:nvPr/>
                </p:nvSpPr>
                <p:spPr>
                  <a:xfrm>
                    <a:off x="2523561"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41/6</a:t>
                    </a:r>
                    <a:endParaRPr lang="en-US" sz="800" noProof="0"/>
                  </a:p>
                </p:txBody>
              </p:sp>
              <p:sp>
                <p:nvSpPr>
                  <p:cNvPr id="196" name="Content Placeholder 1">
                    <a:extLst>
                      <a:ext uri="{FF2B5EF4-FFF2-40B4-BE49-F238E27FC236}">
                        <a16:creationId xmlns:a16="http://schemas.microsoft.com/office/drawing/2014/main" id="{2A0306CB-E08E-7069-B1E3-6F71C1B672AA}"/>
                      </a:ext>
                    </a:extLst>
                  </p:cNvPr>
                  <p:cNvSpPr txBox="1">
                    <a:spLocks/>
                  </p:cNvSpPr>
                  <p:nvPr/>
                </p:nvSpPr>
                <p:spPr>
                  <a:xfrm>
                    <a:off x="3181579"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19 /28</a:t>
                    </a:r>
                    <a:endParaRPr lang="en-US" sz="800" noProof="0"/>
                  </a:p>
                </p:txBody>
              </p:sp>
              <p:sp>
                <p:nvSpPr>
                  <p:cNvPr id="197" name="Content Placeholder 1">
                    <a:extLst>
                      <a:ext uri="{FF2B5EF4-FFF2-40B4-BE49-F238E27FC236}">
                        <a16:creationId xmlns:a16="http://schemas.microsoft.com/office/drawing/2014/main" id="{13538E7A-B0E0-D035-2EF1-D1C1295B6CE8}"/>
                      </a:ext>
                    </a:extLst>
                  </p:cNvPr>
                  <p:cNvSpPr txBox="1">
                    <a:spLocks/>
                  </p:cNvSpPr>
                  <p:nvPr/>
                </p:nvSpPr>
                <p:spPr>
                  <a:xfrm>
                    <a:off x="3839597"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14/33</a:t>
                    </a:r>
                    <a:endParaRPr lang="en-US" sz="800" noProof="0"/>
                  </a:p>
                </p:txBody>
              </p:sp>
              <p:sp>
                <p:nvSpPr>
                  <p:cNvPr id="198" name="Content Placeholder 1">
                    <a:extLst>
                      <a:ext uri="{FF2B5EF4-FFF2-40B4-BE49-F238E27FC236}">
                        <a16:creationId xmlns:a16="http://schemas.microsoft.com/office/drawing/2014/main" id="{F2A4CAA8-2C37-CF11-9D9D-E81F0E4BDBB9}"/>
                      </a:ext>
                    </a:extLst>
                  </p:cNvPr>
                  <p:cNvSpPr txBox="1">
                    <a:spLocks/>
                  </p:cNvSpPr>
                  <p:nvPr/>
                </p:nvSpPr>
                <p:spPr>
                  <a:xfrm>
                    <a:off x="4497615"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8/39</a:t>
                    </a:r>
                    <a:endParaRPr lang="en-US" sz="800" noProof="0"/>
                  </a:p>
                </p:txBody>
              </p:sp>
              <p:sp>
                <p:nvSpPr>
                  <p:cNvPr id="199" name="Content Placeholder 1">
                    <a:extLst>
                      <a:ext uri="{FF2B5EF4-FFF2-40B4-BE49-F238E27FC236}">
                        <a16:creationId xmlns:a16="http://schemas.microsoft.com/office/drawing/2014/main" id="{3BBD3705-7A3F-DC5A-B6AB-799C83BE2EB0}"/>
                      </a:ext>
                    </a:extLst>
                  </p:cNvPr>
                  <p:cNvSpPr txBox="1">
                    <a:spLocks/>
                  </p:cNvSpPr>
                  <p:nvPr/>
                </p:nvSpPr>
                <p:spPr>
                  <a:xfrm>
                    <a:off x="5155633"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4/43</a:t>
                    </a:r>
                    <a:endParaRPr lang="en-US" sz="800" noProof="0"/>
                  </a:p>
                </p:txBody>
              </p:sp>
              <p:sp>
                <p:nvSpPr>
                  <p:cNvPr id="200" name="Content Placeholder 1">
                    <a:extLst>
                      <a:ext uri="{FF2B5EF4-FFF2-40B4-BE49-F238E27FC236}">
                        <a16:creationId xmlns:a16="http://schemas.microsoft.com/office/drawing/2014/main" id="{085EF04A-910F-FAD5-31B7-1776E3AB928A}"/>
                      </a:ext>
                    </a:extLst>
                  </p:cNvPr>
                  <p:cNvSpPr txBox="1">
                    <a:spLocks/>
                  </p:cNvSpPr>
                  <p:nvPr/>
                </p:nvSpPr>
                <p:spPr>
                  <a:xfrm>
                    <a:off x="5813650"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4/43</a:t>
                    </a:r>
                    <a:endParaRPr lang="en-US" sz="800" noProof="0"/>
                  </a:p>
                </p:txBody>
              </p:sp>
            </p:grpSp>
            <p:grpSp>
              <p:nvGrpSpPr>
                <p:cNvPr id="570" name="Group 569">
                  <a:extLst>
                    <a:ext uri="{FF2B5EF4-FFF2-40B4-BE49-F238E27FC236}">
                      <a16:creationId xmlns:a16="http://schemas.microsoft.com/office/drawing/2014/main" id="{9C6CA7F4-78A4-F3E8-FB55-432053922DA1}"/>
                    </a:ext>
                  </a:extLst>
                </p:cNvPr>
                <p:cNvGrpSpPr/>
                <p:nvPr/>
              </p:nvGrpSpPr>
              <p:grpSpPr>
                <a:xfrm>
                  <a:off x="1865543" y="4968137"/>
                  <a:ext cx="4130987" cy="93858"/>
                  <a:chOff x="1865543" y="4122028"/>
                  <a:chExt cx="4130987" cy="182900"/>
                </a:xfrm>
              </p:grpSpPr>
              <p:sp>
                <p:nvSpPr>
                  <p:cNvPr id="571" name="Content Placeholder 1">
                    <a:extLst>
                      <a:ext uri="{FF2B5EF4-FFF2-40B4-BE49-F238E27FC236}">
                        <a16:creationId xmlns:a16="http://schemas.microsoft.com/office/drawing/2014/main" id="{66C7CFE1-7AA4-7F15-AB04-2913A8146354}"/>
                      </a:ext>
                    </a:extLst>
                  </p:cNvPr>
                  <p:cNvSpPr txBox="1">
                    <a:spLocks/>
                  </p:cNvSpPr>
                  <p:nvPr/>
                </p:nvSpPr>
                <p:spPr>
                  <a:xfrm>
                    <a:off x="1865543" y="4122049"/>
                    <a:ext cx="182880" cy="182879"/>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42/0</a:t>
                    </a:r>
                    <a:endParaRPr lang="en-US" sz="800" noProof="0">
                      <a:solidFill>
                        <a:srgbClr val="7CA744"/>
                      </a:solidFill>
                    </a:endParaRPr>
                  </a:p>
                </p:txBody>
              </p:sp>
              <p:sp>
                <p:nvSpPr>
                  <p:cNvPr id="572" name="Content Placeholder 1">
                    <a:extLst>
                      <a:ext uri="{FF2B5EF4-FFF2-40B4-BE49-F238E27FC236}">
                        <a16:creationId xmlns:a16="http://schemas.microsoft.com/office/drawing/2014/main" id="{DF182BA7-C42B-F1DC-D45E-2E0C0D20718D}"/>
                      </a:ext>
                    </a:extLst>
                  </p:cNvPr>
                  <p:cNvSpPr txBox="1">
                    <a:spLocks/>
                  </p:cNvSpPr>
                  <p:nvPr/>
                </p:nvSpPr>
                <p:spPr>
                  <a:xfrm>
                    <a:off x="2523561"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41/1</a:t>
                    </a:r>
                    <a:endParaRPr lang="en-US" sz="800" noProof="0">
                      <a:solidFill>
                        <a:srgbClr val="7CA744"/>
                      </a:solidFill>
                    </a:endParaRPr>
                  </a:p>
                </p:txBody>
              </p:sp>
              <p:sp>
                <p:nvSpPr>
                  <p:cNvPr id="573" name="Content Placeholder 1">
                    <a:extLst>
                      <a:ext uri="{FF2B5EF4-FFF2-40B4-BE49-F238E27FC236}">
                        <a16:creationId xmlns:a16="http://schemas.microsoft.com/office/drawing/2014/main" id="{DF3C260F-BA4A-2CAD-41F2-A35429B158B9}"/>
                      </a:ext>
                    </a:extLst>
                  </p:cNvPr>
                  <p:cNvSpPr txBox="1">
                    <a:spLocks/>
                  </p:cNvSpPr>
                  <p:nvPr/>
                </p:nvSpPr>
                <p:spPr>
                  <a:xfrm>
                    <a:off x="3181579"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24/18 </a:t>
                    </a:r>
                    <a:endParaRPr lang="en-US" sz="800" noProof="0">
                      <a:solidFill>
                        <a:srgbClr val="7CA744"/>
                      </a:solidFill>
                    </a:endParaRPr>
                  </a:p>
                </p:txBody>
              </p:sp>
              <p:sp>
                <p:nvSpPr>
                  <p:cNvPr id="574" name="Content Placeholder 1">
                    <a:extLst>
                      <a:ext uri="{FF2B5EF4-FFF2-40B4-BE49-F238E27FC236}">
                        <a16:creationId xmlns:a16="http://schemas.microsoft.com/office/drawing/2014/main" id="{0FF660D5-9AF2-406B-6339-6EF2017F59F9}"/>
                      </a:ext>
                    </a:extLst>
                  </p:cNvPr>
                  <p:cNvSpPr txBox="1">
                    <a:spLocks/>
                  </p:cNvSpPr>
                  <p:nvPr/>
                </p:nvSpPr>
                <p:spPr>
                  <a:xfrm>
                    <a:off x="3839597"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21/21</a:t>
                    </a:r>
                    <a:endParaRPr lang="en-US" sz="800" noProof="0">
                      <a:solidFill>
                        <a:srgbClr val="7CA744"/>
                      </a:solidFill>
                    </a:endParaRPr>
                  </a:p>
                </p:txBody>
              </p:sp>
              <p:sp>
                <p:nvSpPr>
                  <p:cNvPr id="575" name="Content Placeholder 1">
                    <a:extLst>
                      <a:ext uri="{FF2B5EF4-FFF2-40B4-BE49-F238E27FC236}">
                        <a16:creationId xmlns:a16="http://schemas.microsoft.com/office/drawing/2014/main" id="{0C661D6E-2D63-3729-C815-80BD2846C681}"/>
                      </a:ext>
                    </a:extLst>
                  </p:cNvPr>
                  <p:cNvSpPr txBox="1">
                    <a:spLocks/>
                  </p:cNvSpPr>
                  <p:nvPr/>
                </p:nvSpPr>
                <p:spPr>
                  <a:xfrm>
                    <a:off x="4497615"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17/25</a:t>
                    </a:r>
                    <a:endParaRPr lang="en-US" sz="800" noProof="0">
                      <a:solidFill>
                        <a:srgbClr val="7CA744"/>
                      </a:solidFill>
                    </a:endParaRPr>
                  </a:p>
                </p:txBody>
              </p:sp>
              <p:sp>
                <p:nvSpPr>
                  <p:cNvPr id="192" name="Content Placeholder 1">
                    <a:extLst>
                      <a:ext uri="{FF2B5EF4-FFF2-40B4-BE49-F238E27FC236}">
                        <a16:creationId xmlns:a16="http://schemas.microsoft.com/office/drawing/2014/main" id="{8609A760-3082-9C6F-7D5A-86BD0D0B4F9F}"/>
                      </a:ext>
                    </a:extLst>
                  </p:cNvPr>
                  <p:cNvSpPr txBox="1">
                    <a:spLocks/>
                  </p:cNvSpPr>
                  <p:nvPr/>
                </p:nvSpPr>
                <p:spPr>
                  <a:xfrm>
                    <a:off x="5155633"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15/27</a:t>
                    </a:r>
                    <a:endParaRPr lang="en-US" sz="800" noProof="0">
                      <a:solidFill>
                        <a:srgbClr val="7CA744"/>
                      </a:solidFill>
                    </a:endParaRPr>
                  </a:p>
                </p:txBody>
              </p:sp>
              <p:sp>
                <p:nvSpPr>
                  <p:cNvPr id="193" name="Content Placeholder 1">
                    <a:extLst>
                      <a:ext uri="{FF2B5EF4-FFF2-40B4-BE49-F238E27FC236}">
                        <a16:creationId xmlns:a16="http://schemas.microsoft.com/office/drawing/2014/main" id="{79E358F3-957C-016C-694C-0D9075F86C3F}"/>
                      </a:ext>
                    </a:extLst>
                  </p:cNvPr>
                  <p:cNvSpPr txBox="1">
                    <a:spLocks/>
                  </p:cNvSpPr>
                  <p:nvPr/>
                </p:nvSpPr>
                <p:spPr>
                  <a:xfrm>
                    <a:off x="5813650"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14/28</a:t>
                    </a:r>
                    <a:endParaRPr lang="en-US" sz="800" noProof="0">
                      <a:solidFill>
                        <a:srgbClr val="7CA744"/>
                      </a:solidFill>
                    </a:endParaRPr>
                  </a:p>
                </p:txBody>
              </p:sp>
            </p:grpSp>
          </p:grpSp>
          <p:grpSp>
            <p:nvGrpSpPr>
              <p:cNvPr id="528" name="Group 527">
                <a:extLst>
                  <a:ext uri="{FF2B5EF4-FFF2-40B4-BE49-F238E27FC236}">
                    <a16:creationId xmlns:a16="http://schemas.microsoft.com/office/drawing/2014/main" id="{FADBF725-B43D-99C0-403D-683149A3C78B}"/>
                  </a:ext>
                </a:extLst>
              </p:cNvPr>
              <p:cNvGrpSpPr/>
              <p:nvPr/>
            </p:nvGrpSpPr>
            <p:grpSpPr>
              <a:xfrm>
                <a:off x="1399478" y="2767891"/>
                <a:ext cx="2622999" cy="1641625"/>
                <a:chOff x="1399478" y="2767891"/>
                <a:chExt cx="2622999" cy="1641625"/>
              </a:xfrm>
            </p:grpSpPr>
            <p:sp>
              <p:nvSpPr>
                <p:cNvPr id="529" name="Content Placeholder 1">
                  <a:extLst>
                    <a:ext uri="{FF2B5EF4-FFF2-40B4-BE49-F238E27FC236}">
                      <a16:creationId xmlns:a16="http://schemas.microsoft.com/office/drawing/2014/main" id="{6B207333-5835-57C5-B389-ED16C2E64174}"/>
                    </a:ext>
                  </a:extLst>
                </p:cNvPr>
                <p:cNvSpPr txBox="1">
                  <a:spLocks/>
                </p:cNvSpPr>
                <p:nvPr/>
              </p:nvSpPr>
              <p:spPr>
                <a:xfrm rot="16200000">
                  <a:off x="1399478" y="2767891"/>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noProof="0">
                      <a:solidFill>
                        <a:schemeClr val="tx2"/>
                      </a:solidFill>
                    </a:rPr>
                    <a:t>Probability of TIS ≥20</a:t>
                  </a:r>
                  <a:endParaRPr lang="en-US" sz="1000" noProof="0"/>
                </a:p>
              </p:txBody>
            </p:sp>
            <p:sp>
              <p:nvSpPr>
                <p:cNvPr id="530" name="Content Placeholder 1">
                  <a:extLst>
                    <a:ext uri="{FF2B5EF4-FFF2-40B4-BE49-F238E27FC236}">
                      <a16:creationId xmlns:a16="http://schemas.microsoft.com/office/drawing/2014/main" id="{948A2E50-DF08-0543-5293-933CF1B9A59A}"/>
                    </a:ext>
                  </a:extLst>
                </p:cNvPr>
                <p:cNvSpPr txBox="1">
                  <a:spLocks/>
                </p:cNvSpPr>
                <p:nvPr/>
              </p:nvSpPr>
              <p:spPr>
                <a:xfrm>
                  <a:off x="3839597" y="4315669"/>
                  <a:ext cx="182880"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noProof="0">
                      <a:solidFill>
                        <a:schemeClr val="tx2"/>
                      </a:solidFill>
                    </a:rPr>
                    <a:t>Week</a:t>
                  </a:r>
                </a:p>
              </p:txBody>
            </p:sp>
          </p:grpSp>
        </p:grpSp>
        <p:grpSp>
          <p:nvGrpSpPr>
            <p:cNvPr id="18" name="Group 17">
              <a:extLst>
                <a:ext uri="{FF2B5EF4-FFF2-40B4-BE49-F238E27FC236}">
                  <a16:creationId xmlns:a16="http://schemas.microsoft.com/office/drawing/2014/main" id="{5B92DAB6-E47E-9598-5D51-C99290026BDA}"/>
                </a:ext>
              </a:extLst>
            </p:cNvPr>
            <p:cNvGrpSpPr/>
            <p:nvPr/>
          </p:nvGrpSpPr>
          <p:grpSpPr>
            <a:xfrm>
              <a:off x="6644236" y="1615621"/>
              <a:ext cx="4678674" cy="3446374"/>
              <a:chOff x="1317856" y="1615621"/>
              <a:chExt cx="4678674" cy="3446374"/>
            </a:xfrm>
          </p:grpSpPr>
          <p:grpSp>
            <p:nvGrpSpPr>
              <p:cNvPr id="24" name="Group 23">
                <a:extLst>
                  <a:ext uri="{FF2B5EF4-FFF2-40B4-BE49-F238E27FC236}">
                    <a16:creationId xmlns:a16="http://schemas.microsoft.com/office/drawing/2014/main" id="{02F32D93-2368-0578-5C72-5A2ECE60423B}"/>
                  </a:ext>
                </a:extLst>
              </p:cNvPr>
              <p:cNvGrpSpPr/>
              <p:nvPr/>
            </p:nvGrpSpPr>
            <p:grpSpPr>
              <a:xfrm>
                <a:off x="1880144" y="1709406"/>
                <a:ext cx="4021088" cy="2377169"/>
                <a:chOff x="1880144" y="1709406"/>
                <a:chExt cx="4021088" cy="2377169"/>
              </a:xfrm>
            </p:grpSpPr>
            <p:sp>
              <p:nvSpPr>
                <p:cNvPr id="504" name="Freeform: Shape 344">
                  <a:extLst>
                    <a:ext uri="{FF2B5EF4-FFF2-40B4-BE49-F238E27FC236}">
                      <a16:creationId xmlns:a16="http://schemas.microsoft.com/office/drawing/2014/main" id="{3751680D-9989-A171-E96E-5A13D703FCCB}"/>
                    </a:ext>
                  </a:extLst>
                </p:cNvPr>
                <p:cNvSpPr/>
                <p:nvPr/>
              </p:nvSpPr>
              <p:spPr>
                <a:xfrm>
                  <a:off x="1950720" y="1712495"/>
                  <a:ext cx="3949566" cy="2300438"/>
                </a:xfrm>
                <a:custGeom>
                  <a:avLst/>
                  <a:gdLst>
                    <a:gd name="connsiteX0" fmla="*/ 0 w 4052235"/>
                    <a:gd name="connsiteY0" fmla="*/ 0 h 2300438"/>
                    <a:gd name="connsiteX1" fmla="*/ 0 w 4052235"/>
                    <a:gd name="connsiteY1" fmla="*/ 2300438 h 2300438"/>
                    <a:gd name="connsiteX2" fmla="*/ 4052235 w 4052235"/>
                    <a:gd name="connsiteY2" fmla="*/ 2300438 h 2300438"/>
                  </a:gdLst>
                  <a:ahLst/>
                  <a:cxnLst>
                    <a:cxn ang="0">
                      <a:pos x="connsiteX0" y="connsiteY0"/>
                    </a:cxn>
                    <a:cxn ang="0">
                      <a:pos x="connsiteX1" y="connsiteY1"/>
                    </a:cxn>
                    <a:cxn ang="0">
                      <a:pos x="connsiteX2" y="connsiteY2"/>
                    </a:cxn>
                  </a:cxnLst>
                  <a:rect l="l" t="t" r="r" b="b"/>
                  <a:pathLst>
                    <a:path w="4052235" h="2300438">
                      <a:moveTo>
                        <a:pt x="0" y="0"/>
                      </a:moveTo>
                      <a:lnTo>
                        <a:pt x="0" y="2300438"/>
                      </a:lnTo>
                      <a:lnTo>
                        <a:pt x="4052235" y="2300438"/>
                      </a:lnTo>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505" name="Group 504">
                  <a:extLst>
                    <a:ext uri="{FF2B5EF4-FFF2-40B4-BE49-F238E27FC236}">
                      <a16:creationId xmlns:a16="http://schemas.microsoft.com/office/drawing/2014/main" id="{9DC298AF-7022-95AD-811C-134FEE9427E0}"/>
                    </a:ext>
                  </a:extLst>
                </p:cNvPr>
                <p:cNvGrpSpPr/>
                <p:nvPr/>
              </p:nvGrpSpPr>
              <p:grpSpPr>
                <a:xfrm>
                  <a:off x="1880144" y="1709406"/>
                  <a:ext cx="73152" cy="2303111"/>
                  <a:chOff x="1880144" y="1633206"/>
                  <a:chExt cx="73152" cy="2303111"/>
                </a:xfrm>
              </p:grpSpPr>
              <p:cxnSp>
                <p:nvCxnSpPr>
                  <p:cNvPr id="514" name="Straight Connector 513">
                    <a:extLst>
                      <a:ext uri="{FF2B5EF4-FFF2-40B4-BE49-F238E27FC236}">
                        <a16:creationId xmlns:a16="http://schemas.microsoft.com/office/drawing/2014/main" id="{1963FEF3-86A2-695D-5F9B-15924E2C2EE2}"/>
                      </a:ext>
                    </a:extLst>
                  </p:cNvPr>
                  <p:cNvCxnSpPr>
                    <a:cxnSpLocks/>
                  </p:cNvCxnSpPr>
                  <p:nvPr/>
                </p:nvCxnSpPr>
                <p:spPr>
                  <a:xfrm flipH="1">
                    <a:off x="1880144" y="163320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15" name="Straight Connector 514">
                    <a:extLst>
                      <a:ext uri="{FF2B5EF4-FFF2-40B4-BE49-F238E27FC236}">
                        <a16:creationId xmlns:a16="http://schemas.microsoft.com/office/drawing/2014/main" id="{45CA1DD8-0BA9-9E08-56A0-3FC113869753}"/>
                      </a:ext>
                    </a:extLst>
                  </p:cNvPr>
                  <p:cNvCxnSpPr>
                    <a:cxnSpLocks/>
                  </p:cNvCxnSpPr>
                  <p:nvPr/>
                </p:nvCxnSpPr>
                <p:spPr>
                  <a:xfrm flipH="1">
                    <a:off x="1880144" y="1863517"/>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16" name="Straight Connector 515">
                    <a:extLst>
                      <a:ext uri="{FF2B5EF4-FFF2-40B4-BE49-F238E27FC236}">
                        <a16:creationId xmlns:a16="http://schemas.microsoft.com/office/drawing/2014/main" id="{CB7443DF-6207-6B2B-4251-C65349DABC63}"/>
                      </a:ext>
                    </a:extLst>
                  </p:cNvPr>
                  <p:cNvCxnSpPr>
                    <a:cxnSpLocks/>
                  </p:cNvCxnSpPr>
                  <p:nvPr/>
                </p:nvCxnSpPr>
                <p:spPr>
                  <a:xfrm flipH="1">
                    <a:off x="1880144" y="2093828"/>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17" name="Straight Connector 516">
                    <a:extLst>
                      <a:ext uri="{FF2B5EF4-FFF2-40B4-BE49-F238E27FC236}">
                        <a16:creationId xmlns:a16="http://schemas.microsoft.com/office/drawing/2014/main" id="{02ADF0AD-2ECF-8EB1-A740-E9AEA5B84413}"/>
                      </a:ext>
                    </a:extLst>
                  </p:cNvPr>
                  <p:cNvCxnSpPr>
                    <a:cxnSpLocks/>
                  </p:cNvCxnSpPr>
                  <p:nvPr/>
                </p:nvCxnSpPr>
                <p:spPr>
                  <a:xfrm flipH="1">
                    <a:off x="1880144" y="2324139"/>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18" name="Straight Connector 517">
                    <a:extLst>
                      <a:ext uri="{FF2B5EF4-FFF2-40B4-BE49-F238E27FC236}">
                        <a16:creationId xmlns:a16="http://schemas.microsoft.com/office/drawing/2014/main" id="{7E90BD03-939E-E232-9CB0-4B530A6371EB}"/>
                      </a:ext>
                    </a:extLst>
                  </p:cNvPr>
                  <p:cNvCxnSpPr>
                    <a:cxnSpLocks/>
                  </p:cNvCxnSpPr>
                  <p:nvPr/>
                </p:nvCxnSpPr>
                <p:spPr>
                  <a:xfrm flipH="1">
                    <a:off x="1880144" y="2554450"/>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19" name="Straight Connector 518">
                    <a:extLst>
                      <a:ext uri="{FF2B5EF4-FFF2-40B4-BE49-F238E27FC236}">
                        <a16:creationId xmlns:a16="http://schemas.microsoft.com/office/drawing/2014/main" id="{982F7294-1DD5-C9EB-7258-E5B47034765C}"/>
                      </a:ext>
                    </a:extLst>
                  </p:cNvPr>
                  <p:cNvCxnSpPr>
                    <a:cxnSpLocks/>
                  </p:cNvCxnSpPr>
                  <p:nvPr/>
                </p:nvCxnSpPr>
                <p:spPr>
                  <a:xfrm flipH="1">
                    <a:off x="1880144" y="2784761"/>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20" name="Straight Connector 519">
                    <a:extLst>
                      <a:ext uri="{FF2B5EF4-FFF2-40B4-BE49-F238E27FC236}">
                        <a16:creationId xmlns:a16="http://schemas.microsoft.com/office/drawing/2014/main" id="{15D1770A-6E07-4209-1C2D-ADCA4BF0B374}"/>
                      </a:ext>
                    </a:extLst>
                  </p:cNvPr>
                  <p:cNvCxnSpPr>
                    <a:cxnSpLocks/>
                  </p:cNvCxnSpPr>
                  <p:nvPr/>
                </p:nvCxnSpPr>
                <p:spPr>
                  <a:xfrm flipH="1">
                    <a:off x="1880144" y="3015072"/>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21" name="Straight Connector 520">
                    <a:extLst>
                      <a:ext uri="{FF2B5EF4-FFF2-40B4-BE49-F238E27FC236}">
                        <a16:creationId xmlns:a16="http://schemas.microsoft.com/office/drawing/2014/main" id="{36660C9B-ABC4-637B-F1B7-8BDB4CEABED7}"/>
                      </a:ext>
                    </a:extLst>
                  </p:cNvPr>
                  <p:cNvCxnSpPr>
                    <a:cxnSpLocks/>
                  </p:cNvCxnSpPr>
                  <p:nvPr/>
                </p:nvCxnSpPr>
                <p:spPr>
                  <a:xfrm flipH="1">
                    <a:off x="1880144" y="3245383"/>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22" name="Straight Connector 521">
                    <a:extLst>
                      <a:ext uri="{FF2B5EF4-FFF2-40B4-BE49-F238E27FC236}">
                        <a16:creationId xmlns:a16="http://schemas.microsoft.com/office/drawing/2014/main" id="{BB899BF8-A1C6-815D-743B-4FDE3ED594F8}"/>
                      </a:ext>
                    </a:extLst>
                  </p:cNvPr>
                  <p:cNvCxnSpPr>
                    <a:cxnSpLocks/>
                  </p:cNvCxnSpPr>
                  <p:nvPr/>
                </p:nvCxnSpPr>
                <p:spPr>
                  <a:xfrm flipH="1">
                    <a:off x="1880144" y="3475694"/>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23" name="Straight Connector 522">
                    <a:extLst>
                      <a:ext uri="{FF2B5EF4-FFF2-40B4-BE49-F238E27FC236}">
                        <a16:creationId xmlns:a16="http://schemas.microsoft.com/office/drawing/2014/main" id="{97DA88D9-B995-FBDC-6826-6DD45A0EA6A2}"/>
                      </a:ext>
                    </a:extLst>
                  </p:cNvPr>
                  <p:cNvCxnSpPr>
                    <a:cxnSpLocks/>
                  </p:cNvCxnSpPr>
                  <p:nvPr/>
                </p:nvCxnSpPr>
                <p:spPr>
                  <a:xfrm flipH="1">
                    <a:off x="1880144" y="3706005"/>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24" name="Straight Connector 523">
                    <a:extLst>
                      <a:ext uri="{FF2B5EF4-FFF2-40B4-BE49-F238E27FC236}">
                        <a16:creationId xmlns:a16="http://schemas.microsoft.com/office/drawing/2014/main" id="{7906F7CC-0D9A-F41F-13A4-059A10832778}"/>
                      </a:ext>
                    </a:extLst>
                  </p:cNvPr>
                  <p:cNvCxnSpPr>
                    <a:cxnSpLocks/>
                  </p:cNvCxnSpPr>
                  <p:nvPr/>
                </p:nvCxnSpPr>
                <p:spPr>
                  <a:xfrm flipH="1">
                    <a:off x="1880144" y="3936317"/>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06" name="Group 505">
                  <a:extLst>
                    <a:ext uri="{FF2B5EF4-FFF2-40B4-BE49-F238E27FC236}">
                      <a16:creationId xmlns:a16="http://schemas.microsoft.com/office/drawing/2014/main" id="{B8428418-F055-6CCE-DC13-B944EEADF739}"/>
                    </a:ext>
                  </a:extLst>
                </p:cNvPr>
                <p:cNvGrpSpPr/>
                <p:nvPr/>
              </p:nvGrpSpPr>
              <p:grpSpPr>
                <a:xfrm>
                  <a:off x="1951026" y="4013423"/>
                  <a:ext cx="3950206" cy="73152"/>
                  <a:chOff x="1951026" y="3932460"/>
                  <a:chExt cx="3950206" cy="73152"/>
                </a:xfrm>
              </p:grpSpPr>
              <p:cxnSp>
                <p:nvCxnSpPr>
                  <p:cNvPr id="507" name="Straight Connector 506">
                    <a:extLst>
                      <a:ext uri="{FF2B5EF4-FFF2-40B4-BE49-F238E27FC236}">
                        <a16:creationId xmlns:a16="http://schemas.microsoft.com/office/drawing/2014/main" id="{5865893E-6F6B-0E71-63E5-C876AE7FC3CF}"/>
                      </a:ext>
                    </a:extLst>
                  </p:cNvPr>
                  <p:cNvCxnSpPr>
                    <a:cxnSpLocks/>
                  </p:cNvCxnSpPr>
                  <p:nvPr/>
                </p:nvCxnSpPr>
                <p:spPr>
                  <a:xfrm rot="16200000" flipH="1">
                    <a:off x="1914450"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08" name="Straight Connector 507">
                    <a:extLst>
                      <a:ext uri="{FF2B5EF4-FFF2-40B4-BE49-F238E27FC236}">
                        <a16:creationId xmlns:a16="http://schemas.microsoft.com/office/drawing/2014/main" id="{C8CAACA1-20E5-DF2C-2CA9-827FA3847E0D}"/>
                      </a:ext>
                    </a:extLst>
                  </p:cNvPr>
                  <p:cNvCxnSpPr>
                    <a:cxnSpLocks/>
                  </p:cNvCxnSpPr>
                  <p:nvPr/>
                </p:nvCxnSpPr>
                <p:spPr>
                  <a:xfrm rot="16200000" flipH="1">
                    <a:off x="2572818"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09" name="Straight Connector 508">
                    <a:extLst>
                      <a:ext uri="{FF2B5EF4-FFF2-40B4-BE49-F238E27FC236}">
                        <a16:creationId xmlns:a16="http://schemas.microsoft.com/office/drawing/2014/main" id="{A0D4CFC9-4DAE-7CF2-42EB-F4599763071E}"/>
                      </a:ext>
                    </a:extLst>
                  </p:cNvPr>
                  <p:cNvCxnSpPr>
                    <a:cxnSpLocks/>
                  </p:cNvCxnSpPr>
                  <p:nvPr/>
                </p:nvCxnSpPr>
                <p:spPr>
                  <a:xfrm rot="16200000" flipH="1">
                    <a:off x="3231185"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10" name="Straight Connector 509">
                    <a:extLst>
                      <a:ext uri="{FF2B5EF4-FFF2-40B4-BE49-F238E27FC236}">
                        <a16:creationId xmlns:a16="http://schemas.microsoft.com/office/drawing/2014/main" id="{751F33D7-6B9A-0C3E-C6DD-CF1BDD095655}"/>
                      </a:ext>
                    </a:extLst>
                  </p:cNvPr>
                  <p:cNvCxnSpPr>
                    <a:cxnSpLocks/>
                  </p:cNvCxnSpPr>
                  <p:nvPr/>
                </p:nvCxnSpPr>
                <p:spPr>
                  <a:xfrm rot="16200000" flipH="1">
                    <a:off x="3889553"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11" name="Straight Connector 510">
                    <a:extLst>
                      <a:ext uri="{FF2B5EF4-FFF2-40B4-BE49-F238E27FC236}">
                        <a16:creationId xmlns:a16="http://schemas.microsoft.com/office/drawing/2014/main" id="{32372B9D-8C39-C8AB-755A-A0051A59D621}"/>
                      </a:ext>
                    </a:extLst>
                  </p:cNvPr>
                  <p:cNvCxnSpPr>
                    <a:cxnSpLocks/>
                  </p:cNvCxnSpPr>
                  <p:nvPr/>
                </p:nvCxnSpPr>
                <p:spPr>
                  <a:xfrm rot="16200000" flipH="1">
                    <a:off x="4547921"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12" name="Straight Connector 511">
                    <a:extLst>
                      <a:ext uri="{FF2B5EF4-FFF2-40B4-BE49-F238E27FC236}">
                        <a16:creationId xmlns:a16="http://schemas.microsoft.com/office/drawing/2014/main" id="{65AC29CC-9837-0802-E3A9-57DD2C3A4604}"/>
                      </a:ext>
                    </a:extLst>
                  </p:cNvPr>
                  <p:cNvCxnSpPr>
                    <a:cxnSpLocks/>
                  </p:cNvCxnSpPr>
                  <p:nvPr/>
                </p:nvCxnSpPr>
                <p:spPr>
                  <a:xfrm rot="16200000" flipH="1">
                    <a:off x="5206289" y="3969036"/>
                    <a:ext cx="73152" cy="0"/>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13" name="Straight Connector 512">
                    <a:extLst>
                      <a:ext uri="{FF2B5EF4-FFF2-40B4-BE49-F238E27FC236}">
                        <a16:creationId xmlns:a16="http://schemas.microsoft.com/office/drawing/2014/main" id="{BF697747-9C98-7F76-B032-69C15120FE8E}"/>
                      </a:ext>
                    </a:extLst>
                  </p:cNvPr>
                  <p:cNvCxnSpPr>
                    <a:cxnSpLocks/>
                  </p:cNvCxnSpPr>
                  <p:nvPr/>
                </p:nvCxnSpPr>
                <p:spPr>
                  <a:xfrm>
                    <a:off x="5901232" y="3932460"/>
                    <a:ext cx="0" cy="73152"/>
                  </a:xfrm>
                  <a:prstGeom prst="lin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44" name="Group 43">
                <a:extLst>
                  <a:ext uri="{FF2B5EF4-FFF2-40B4-BE49-F238E27FC236}">
                    <a16:creationId xmlns:a16="http://schemas.microsoft.com/office/drawing/2014/main" id="{827FF8F8-673E-C546-001D-E4360D1DB8DD}"/>
                  </a:ext>
                </a:extLst>
              </p:cNvPr>
              <p:cNvGrpSpPr/>
              <p:nvPr/>
            </p:nvGrpSpPr>
            <p:grpSpPr>
              <a:xfrm>
                <a:off x="1660753" y="1615621"/>
                <a:ext cx="4335777" cy="2608157"/>
                <a:chOff x="1660753" y="1615621"/>
                <a:chExt cx="4335777" cy="2608157"/>
              </a:xfrm>
            </p:grpSpPr>
            <p:grpSp>
              <p:nvGrpSpPr>
                <p:cNvPr id="469" name="Group 468">
                  <a:extLst>
                    <a:ext uri="{FF2B5EF4-FFF2-40B4-BE49-F238E27FC236}">
                      <a16:creationId xmlns:a16="http://schemas.microsoft.com/office/drawing/2014/main" id="{DD467058-A5B4-325A-A2FA-A4D68FCD9708}"/>
                    </a:ext>
                  </a:extLst>
                </p:cNvPr>
                <p:cNvGrpSpPr/>
                <p:nvPr/>
              </p:nvGrpSpPr>
              <p:grpSpPr>
                <a:xfrm>
                  <a:off x="1660753" y="1615621"/>
                  <a:ext cx="182880" cy="2485991"/>
                  <a:chOff x="1660753" y="1539421"/>
                  <a:chExt cx="182880" cy="2485991"/>
                </a:xfrm>
              </p:grpSpPr>
              <p:sp>
                <p:nvSpPr>
                  <p:cNvPr id="492" name="Content Placeholder 1">
                    <a:extLst>
                      <a:ext uri="{FF2B5EF4-FFF2-40B4-BE49-F238E27FC236}">
                        <a16:creationId xmlns:a16="http://schemas.microsoft.com/office/drawing/2014/main" id="{12E2182B-8669-EA27-130C-76B2F47D0B73}"/>
                      </a:ext>
                    </a:extLst>
                  </p:cNvPr>
                  <p:cNvSpPr txBox="1">
                    <a:spLocks/>
                  </p:cNvSpPr>
                  <p:nvPr/>
                </p:nvSpPr>
                <p:spPr>
                  <a:xfrm>
                    <a:off x="1660753" y="1539421"/>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1.0</a:t>
                    </a:r>
                    <a:endParaRPr lang="en-US" sz="800" noProof="0"/>
                  </a:p>
                </p:txBody>
              </p:sp>
              <p:sp>
                <p:nvSpPr>
                  <p:cNvPr id="494" name="Content Placeholder 1">
                    <a:extLst>
                      <a:ext uri="{FF2B5EF4-FFF2-40B4-BE49-F238E27FC236}">
                        <a16:creationId xmlns:a16="http://schemas.microsoft.com/office/drawing/2014/main" id="{F870C4A5-824D-148F-1AC0-76DB46C15410}"/>
                      </a:ext>
                    </a:extLst>
                  </p:cNvPr>
                  <p:cNvSpPr txBox="1">
                    <a:spLocks/>
                  </p:cNvSpPr>
                  <p:nvPr/>
                </p:nvSpPr>
                <p:spPr>
                  <a:xfrm>
                    <a:off x="1660753" y="1769732"/>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9</a:t>
                    </a:r>
                    <a:endParaRPr lang="en-US" sz="800" noProof="0"/>
                  </a:p>
                </p:txBody>
              </p:sp>
              <p:sp>
                <p:nvSpPr>
                  <p:cNvPr id="495" name="Content Placeholder 1">
                    <a:extLst>
                      <a:ext uri="{FF2B5EF4-FFF2-40B4-BE49-F238E27FC236}">
                        <a16:creationId xmlns:a16="http://schemas.microsoft.com/office/drawing/2014/main" id="{B6B1214D-177A-0772-1DE7-238739993ACC}"/>
                      </a:ext>
                    </a:extLst>
                  </p:cNvPr>
                  <p:cNvSpPr txBox="1">
                    <a:spLocks/>
                  </p:cNvSpPr>
                  <p:nvPr/>
                </p:nvSpPr>
                <p:spPr>
                  <a:xfrm>
                    <a:off x="1660753" y="2000043"/>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8</a:t>
                    </a:r>
                    <a:endParaRPr lang="en-US" sz="800" noProof="0"/>
                  </a:p>
                </p:txBody>
              </p:sp>
              <p:sp>
                <p:nvSpPr>
                  <p:cNvPr id="496" name="Content Placeholder 1">
                    <a:extLst>
                      <a:ext uri="{FF2B5EF4-FFF2-40B4-BE49-F238E27FC236}">
                        <a16:creationId xmlns:a16="http://schemas.microsoft.com/office/drawing/2014/main" id="{99A3D22A-9F6E-F615-1E2F-53B738BD1163}"/>
                      </a:ext>
                    </a:extLst>
                  </p:cNvPr>
                  <p:cNvSpPr txBox="1">
                    <a:spLocks/>
                  </p:cNvSpPr>
                  <p:nvPr/>
                </p:nvSpPr>
                <p:spPr>
                  <a:xfrm>
                    <a:off x="1660753" y="2230354"/>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7</a:t>
                    </a:r>
                    <a:endParaRPr lang="en-US" sz="800" noProof="0"/>
                  </a:p>
                </p:txBody>
              </p:sp>
              <p:sp>
                <p:nvSpPr>
                  <p:cNvPr id="497" name="Content Placeholder 1">
                    <a:extLst>
                      <a:ext uri="{FF2B5EF4-FFF2-40B4-BE49-F238E27FC236}">
                        <a16:creationId xmlns:a16="http://schemas.microsoft.com/office/drawing/2014/main" id="{7B5D386C-18DC-8FFF-4D3F-D1AB98A941DD}"/>
                      </a:ext>
                    </a:extLst>
                  </p:cNvPr>
                  <p:cNvSpPr txBox="1">
                    <a:spLocks/>
                  </p:cNvSpPr>
                  <p:nvPr/>
                </p:nvSpPr>
                <p:spPr>
                  <a:xfrm>
                    <a:off x="1660753" y="24606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6</a:t>
                    </a:r>
                    <a:endParaRPr lang="en-US" sz="800" noProof="0"/>
                  </a:p>
                </p:txBody>
              </p:sp>
              <p:sp>
                <p:nvSpPr>
                  <p:cNvPr id="498" name="Content Placeholder 1">
                    <a:extLst>
                      <a:ext uri="{FF2B5EF4-FFF2-40B4-BE49-F238E27FC236}">
                        <a16:creationId xmlns:a16="http://schemas.microsoft.com/office/drawing/2014/main" id="{F7FEFF12-A170-DCDA-E1EF-52114EBCC54F}"/>
                      </a:ext>
                    </a:extLst>
                  </p:cNvPr>
                  <p:cNvSpPr txBox="1">
                    <a:spLocks/>
                  </p:cNvSpPr>
                  <p:nvPr/>
                </p:nvSpPr>
                <p:spPr>
                  <a:xfrm>
                    <a:off x="1660753" y="2690976"/>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5</a:t>
                    </a:r>
                    <a:endParaRPr lang="en-US" sz="800" noProof="0"/>
                  </a:p>
                </p:txBody>
              </p:sp>
              <p:sp>
                <p:nvSpPr>
                  <p:cNvPr id="499" name="Content Placeholder 1">
                    <a:extLst>
                      <a:ext uri="{FF2B5EF4-FFF2-40B4-BE49-F238E27FC236}">
                        <a16:creationId xmlns:a16="http://schemas.microsoft.com/office/drawing/2014/main" id="{6E54DCDF-77BA-DEE6-F8FF-544867502CC1}"/>
                      </a:ext>
                    </a:extLst>
                  </p:cNvPr>
                  <p:cNvSpPr txBox="1">
                    <a:spLocks/>
                  </p:cNvSpPr>
                  <p:nvPr/>
                </p:nvSpPr>
                <p:spPr>
                  <a:xfrm>
                    <a:off x="1660753" y="2921287"/>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4</a:t>
                    </a:r>
                    <a:endParaRPr lang="en-US" sz="800" noProof="0"/>
                  </a:p>
                </p:txBody>
              </p:sp>
              <p:sp>
                <p:nvSpPr>
                  <p:cNvPr id="500" name="Content Placeholder 1">
                    <a:extLst>
                      <a:ext uri="{FF2B5EF4-FFF2-40B4-BE49-F238E27FC236}">
                        <a16:creationId xmlns:a16="http://schemas.microsoft.com/office/drawing/2014/main" id="{85ADA200-9F22-E8FA-54D8-F52F92C8139F}"/>
                      </a:ext>
                    </a:extLst>
                  </p:cNvPr>
                  <p:cNvSpPr txBox="1">
                    <a:spLocks/>
                  </p:cNvSpPr>
                  <p:nvPr/>
                </p:nvSpPr>
                <p:spPr>
                  <a:xfrm>
                    <a:off x="1660753" y="3151598"/>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3</a:t>
                    </a:r>
                    <a:endParaRPr lang="en-US" sz="800" noProof="0"/>
                  </a:p>
                </p:txBody>
              </p:sp>
              <p:sp>
                <p:nvSpPr>
                  <p:cNvPr id="501" name="Content Placeholder 1">
                    <a:extLst>
                      <a:ext uri="{FF2B5EF4-FFF2-40B4-BE49-F238E27FC236}">
                        <a16:creationId xmlns:a16="http://schemas.microsoft.com/office/drawing/2014/main" id="{1F3DD972-D7AF-156B-1AB2-896F9C35CA87}"/>
                      </a:ext>
                    </a:extLst>
                  </p:cNvPr>
                  <p:cNvSpPr txBox="1">
                    <a:spLocks/>
                  </p:cNvSpPr>
                  <p:nvPr/>
                </p:nvSpPr>
                <p:spPr>
                  <a:xfrm>
                    <a:off x="1660753" y="3381909"/>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2</a:t>
                    </a:r>
                    <a:endParaRPr lang="en-US" sz="800" noProof="0"/>
                  </a:p>
                </p:txBody>
              </p:sp>
              <p:sp>
                <p:nvSpPr>
                  <p:cNvPr id="502" name="Content Placeholder 1">
                    <a:extLst>
                      <a:ext uri="{FF2B5EF4-FFF2-40B4-BE49-F238E27FC236}">
                        <a16:creationId xmlns:a16="http://schemas.microsoft.com/office/drawing/2014/main" id="{9A5B8E15-E362-03A8-C0FE-7CA55B39270A}"/>
                      </a:ext>
                    </a:extLst>
                  </p:cNvPr>
                  <p:cNvSpPr txBox="1">
                    <a:spLocks/>
                  </p:cNvSpPr>
                  <p:nvPr/>
                </p:nvSpPr>
                <p:spPr>
                  <a:xfrm>
                    <a:off x="1660753" y="3612220"/>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1</a:t>
                    </a:r>
                    <a:endParaRPr lang="en-US" sz="800" noProof="0"/>
                  </a:p>
                </p:txBody>
              </p:sp>
              <p:sp>
                <p:nvSpPr>
                  <p:cNvPr id="503" name="Content Placeholder 1">
                    <a:extLst>
                      <a:ext uri="{FF2B5EF4-FFF2-40B4-BE49-F238E27FC236}">
                        <a16:creationId xmlns:a16="http://schemas.microsoft.com/office/drawing/2014/main" id="{16618EF2-5EBD-5891-19C3-9CF38BAEB9B0}"/>
                      </a:ext>
                    </a:extLst>
                  </p:cNvPr>
                  <p:cNvSpPr txBox="1">
                    <a:spLocks/>
                  </p:cNvSpPr>
                  <p:nvPr/>
                </p:nvSpPr>
                <p:spPr>
                  <a:xfrm>
                    <a:off x="1660753" y="3842532"/>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b="0" noProof="0">
                        <a:solidFill>
                          <a:schemeClr val="tx2"/>
                        </a:solidFill>
                      </a:rPr>
                      <a:t>0.0</a:t>
                    </a:r>
                    <a:endParaRPr lang="en-US" sz="800" noProof="0"/>
                  </a:p>
                </p:txBody>
              </p:sp>
            </p:grpSp>
            <p:grpSp>
              <p:nvGrpSpPr>
                <p:cNvPr id="470" name="Group 469">
                  <a:extLst>
                    <a:ext uri="{FF2B5EF4-FFF2-40B4-BE49-F238E27FC236}">
                      <a16:creationId xmlns:a16="http://schemas.microsoft.com/office/drawing/2014/main" id="{BA93D057-81D6-5E26-3DC8-45BAE79A1E06}"/>
                    </a:ext>
                  </a:extLst>
                </p:cNvPr>
                <p:cNvGrpSpPr/>
                <p:nvPr/>
              </p:nvGrpSpPr>
              <p:grpSpPr>
                <a:xfrm>
                  <a:off x="1865543" y="4129929"/>
                  <a:ext cx="4130987" cy="93849"/>
                  <a:chOff x="1865543" y="4066365"/>
                  <a:chExt cx="4130987" cy="182884"/>
                </a:xfrm>
              </p:grpSpPr>
              <p:sp>
                <p:nvSpPr>
                  <p:cNvPr id="471" name="Content Placeholder 1">
                    <a:extLst>
                      <a:ext uri="{FF2B5EF4-FFF2-40B4-BE49-F238E27FC236}">
                        <a16:creationId xmlns:a16="http://schemas.microsoft.com/office/drawing/2014/main" id="{81295621-1BCA-9B80-803D-9148ACD419AC}"/>
                      </a:ext>
                    </a:extLst>
                  </p:cNvPr>
                  <p:cNvSpPr txBox="1">
                    <a:spLocks/>
                  </p:cNvSpPr>
                  <p:nvPr/>
                </p:nvSpPr>
                <p:spPr>
                  <a:xfrm>
                    <a:off x="1865543"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0</a:t>
                    </a:r>
                    <a:endParaRPr lang="en-US" sz="800" noProof="0"/>
                  </a:p>
                </p:txBody>
              </p:sp>
              <p:sp>
                <p:nvSpPr>
                  <p:cNvPr id="486" name="Content Placeholder 1">
                    <a:extLst>
                      <a:ext uri="{FF2B5EF4-FFF2-40B4-BE49-F238E27FC236}">
                        <a16:creationId xmlns:a16="http://schemas.microsoft.com/office/drawing/2014/main" id="{558A96AF-0E2E-B888-B56B-CB8A9195745D}"/>
                      </a:ext>
                    </a:extLst>
                  </p:cNvPr>
                  <p:cNvSpPr txBox="1">
                    <a:spLocks/>
                  </p:cNvSpPr>
                  <p:nvPr/>
                </p:nvSpPr>
                <p:spPr>
                  <a:xfrm>
                    <a:off x="2523561"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4</a:t>
                    </a:r>
                    <a:endParaRPr lang="en-US" sz="800" noProof="0"/>
                  </a:p>
                </p:txBody>
              </p:sp>
              <p:sp>
                <p:nvSpPr>
                  <p:cNvPr id="487" name="Content Placeholder 1">
                    <a:extLst>
                      <a:ext uri="{FF2B5EF4-FFF2-40B4-BE49-F238E27FC236}">
                        <a16:creationId xmlns:a16="http://schemas.microsoft.com/office/drawing/2014/main" id="{065B38DB-6593-D42D-04BF-AAE4F45C1C07}"/>
                      </a:ext>
                    </a:extLst>
                  </p:cNvPr>
                  <p:cNvSpPr txBox="1">
                    <a:spLocks/>
                  </p:cNvSpPr>
                  <p:nvPr/>
                </p:nvSpPr>
                <p:spPr>
                  <a:xfrm>
                    <a:off x="3181579"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8</a:t>
                    </a:r>
                    <a:endParaRPr lang="en-US" sz="800" noProof="0"/>
                  </a:p>
                </p:txBody>
              </p:sp>
              <p:sp>
                <p:nvSpPr>
                  <p:cNvPr id="488" name="Content Placeholder 1">
                    <a:extLst>
                      <a:ext uri="{FF2B5EF4-FFF2-40B4-BE49-F238E27FC236}">
                        <a16:creationId xmlns:a16="http://schemas.microsoft.com/office/drawing/2014/main" id="{08708BF1-4EFB-3D39-5000-88778C189384}"/>
                      </a:ext>
                    </a:extLst>
                  </p:cNvPr>
                  <p:cNvSpPr txBox="1">
                    <a:spLocks/>
                  </p:cNvSpPr>
                  <p:nvPr/>
                </p:nvSpPr>
                <p:spPr>
                  <a:xfrm>
                    <a:off x="3839597"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12</a:t>
                    </a:r>
                    <a:endParaRPr lang="en-US" sz="800" noProof="0"/>
                  </a:p>
                </p:txBody>
              </p:sp>
              <p:sp>
                <p:nvSpPr>
                  <p:cNvPr id="489" name="Content Placeholder 1">
                    <a:extLst>
                      <a:ext uri="{FF2B5EF4-FFF2-40B4-BE49-F238E27FC236}">
                        <a16:creationId xmlns:a16="http://schemas.microsoft.com/office/drawing/2014/main" id="{8D45B23E-A479-DABC-F3A8-A8E1EF17D3AE}"/>
                      </a:ext>
                    </a:extLst>
                  </p:cNvPr>
                  <p:cNvSpPr txBox="1">
                    <a:spLocks/>
                  </p:cNvSpPr>
                  <p:nvPr/>
                </p:nvSpPr>
                <p:spPr>
                  <a:xfrm>
                    <a:off x="4497615"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16</a:t>
                    </a:r>
                    <a:endParaRPr lang="en-US" sz="800" noProof="0"/>
                  </a:p>
                </p:txBody>
              </p:sp>
              <p:sp>
                <p:nvSpPr>
                  <p:cNvPr id="490" name="Content Placeholder 1">
                    <a:extLst>
                      <a:ext uri="{FF2B5EF4-FFF2-40B4-BE49-F238E27FC236}">
                        <a16:creationId xmlns:a16="http://schemas.microsoft.com/office/drawing/2014/main" id="{7F1A7B17-D669-B26A-43F1-F3635919BF21}"/>
                      </a:ext>
                    </a:extLst>
                  </p:cNvPr>
                  <p:cNvSpPr txBox="1">
                    <a:spLocks/>
                  </p:cNvSpPr>
                  <p:nvPr/>
                </p:nvSpPr>
                <p:spPr>
                  <a:xfrm>
                    <a:off x="5155633"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20</a:t>
                    </a:r>
                    <a:endParaRPr lang="en-US" sz="800" noProof="0"/>
                  </a:p>
                </p:txBody>
              </p:sp>
              <p:sp>
                <p:nvSpPr>
                  <p:cNvPr id="491" name="Content Placeholder 1">
                    <a:extLst>
                      <a:ext uri="{FF2B5EF4-FFF2-40B4-BE49-F238E27FC236}">
                        <a16:creationId xmlns:a16="http://schemas.microsoft.com/office/drawing/2014/main" id="{EF066AD5-B5FF-DDD0-94AC-15165C354BBA}"/>
                      </a:ext>
                    </a:extLst>
                  </p:cNvPr>
                  <p:cNvSpPr txBox="1">
                    <a:spLocks/>
                  </p:cNvSpPr>
                  <p:nvPr/>
                </p:nvSpPr>
                <p:spPr>
                  <a:xfrm>
                    <a:off x="5813650" y="4066369"/>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tx2"/>
                        </a:solidFill>
                      </a:rPr>
                      <a:t>24</a:t>
                    </a:r>
                    <a:endParaRPr lang="en-US" sz="800" noProof="0"/>
                  </a:p>
                </p:txBody>
              </p:sp>
            </p:grpSp>
          </p:grpSp>
          <p:grpSp>
            <p:nvGrpSpPr>
              <p:cNvPr id="45" name="Group 44">
                <a:extLst>
                  <a:ext uri="{FF2B5EF4-FFF2-40B4-BE49-F238E27FC236}">
                    <a16:creationId xmlns:a16="http://schemas.microsoft.com/office/drawing/2014/main" id="{C7B9824F-10D3-FA73-1D9A-8C169E6A485E}"/>
                  </a:ext>
                </a:extLst>
              </p:cNvPr>
              <p:cNvGrpSpPr/>
              <p:nvPr/>
            </p:nvGrpSpPr>
            <p:grpSpPr>
              <a:xfrm>
                <a:off x="1317856" y="4387106"/>
                <a:ext cx="4678674" cy="674889"/>
                <a:chOff x="1317856" y="4387106"/>
                <a:chExt cx="4678674" cy="674889"/>
              </a:xfrm>
            </p:grpSpPr>
            <p:sp>
              <p:nvSpPr>
                <p:cNvPr id="49" name="Content Placeholder 1">
                  <a:extLst>
                    <a:ext uri="{FF2B5EF4-FFF2-40B4-BE49-F238E27FC236}">
                      <a16:creationId xmlns:a16="http://schemas.microsoft.com/office/drawing/2014/main" id="{0C340645-C994-AF26-7893-83370252730E}"/>
                    </a:ext>
                  </a:extLst>
                </p:cNvPr>
                <p:cNvSpPr txBox="1">
                  <a:spLocks/>
                </p:cNvSpPr>
                <p:nvPr/>
              </p:nvSpPr>
              <p:spPr>
                <a:xfrm>
                  <a:off x="1317856" y="4546650"/>
                  <a:ext cx="182880"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noProof="0"/>
                    <a:t>Efgartigimod PH20 SC</a:t>
                  </a:r>
                </a:p>
              </p:txBody>
            </p:sp>
            <p:sp>
              <p:nvSpPr>
                <p:cNvPr id="50" name="Content Placeholder 1">
                  <a:extLst>
                    <a:ext uri="{FF2B5EF4-FFF2-40B4-BE49-F238E27FC236}">
                      <a16:creationId xmlns:a16="http://schemas.microsoft.com/office/drawing/2014/main" id="{29D69F6A-E14E-5362-0C68-A0B2CDA28C29}"/>
                    </a:ext>
                  </a:extLst>
                </p:cNvPr>
                <p:cNvSpPr txBox="1">
                  <a:spLocks/>
                </p:cNvSpPr>
                <p:nvPr/>
              </p:nvSpPr>
              <p:spPr>
                <a:xfrm>
                  <a:off x="1317856" y="4837163"/>
                  <a:ext cx="182880"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noProof="0">
                      <a:solidFill>
                        <a:srgbClr val="7CA744"/>
                      </a:solidFill>
                    </a:rPr>
                    <a:t>Placebo PH20 SC</a:t>
                  </a:r>
                </a:p>
              </p:txBody>
            </p:sp>
            <p:sp>
              <p:nvSpPr>
                <p:cNvPr id="51" name="Content Placeholder 1">
                  <a:extLst>
                    <a:ext uri="{FF2B5EF4-FFF2-40B4-BE49-F238E27FC236}">
                      <a16:creationId xmlns:a16="http://schemas.microsoft.com/office/drawing/2014/main" id="{BB18C10E-C89C-2137-A923-631A0E29174F}"/>
                    </a:ext>
                  </a:extLst>
                </p:cNvPr>
                <p:cNvSpPr txBox="1">
                  <a:spLocks/>
                </p:cNvSpPr>
                <p:nvPr/>
              </p:nvSpPr>
              <p:spPr>
                <a:xfrm>
                  <a:off x="1317856" y="4387106"/>
                  <a:ext cx="182880"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noProof="0">
                      <a:solidFill>
                        <a:schemeClr val="tx2"/>
                      </a:solidFill>
                    </a:rPr>
                    <a:t>Patients at risk/events</a:t>
                  </a:r>
                  <a:endParaRPr lang="en-US" sz="800" noProof="0"/>
                </a:p>
              </p:txBody>
            </p:sp>
            <p:grpSp>
              <p:nvGrpSpPr>
                <p:cNvPr id="52" name="Group 51">
                  <a:extLst>
                    <a:ext uri="{FF2B5EF4-FFF2-40B4-BE49-F238E27FC236}">
                      <a16:creationId xmlns:a16="http://schemas.microsoft.com/office/drawing/2014/main" id="{801A32EE-A5C1-0C43-5745-BADD4710448D}"/>
                    </a:ext>
                  </a:extLst>
                </p:cNvPr>
                <p:cNvGrpSpPr/>
                <p:nvPr/>
              </p:nvGrpSpPr>
              <p:grpSpPr>
                <a:xfrm>
                  <a:off x="1865543" y="4677619"/>
                  <a:ext cx="4130987" cy="93847"/>
                  <a:chOff x="1865543" y="4066365"/>
                  <a:chExt cx="4130987" cy="182880"/>
                </a:xfrm>
              </p:grpSpPr>
              <p:sp>
                <p:nvSpPr>
                  <p:cNvPr id="61" name="Content Placeholder 1">
                    <a:extLst>
                      <a:ext uri="{FF2B5EF4-FFF2-40B4-BE49-F238E27FC236}">
                        <a16:creationId xmlns:a16="http://schemas.microsoft.com/office/drawing/2014/main" id="{E2DC58CC-232D-1624-1E6C-14023BE976A3}"/>
                      </a:ext>
                    </a:extLst>
                  </p:cNvPr>
                  <p:cNvSpPr txBox="1">
                    <a:spLocks/>
                  </p:cNvSpPr>
                  <p:nvPr/>
                </p:nvSpPr>
                <p:spPr>
                  <a:xfrm>
                    <a:off x="1865543"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chemeClr val="accent1">
                            <a:lumMod val="75000"/>
                          </a:schemeClr>
                        </a:solidFill>
                      </a:rPr>
                      <a:t>47/0</a:t>
                    </a:r>
                    <a:endParaRPr lang="en-US" sz="800" noProof="0">
                      <a:solidFill>
                        <a:schemeClr val="accent1">
                          <a:lumMod val="75000"/>
                        </a:schemeClr>
                      </a:solidFill>
                    </a:endParaRPr>
                  </a:p>
                </p:txBody>
              </p:sp>
              <p:sp>
                <p:nvSpPr>
                  <p:cNvPr id="62" name="Content Placeholder 1">
                    <a:extLst>
                      <a:ext uri="{FF2B5EF4-FFF2-40B4-BE49-F238E27FC236}">
                        <a16:creationId xmlns:a16="http://schemas.microsoft.com/office/drawing/2014/main" id="{EB405E7C-7F9A-9B99-78F7-B116FC56E75D}"/>
                      </a:ext>
                    </a:extLst>
                  </p:cNvPr>
                  <p:cNvSpPr txBox="1">
                    <a:spLocks/>
                  </p:cNvSpPr>
                  <p:nvPr/>
                </p:nvSpPr>
                <p:spPr>
                  <a:xfrm>
                    <a:off x="2523561"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46/1</a:t>
                    </a:r>
                    <a:endParaRPr lang="en-US" sz="800" noProof="0"/>
                  </a:p>
                </p:txBody>
              </p:sp>
              <p:sp>
                <p:nvSpPr>
                  <p:cNvPr id="63" name="Content Placeholder 1">
                    <a:extLst>
                      <a:ext uri="{FF2B5EF4-FFF2-40B4-BE49-F238E27FC236}">
                        <a16:creationId xmlns:a16="http://schemas.microsoft.com/office/drawing/2014/main" id="{E122C329-4325-F9A4-8D46-BEE51EDD4B7A}"/>
                      </a:ext>
                    </a:extLst>
                  </p:cNvPr>
                  <p:cNvSpPr txBox="1">
                    <a:spLocks/>
                  </p:cNvSpPr>
                  <p:nvPr/>
                </p:nvSpPr>
                <p:spPr>
                  <a:xfrm>
                    <a:off x="3181579"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39/8</a:t>
                    </a:r>
                    <a:endParaRPr lang="en-US" sz="800" noProof="0"/>
                  </a:p>
                </p:txBody>
              </p:sp>
              <p:sp>
                <p:nvSpPr>
                  <p:cNvPr id="465" name="Content Placeholder 1">
                    <a:extLst>
                      <a:ext uri="{FF2B5EF4-FFF2-40B4-BE49-F238E27FC236}">
                        <a16:creationId xmlns:a16="http://schemas.microsoft.com/office/drawing/2014/main" id="{0E00335C-3415-7172-8834-B8A115F8BD33}"/>
                      </a:ext>
                    </a:extLst>
                  </p:cNvPr>
                  <p:cNvSpPr txBox="1">
                    <a:spLocks/>
                  </p:cNvSpPr>
                  <p:nvPr/>
                </p:nvSpPr>
                <p:spPr>
                  <a:xfrm>
                    <a:off x="3839597"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30/17</a:t>
                    </a:r>
                    <a:endParaRPr lang="en-US" sz="800" noProof="0"/>
                  </a:p>
                </p:txBody>
              </p:sp>
              <p:sp>
                <p:nvSpPr>
                  <p:cNvPr id="466" name="Content Placeholder 1">
                    <a:extLst>
                      <a:ext uri="{FF2B5EF4-FFF2-40B4-BE49-F238E27FC236}">
                        <a16:creationId xmlns:a16="http://schemas.microsoft.com/office/drawing/2014/main" id="{B4BB8B82-9F2B-8E1D-847C-433764333DF3}"/>
                      </a:ext>
                    </a:extLst>
                  </p:cNvPr>
                  <p:cNvSpPr txBox="1">
                    <a:spLocks/>
                  </p:cNvSpPr>
                  <p:nvPr/>
                </p:nvSpPr>
                <p:spPr>
                  <a:xfrm>
                    <a:off x="4497615"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24/23</a:t>
                    </a:r>
                    <a:endParaRPr lang="en-US" sz="800" noProof="0"/>
                  </a:p>
                </p:txBody>
              </p:sp>
              <p:sp>
                <p:nvSpPr>
                  <p:cNvPr id="467" name="Content Placeholder 1">
                    <a:extLst>
                      <a:ext uri="{FF2B5EF4-FFF2-40B4-BE49-F238E27FC236}">
                        <a16:creationId xmlns:a16="http://schemas.microsoft.com/office/drawing/2014/main" id="{6D6B31E5-9D14-A362-F338-8B543E7F80E9}"/>
                      </a:ext>
                    </a:extLst>
                  </p:cNvPr>
                  <p:cNvSpPr txBox="1">
                    <a:spLocks/>
                  </p:cNvSpPr>
                  <p:nvPr/>
                </p:nvSpPr>
                <p:spPr>
                  <a:xfrm>
                    <a:off x="5155633"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20/27</a:t>
                    </a:r>
                    <a:endParaRPr lang="en-US" sz="800" noProof="0"/>
                  </a:p>
                </p:txBody>
              </p:sp>
              <p:sp>
                <p:nvSpPr>
                  <p:cNvPr id="468" name="Content Placeholder 1">
                    <a:extLst>
                      <a:ext uri="{FF2B5EF4-FFF2-40B4-BE49-F238E27FC236}">
                        <a16:creationId xmlns:a16="http://schemas.microsoft.com/office/drawing/2014/main" id="{015F266C-B83E-8FD7-EB32-707C53EEFA0D}"/>
                      </a:ext>
                    </a:extLst>
                  </p:cNvPr>
                  <p:cNvSpPr txBox="1">
                    <a:spLocks/>
                  </p:cNvSpPr>
                  <p:nvPr/>
                </p:nvSpPr>
                <p:spPr>
                  <a:xfrm>
                    <a:off x="5813650" y="4066365"/>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t>18/29</a:t>
                    </a:r>
                    <a:endParaRPr lang="en-US" sz="800" noProof="0"/>
                  </a:p>
                </p:txBody>
              </p:sp>
            </p:grpSp>
            <p:grpSp>
              <p:nvGrpSpPr>
                <p:cNvPr id="53" name="Group 52">
                  <a:extLst>
                    <a:ext uri="{FF2B5EF4-FFF2-40B4-BE49-F238E27FC236}">
                      <a16:creationId xmlns:a16="http://schemas.microsoft.com/office/drawing/2014/main" id="{E208320A-88F5-5ACA-67E2-79E7EB9AF278}"/>
                    </a:ext>
                  </a:extLst>
                </p:cNvPr>
                <p:cNvGrpSpPr/>
                <p:nvPr/>
              </p:nvGrpSpPr>
              <p:grpSpPr>
                <a:xfrm>
                  <a:off x="1865543" y="4968137"/>
                  <a:ext cx="4130987" cy="93858"/>
                  <a:chOff x="1865543" y="4122028"/>
                  <a:chExt cx="4130987" cy="182900"/>
                </a:xfrm>
              </p:grpSpPr>
              <p:sp>
                <p:nvSpPr>
                  <p:cNvPr id="54" name="Content Placeholder 1">
                    <a:extLst>
                      <a:ext uri="{FF2B5EF4-FFF2-40B4-BE49-F238E27FC236}">
                        <a16:creationId xmlns:a16="http://schemas.microsoft.com/office/drawing/2014/main" id="{E9908A86-A1B2-BF2E-9AAD-8BDF39D00F7B}"/>
                      </a:ext>
                    </a:extLst>
                  </p:cNvPr>
                  <p:cNvSpPr txBox="1">
                    <a:spLocks/>
                  </p:cNvSpPr>
                  <p:nvPr/>
                </p:nvSpPr>
                <p:spPr>
                  <a:xfrm>
                    <a:off x="1865543" y="4122049"/>
                    <a:ext cx="182880" cy="182879"/>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42/0</a:t>
                    </a:r>
                    <a:endParaRPr lang="en-US" sz="800" noProof="0">
                      <a:solidFill>
                        <a:srgbClr val="7CA744"/>
                      </a:solidFill>
                    </a:endParaRPr>
                  </a:p>
                </p:txBody>
              </p:sp>
              <p:sp>
                <p:nvSpPr>
                  <p:cNvPr id="55" name="Content Placeholder 1">
                    <a:extLst>
                      <a:ext uri="{FF2B5EF4-FFF2-40B4-BE49-F238E27FC236}">
                        <a16:creationId xmlns:a16="http://schemas.microsoft.com/office/drawing/2014/main" id="{C8C49915-40E7-7D36-910F-A838D6A54310}"/>
                      </a:ext>
                    </a:extLst>
                  </p:cNvPr>
                  <p:cNvSpPr txBox="1">
                    <a:spLocks/>
                  </p:cNvSpPr>
                  <p:nvPr/>
                </p:nvSpPr>
                <p:spPr>
                  <a:xfrm>
                    <a:off x="2523561"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42/0</a:t>
                    </a:r>
                    <a:endParaRPr lang="en-US" sz="800" noProof="0">
                      <a:solidFill>
                        <a:srgbClr val="7CA744"/>
                      </a:solidFill>
                    </a:endParaRPr>
                  </a:p>
                </p:txBody>
              </p:sp>
              <p:sp>
                <p:nvSpPr>
                  <p:cNvPr id="56" name="Content Placeholder 1">
                    <a:extLst>
                      <a:ext uri="{FF2B5EF4-FFF2-40B4-BE49-F238E27FC236}">
                        <a16:creationId xmlns:a16="http://schemas.microsoft.com/office/drawing/2014/main" id="{67419850-6059-8604-A448-C749A582EBB2}"/>
                      </a:ext>
                    </a:extLst>
                  </p:cNvPr>
                  <p:cNvSpPr txBox="1">
                    <a:spLocks/>
                  </p:cNvSpPr>
                  <p:nvPr/>
                </p:nvSpPr>
                <p:spPr>
                  <a:xfrm>
                    <a:off x="3181579"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40/2</a:t>
                    </a:r>
                    <a:endParaRPr lang="en-US" sz="800" noProof="0">
                      <a:solidFill>
                        <a:srgbClr val="7CA744"/>
                      </a:solidFill>
                    </a:endParaRPr>
                  </a:p>
                </p:txBody>
              </p:sp>
              <p:sp>
                <p:nvSpPr>
                  <p:cNvPr id="57" name="Content Placeholder 1">
                    <a:extLst>
                      <a:ext uri="{FF2B5EF4-FFF2-40B4-BE49-F238E27FC236}">
                        <a16:creationId xmlns:a16="http://schemas.microsoft.com/office/drawing/2014/main" id="{9DB61494-351E-FE73-49E1-9F7962DD7CD4}"/>
                      </a:ext>
                    </a:extLst>
                  </p:cNvPr>
                  <p:cNvSpPr txBox="1">
                    <a:spLocks/>
                  </p:cNvSpPr>
                  <p:nvPr/>
                </p:nvSpPr>
                <p:spPr>
                  <a:xfrm>
                    <a:off x="3839597"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37/5</a:t>
                    </a:r>
                    <a:endParaRPr lang="en-US" sz="800" noProof="0">
                      <a:solidFill>
                        <a:srgbClr val="7CA744"/>
                      </a:solidFill>
                    </a:endParaRPr>
                  </a:p>
                </p:txBody>
              </p:sp>
              <p:sp>
                <p:nvSpPr>
                  <p:cNvPr id="58" name="Content Placeholder 1">
                    <a:extLst>
                      <a:ext uri="{FF2B5EF4-FFF2-40B4-BE49-F238E27FC236}">
                        <a16:creationId xmlns:a16="http://schemas.microsoft.com/office/drawing/2014/main" id="{AD2A9D1B-820D-F26D-A565-E8C526FCF4CB}"/>
                      </a:ext>
                    </a:extLst>
                  </p:cNvPr>
                  <p:cNvSpPr txBox="1">
                    <a:spLocks/>
                  </p:cNvSpPr>
                  <p:nvPr/>
                </p:nvSpPr>
                <p:spPr>
                  <a:xfrm>
                    <a:off x="4497615"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a:solidFill>
                          <a:srgbClr val="7CA744"/>
                        </a:solidFill>
                      </a:rPr>
                      <a:t>32</a:t>
                    </a:r>
                    <a:r>
                      <a:rPr lang="en-US" sz="800" b="0" noProof="0">
                        <a:solidFill>
                          <a:srgbClr val="7CA744"/>
                        </a:solidFill>
                      </a:rPr>
                      <a:t>/10</a:t>
                    </a:r>
                    <a:endParaRPr lang="en-US" sz="800" noProof="0">
                      <a:solidFill>
                        <a:srgbClr val="7CA744"/>
                      </a:solidFill>
                    </a:endParaRPr>
                  </a:p>
                </p:txBody>
              </p:sp>
              <p:sp>
                <p:nvSpPr>
                  <p:cNvPr id="59" name="Content Placeholder 1">
                    <a:extLst>
                      <a:ext uri="{FF2B5EF4-FFF2-40B4-BE49-F238E27FC236}">
                        <a16:creationId xmlns:a16="http://schemas.microsoft.com/office/drawing/2014/main" id="{7CD433A8-ABAA-0FFB-2104-BED79A3C2B55}"/>
                      </a:ext>
                    </a:extLst>
                  </p:cNvPr>
                  <p:cNvSpPr txBox="1">
                    <a:spLocks/>
                  </p:cNvSpPr>
                  <p:nvPr/>
                </p:nvSpPr>
                <p:spPr>
                  <a:xfrm>
                    <a:off x="5155633"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28/14</a:t>
                    </a:r>
                    <a:endParaRPr lang="en-US" sz="800" noProof="0">
                      <a:solidFill>
                        <a:srgbClr val="7CA744"/>
                      </a:solidFill>
                    </a:endParaRPr>
                  </a:p>
                </p:txBody>
              </p:sp>
              <p:sp>
                <p:nvSpPr>
                  <p:cNvPr id="60" name="Content Placeholder 1">
                    <a:extLst>
                      <a:ext uri="{FF2B5EF4-FFF2-40B4-BE49-F238E27FC236}">
                        <a16:creationId xmlns:a16="http://schemas.microsoft.com/office/drawing/2014/main" id="{BED6EDDA-5917-DCE2-EE2B-2CA2714ECFF7}"/>
                      </a:ext>
                    </a:extLst>
                  </p:cNvPr>
                  <p:cNvSpPr txBox="1">
                    <a:spLocks/>
                  </p:cNvSpPr>
                  <p:nvPr/>
                </p:nvSpPr>
                <p:spPr>
                  <a:xfrm>
                    <a:off x="5813650" y="4122028"/>
                    <a:ext cx="182880" cy="182881"/>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b="0" noProof="0">
                        <a:solidFill>
                          <a:srgbClr val="7CA744"/>
                        </a:solidFill>
                      </a:rPr>
                      <a:t>25/17</a:t>
                    </a:r>
                    <a:endParaRPr lang="en-US" sz="800" noProof="0">
                      <a:solidFill>
                        <a:srgbClr val="7CA744"/>
                      </a:solidFill>
                    </a:endParaRPr>
                  </a:p>
                </p:txBody>
              </p:sp>
            </p:grpSp>
          </p:grpSp>
          <p:grpSp>
            <p:nvGrpSpPr>
              <p:cNvPr id="46" name="Group 45">
                <a:extLst>
                  <a:ext uri="{FF2B5EF4-FFF2-40B4-BE49-F238E27FC236}">
                    <a16:creationId xmlns:a16="http://schemas.microsoft.com/office/drawing/2014/main" id="{125F166E-70DF-261E-8F40-6790003AD6F1}"/>
                  </a:ext>
                </a:extLst>
              </p:cNvPr>
              <p:cNvGrpSpPr/>
              <p:nvPr/>
            </p:nvGrpSpPr>
            <p:grpSpPr>
              <a:xfrm>
                <a:off x="1399478" y="2767891"/>
                <a:ext cx="2622999" cy="1641625"/>
                <a:chOff x="1399478" y="2767891"/>
                <a:chExt cx="2622999" cy="1641625"/>
              </a:xfrm>
            </p:grpSpPr>
            <p:sp>
              <p:nvSpPr>
                <p:cNvPr id="47" name="Content Placeholder 1">
                  <a:extLst>
                    <a:ext uri="{FF2B5EF4-FFF2-40B4-BE49-F238E27FC236}">
                      <a16:creationId xmlns:a16="http://schemas.microsoft.com/office/drawing/2014/main" id="{BDB99DD9-3DC0-2E54-F62B-24DBF4DD9B3E}"/>
                    </a:ext>
                  </a:extLst>
                </p:cNvPr>
                <p:cNvSpPr txBox="1">
                  <a:spLocks/>
                </p:cNvSpPr>
                <p:nvPr/>
              </p:nvSpPr>
              <p:spPr>
                <a:xfrm rot="16200000">
                  <a:off x="1399478" y="2767891"/>
                  <a:ext cx="182880" cy="182880"/>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noProof="0">
                      <a:solidFill>
                        <a:schemeClr val="tx2"/>
                      </a:solidFill>
                    </a:rPr>
                    <a:t>Probability of TIS ≥40</a:t>
                  </a:r>
                  <a:endParaRPr lang="en-US" sz="1000" noProof="0"/>
                </a:p>
              </p:txBody>
            </p:sp>
            <p:sp>
              <p:nvSpPr>
                <p:cNvPr id="48" name="Content Placeholder 1">
                  <a:extLst>
                    <a:ext uri="{FF2B5EF4-FFF2-40B4-BE49-F238E27FC236}">
                      <a16:creationId xmlns:a16="http://schemas.microsoft.com/office/drawing/2014/main" id="{2FBDCB03-DE35-7026-887F-F8FB3B781BC1}"/>
                    </a:ext>
                  </a:extLst>
                </p:cNvPr>
                <p:cNvSpPr txBox="1">
                  <a:spLocks/>
                </p:cNvSpPr>
                <p:nvPr/>
              </p:nvSpPr>
              <p:spPr>
                <a:xfrm>
                  <a:off x="3839597" y="4315669"/>
                  <a:ext cx="182880"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000" noProof="0">
                      <a:solidFill>
                        <a:schemeClr val="tx2"/>
                      </a:solidFill>
                    </a:rPr>
                    <a:t>Week</a:t>
                  </a:r>
                </a:p>
              </p:txBody>
            </p:sp>
          </p:grpSp>
        </p:grpSp>
      </p:grpSp>
      <p:sp>
        <p:nvSpPr>
          <p:cNvPr id="283" name="Freeform: Shape 400">
            <a:extLst>
              <a:ext uri="{FF2B5EF4-FFF2-40B4-BE49-F238E27FC236}">
                <a16:creationId xmlns:a16="http://schemas.microsoft.com/office/drawing/2014/main" id="{B034AFA9-5E36-90FB-47CF-A1E579C42A39}"/>
              </a:ext>
            </a:extLst>
          </p:cNvPr>
          <p:cNvSpPr/>
          <p:nvPr/>
        </p:nvSpPr>
        <p:spPr>
          <a:xfrm>
            <a:off x="7276563" y="3080626"/>
            <a:ext cx="3976996" cy="932431"/>
          </a:xfrm>
          <a:custGeom>
            <a:avLst/>
            <a:gdLst>
              <a:gd name="connsiteX0" fmla="*/ 0 w 3976996"/>
              <a:gd name="connsiteY0" fmla="*/ 932431 h 932431"/>
              <a:gd name="connsiteX1" fmla="*/ 837127 w 3976996"/>
              <a:gd name="connsiteY1" fmla="*/ 932431 h 932431"/>
              <a:gd name="connsiteX2" fmla="*/ 837127 w 3976996"/>
              <a:gd name="connsiteY2" fmla="*/ 873188 h 932431"/>
              <a:gd name="connsiteX3" fmla="*/ 862885 w 3976996"/>
              <a:gd name="connsiteY3" fmla="*/ 873188 h 932431"/>
              <a:gd name="connsiteX4" fmla="*/ 862885 w 3976996"/>
              <a:gd name="connsiteY4" fmla="*/ 824248 h 932431"/>
              <a:gd name="connsiteX5" fmla="*/ 1334252 w 3976996"/>
              <a:gd name="connsiteY5" fmla="*/ 824248 h 932431"/>
              <a:gd name="connsiteX6" fmla="*/ 1334252 w 3976996"/>
              <a:gd name="connsiteY6" fmla="*/ 713490 h 932431"/>
              <a:gd name="connsiteX7" fmla="*/ 1967892 w 3976996"/>
              <a:gd name="connsiteY7" fmla="*/ 713490 h 932431"/>
              <a:gd name="connsiteX8" fmla="*/ 1967892 w 3976996"/>
              <a:gd name="connsiteY8" fmla="*/ 659399 h 932431"/>
              <a:gd name="connsiteX9" fmla="*/ 1996226 w 3976996"/>
              <a:gd name="connsiteY9" fmla="*/ 659399 h 932431"/>
              <a:gd name="connsiteX10" fmla="*/ 1996226 w 3976996"/>
              <a:gd name="connsiteY10" fmla="*/ 607883 h 932431"/>
              <a:gd name="connsiteX11" fmla="*/ 2019408 w 3976996"/>
              <a:gd name="connsiteY11" fmla="*/ 607883 h 932431"/>
              <a:gd name="connsiteX12" fmla="*/ 2019408 w 3976996"/>
              <a:gd name="connsiteY12" fmla="*/ 548640 h 932431"/>
              <a:gd name="connsiteX13" fmla="*/ 2040014 w 3976996"/>
              <a:gd name="connsiteY13" fmla="*/ 548640 h 932431"/>
              <a:gd name="connsiteX14" fmla="*/ 2040014 w 3976996"/>
              <a:gd name="connsiteY14" fmla="*/ 494549 h 932431"/>
              <a:gd name="connsiteX15" fmla="*/ 2606684 w 3976996"/>
              <a:gd name="connsiteY15" fmla="*/ 494549 h 932431"/>
              <a:gd name="connsiteX16" fmla="*/ 2606684 w 3976996"/>
              <a:gd name="connsiteY16" fmla="*/ 386367 h 932431"/>
              <a:gd name="connsiteX17" fmla="*/ 2655624 w 3976996"/>
              <a:gd name="connsiteY17" fmla="*/ 386367 h 932431"/>
              <a:gd name="connsiteX18" fmla="*/ 2655624 w 3976996"/>
              <a:gd name="connsiteY18" fmla="*/ 278184 h 932431"/>
              <a:gd name="connsiteX19" fmla="*/ 2678806 w 3976996"/>
              <a:gd name="connsiteY19" fmla="*/ 278184 h 932431"/>
              <a:gd name="connsiteX20" fmla="*/ 2678806 w 3976996"/>
              <a:gd name="connsiteY20" fmla="*/ 167426 h 932431"/>
              <a:gd name="connsiteX21" fmla="*/ 3315022 w 3976996"/>
              <a:gd name="connsiteY21" fmla="*/ 167426 h 932431"/>
              <a:gd name="connsiteX22" fmla="*/ 3315022 w 3976996"/>
              <a:gd name="connsiteY22" fmla="*/ 113335 h 932431"/>
              <a:gd name="connsiteX23" fmla="*/ 3340780 w 3976996"/>
              <a:gd name="connsiteY23" fmla="*/ 113335 h 932431"/>
              <a:gd name="connsiteX24" fmla="*/ 3340780 w 3976996"/>
              <a:gd name="connsiteY24" fmla="*/ 54092 h 932431"/>
              <a:gd name="connsiteX25" fmla="*/ 3366538 w 3976996"/>
              <a:gd name="connsiteY25" fmla="*/ 54092 h 932431"/>
              <a:gd name="connsiteX26" fmla="*/ 3366538 w 3976996"/>
              <a:gd name="connsiteY26" fmla="*/ 0 h 932431"/>
              <a:gd name="connsiteX27" fmla="*/ 3976996 w 3976996"/>
              <a:gd name="connsiteY27" fmla="*/ 0 h 93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76996" h="932431">
                <a:moveTo>
                  <a:pt x="0" y="932431"/>
                </a:moveTo>
                <a:lnTo>
                  <a:pt x="837127" y="932431"/>
                </a:lnTo>
                <a:lnTo>
                  <a:pt x="837127" y="873188"/>
                </a:lnTo>
                <a:lnTo>
                  <a:pt x="862885" y="873188"/>
                </a:lnTo>
                <a:lnTo>
                  <a:pt x="862885" y="824248"/>
                </a:lnTo>
                <a:lnTo>
                  <a:pt x="1334252" y="824248"/>
                </a:lnTo>
                <a:lnTo>
                  <a:pt x="1334252" y="713490"/>
                </a:lnTo>
                <a:lnTo>
                  <a:pt x="1967892" y="713490"/>
                </a:lnTo>
                <a:lnTo>
                  <a:pt x="1967892" y="659399"/>
                </a:lnTo>
                <a:lnTo>
                  <a:pt x="1996226" y="659399"/>
                </a:lnTo>
                <a:lnTo>
                  <a:pt x="1996226" y="607883"/>
                </a:lnTo>
                <a:lnTo>
                  <a:pt x="2019408" y="607883"/>
                </a:lnTo>
                <a:lnTo>
                  <a:pt x="2019408" y="548640"/>
                </a:lnTo>
                <a:lnTo>
                  <a:pt x="2040014" y="548640"/>
                </a:lnTo>
                <a:lnTo>
                  <a:pt x="2040014" y="494549"/>
                </a:lnTo>
                <a:lnTo>
                  <a:pt x="2606684" y="494549"/>
                </a:lnTo>
                <a:lnTo>
                  <a:pt x="2606684" y="386367"/>
                </a:lnTo>
                <a:lnTo>
                  <a:pt x="2655624" y="386367"/>
                </a:lnTo>
                <a:lnTo>
                  <a:pt x="2655624" y="278184"/>
                </a:lnTo>
                <a:lnTo>
                  <a:pt x="2678806" y="278184"/>
                </a:lnTo>
                <a:lnTo>
                  <a:pt x="2678806" y="167426"/>
                </a:lnTo>
                <a:lnTo>
                  <a:pt x="3315022" y="167426"/>
                </a:lnTo>
                <a:lnTo>
                  <a:pt x="3315022" y="113335"/>
                </a:lnTo>
                <a:lnTo>
                  <a:pt x="3340780" y="113335"/>
                </a:lnTo>
                <a:lnTo>
                  <a:pt x="3340780" y="54092"/>
                </a:lnTo>
                <a:lnTo>
                  <a:pt x="3366538" y="54092"/>
                </a:lnTo>
                <a:lnTo>
                  <a:pt x="3366538" y="0"/>
                </a:lnTo>
                <a:lnTo>
                  <a:pt x="3976996" y="0"/>
                </a:lnTo>
              </a:path>
            </a:pathLst>
          </a:custGeom>
          <a:noFill/>
          <a:ln w="19050">
            <a:solidFill>
              <a:srgbClr val="7CA7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84" name="Freeform: Shape 401">
            <a:extLst>
              <a:ext uri="{FF2B5EF4-FFF2-40B4-BE49-F238E27FC236}">
                <a16:creationId xmlns:a16="http://schemas.microsoft.com/office/drawing/2014/main" id="{9501E706-4CC3-F8FA-5337-AE5FBFAC88A9}"/>
              </a:ext>
            </a:extLst>
          </p:cNvPr>
          <p:cNvSpPr/>
          <p:nvPr/>
        </p:nvSpPr>
        <p:spPr>
          <a:xfrm>
            <a:off x="7276563" y="2596381"/>
            <a:ext cx="3992451" cy="1414100"/>
          </a:xfrm>
          <a:custGeom>
            <a:avLst/>
            <a:gdLst>
              <a:gd name="connsiteX0" fmla="*/ 0 w 3992451"/>
              <a:gd name="connsiteY0" fmla="*/ 1414100 h 1414100"/>
              <a:gd name="connsiteX1" fmla="*/ 649096 w 3992451"/>
              <a:gd name="connsiteY1" fmla="*/ 1414100 h 1414100"/>
              <a:gd name="connsiteX2" fmla="*/ 649096 w 3992451"/>
              <a:gd name="connsiteY2" fmla="*/ 1370312 h 1414100"/>
              <a:gd name="connsiteX3" fmla="*/ 674853 w 3992451"/>
              <a:gd name="connsiteY3" fmla="*/ 1370312 h 1414100"/>
              <a:gd name="connsiteX4" fmla="*/ 674853 w 3992451"/>
              <a:gd name="connsiteY4" fmla="*/ 1218341 h 1414100"/>
              <a:gd name="connsiteX5" fmla="*/ 698035 w 3992451"/>
              <a:gd name="connsiteY5" fmla="*/ 1218341 h 1414100"/>
              <a:gd name="connsiteX6" fmla="*/ 698035 w 3992451"/>
              <a:gd name="connsiteY6" fmla="*/ 1174553 h 1414100"/>
              <a:gd name="connsiteX7" fmla="*/ 1290463 w 3992451"/>
              <a:gd name="connsiteY7" fmla="*/ 1174553 h 1414100"/>
              <a:gd name="connsiteX8" fmla="*/ 1290463 w 3992451"/>
              <a:gd name="connsiteY8" fmla="*/ 1076674 h 1414100"/>
              <a:gd name="connsiteX9" fmla="*/ 1311070 w 3992451"/>
              <a:gd name="connsiteY9" fmla="*/ 1076674 h 1414100"/>
              <a:gd name="connsiteX10" fmla="*/ 1311070 w 3992451"/>
              <a:gd name="connsiteY10" fmla="*/ 1025158 h 1414100"/>
              <a:gd name="connsiteX11" fmla="*/ 1336827 w 3992451"/>
              <a:gd name="connsiteY11" fmla="*/ 1025158 h 1414100"/>
              <a:gd name="connsiteX12" fmla="*/ 1336827 w 3992451"/>
              <a:gd name="connsiteY12" fmla="*/ 728944 h 1414100"/>
              <a:gd name="connsiteX13" fmla="*/ 1357434 w 3992451"/>
              <a:gd name="connsiteY13" fmla="*/ 728944 h 1414100"/>
              <a:gd name="connsiteX14" fmla="*/ 1357434 w 3992451"/>
              <a:gd name="connsiteY14" fmla="*/ 636216 h 1414100"/>
              <a:gd name="connsiteX15" fmla="*/ 1380616 w 3992451"/>
              <a:gd name="connsiteY15" fmla="*/ 636216 h 1414100"/>
              <a:gd name="connsiteX16" fmla="*/ 1380616 w 3992451"/>
              <a:gd name="connsiteY16" fmla="*/ 584701 h 1414100"/>
              <a:gd name="connsiteX17" fmla="*/ 1996226 w 3992451"/>
              <a:gd name="connsiteY17" fmla="*/ 584701 h 1414100"/>
              <a:gd name="connsiteX18" fmla="*/ 1996226 w 3992451"/>
              <a:gd name="connsiteY18" fmla="*/ 437882 h 1414100"/>
              <a:gd name="connsiteX19" fmla="*/ 2019408 w 3992451"/>
              <a:gd name="connsiteY19" fmla="*/ 437882 h 1414100"/>
              <a:gd name="connsiteX20" fmla="*/ 2019408 w 3992451"/>
              <a:gd name="connsiteY20" fmla="*/ 386366 h 1414100"/>
              <a:gd name="connsiteX21" fmla="*/ 2042590 w 3992451"/>
              <a:gd name="connsiteY21" fmla="*/ 386366 h 1414100"/>
              <a:gd name="connsiteX22" fmla="*/ 2042590 w 3992451"/>
              <a:gd name="connsiteY22" fmla="*/ 340002 h 1414100"/>
              <a:gd name="connsiteX23" fmla="*/ 2632442 w 3992451"/>
              <a:gd name="connsiteY23" fmla="*/ 340002 h 1414100"/>
              <a:gd name="connsiteX24" fmla="*/ 2632442 w 3992451"/>
              <a:gd name="connsiteY24" fmla="*/ 293638 h 1414100"/>
              <a:gd name="connsiteX25" fmla="*/ 2655624 w 3992451"/>
              <a:gd name="connsiteY25" fmla="*/ 293638 h 1414100"/>
              <a:gd name="connsiteX26" fmla="*/ 2655624 w 3992451"/>
              <a:gd name="connsiteY26" fmla="*/ 244698 h 1414100"/>
              <a:gd name="connsiteX27" fmla="*/ 2699412 w 3992451"/>
              <a:gd name="connsiteY27" fmla="*/ 244698 h 1414100"/>
              <a:gd name="connsiteX28" fmla="*/ 2699412 w 3992451"/>
              <a:gd name="connsiteY28" fmla="*/ 146819 h 1414100"/>
              <a:gd name="connsiteX29" fmla="*/ 3291840 w 3992451"/>
              <a:gd name="connsiteY29" fmla="*/ 146819 h 1414100"/>
              <a:gd name="connsiteX30" fmla="*/ 3291840 w 3992451"/>
              <a:gd name="connsiteY30" fmla="*/ 95304 h 1414100"/>
              <a:gd name="connsiteX31" fmla="*/ 3312447 w 3992451"/>
              <a:gd name="connsiteY31" fmla="*/ 95304 h 1414100"/>
              <a:gd name="connsiteX32" fmla="*/ 3312447 w 3992451"/>
              <a:gd name="connsiteY32" fmla="*/ 0 h 1414100"/>
              <a:gd name="connsiteX33" fmla="*/ 3992451 w 3992451"/>
              <a:gd name="connsiteY33" fmla="*/ 0 h 141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2451" h="1414100">
                <a:moveTo>
                  <a:pt x="0" y="1414100"/>
                </a:moveTo>
                <a:lnTo>
                  <a:pt x="649096" y="1414100"/>
                </a:lnTo>
                <a:lnTo>
                  <a:pt x="649096" y="1370312"/>
                </a:lnTo>
                <a:lnTo>
                  <a:pt x="674853" y="1370312"/>
                </a:lnTo>
                <a:lnTo>
                  <a:pt x="674853" y="1218341"/>
                </a:lnTo>
                <a:lnTo>
                  <a:pt x="698035" y="1218341"/>
                </a:lnTo>
                <a:lnTo>
                  <a:pt x="698035" y="1174553"/>
                </a:lnTo>
                <a:lnTo>
                  <a:pt x="1290463" y="1174553"/>
                </a:lnTo>
                <a:lnTo>
                  <a:pt x="1290463" y="1076674"/>
                </a:lnTo>
                <a:lnTo>
                  <a:pt x="1311070" y="1076674"/>
                </a:lnTo>
                <a:lnTo>
                  <a:pt x="1311070" y="1025158"/>
                </a:lnTo>
                <a:lnTo>
                  <a:pt x="1336827" y="1025158"/>
                </a:lnTo>
                <a:lnTo>
                  <a:pt x="1336827" y="728944"/>
                </a:lnTo>
                <a:lnTo>
                  <a:pt x="1357434" y="728944"/>
                </a:lnTo>
                <a:lnTo>
                  <a:pt x="1357434" y="636216"/>
                </a:lnTo>
                <a:lnTo>
                  <a:pt x="1380616" y="636216"/>
                </a:lnTo>
                <a:lnTo>
                  <a:pt x="1380616" y="584701"/>
                </a:lnTo>
                <a:lnTo>
                  <a:pt x="1996226" y="584701"/>
                </a:lnTo>
                <a:lnTo>
                  <a:pt x="1996226" y="437882"/>
                </a:lnTo>
                <a:lnTo>
                  <a:pt x="2019408" y="437882"/>
                </a:lnTo>
                <a:lnTo>
                  <a:pt x="2019408" y="386366"/>
                </a:lnTo>
                <a:lnTo>
                  <a:pt x="2042590" y="386366"/>
                </a:lnTo>
                <a:lnTo>
                  <a:pt x="2042590" y="340002"/>
                </a:lnTo>
                <a:lnTo>
                  <a:pt x="2632442" y="340002"/>
                </a:lnTo>
                <a:lnTo>
                  <a:pt x="2632442" y="293638"/>
                </a:lnTo>
                <a:lnTo>
                  <a:pt x="2655624" y="293638"/>
                </a:lnTo>
                <a:lnTo>
                  <a:pt x="2655624" y="244698"/>
                </a:lnTo>
                <a:lnTo>
                  <a:pt x="2699412" y="244698"/>
                </a:lnTo>
                <a:lnTo>
                  <a:pt x="2699412" y="146819"/>
                </a:lnTo>
                <a:lnTo>
                  <a:pt x="3291840" y="146819"/>
                </a:lnTo>
                <a:lnTo>
                  <a:pt x="3291840" y="95304"/>
                </a:lnTo>
                <a:lnTo>
                  <a:pt x="3312447" y="95304"/>
                </a:lnTo>
                <a:lnTo>
                  <a:pt x="3312447" y="0"/>
                </a:lnTo>
                <a:lnTo>
                  <a:pt x="3992451"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85" name="Graphic 403">
            <a:extLst>
              <a:ext uri="{FF2B5EF4-FFF2-40B4-BE49-F238E27FC236}">
                <a16:creationId xmlns:a16="http://schemas.microsoft.com/office/drawing/2014/main" id="{ECEE18E8-D2A3-5FB5-53DB-42CE98035B22}"/>
              </a:ext>
            </a:extLst>
          </p:cNvPr>
          <p:cNvSpPr>
            <a:spLocks noChangeAspect="1"/>
          </p:cNvSpPr>
          <p:nvPr/>
        </p:nvSpPr>
        <p:spPr>
          <a:xfrm>
            <a:off x="11211546" y="2551973"/>
            <a:ext cx="87066" cy="87066"/>
          </a:xfrm>
          <a:custGeom>
            <a:avLst/>
            <a:gdLst>
              <a:gd name="connsiteX0" fmla="*/ 932212 w 1864423"/>
              <a:gd name="connsiteY0" fmla="*/ 0 h 1864423"/>
              <a:gd name="connsiteX1" fmla="*/ 932212 w 1864423"/>
              <a:gd name="connsiteY1" fmla="*/ 1864424 h 1864423"/>
              <a:gd name="connsiteX2" fmla="*/ 1864424 w 1864423"/>
              <a:gd name="connsiteY2" fmla="*/ 932212 h 1864423"/>
              <a:gd name="connsiteX3" fmla="*/ 0 w 1864423"/>
              <a:gd name="connsiteY3" fmla="*/ 932212 h 1864423"/>
            </a:gdLst>
            <a:ahLst/>
            <a:cxnLst>
              <a:cxn ang="0">
                <a:pos x="connsiteX0" y="connsiteY0"/>
              </a:cxn>
              <a:cxn ang="0">
                <a:pos x="connsiteX1" y="connsiteY1"/>
              </a:cxn>
              <a:cxn ang="0">
                <a:pos x="connsiteX2" y="connsiteY2"/>
              </a:cxn>
              <a:cxn ang="0">
                <a:pos x="connsiteX3" y="connsiteY3"/>
              </a:cxn>
            </a:cxnLst>
            <a:rect l="l" t="t" r="r" b="b"/>
            <a:pathLst>
              <a:path w="1864423" h="1864423">
                <a:moveTo>
                  <a:pt x="932212" y="0"/>
                </a:moveTo>
                <a:lnTo>
                  <a:pt x="932212" y="1864424"/>
                </a:lnTo>
                <a:moveTo>
                  <a:pt x="1864424" y="932212"/>
                </a:moveTo>
                <a:lnTo>
                  <a:pt x="0" y="932212"/>
                </a:lnTo>
              </a:path>
            </a:pathLst>
          </a:custGeom>
          <a:noFill/>
          <a:ln w="9525" cap="flat">
            <a:solidFill>
              <a:schemeClr val="accent1">
                <a:lumMod val="75000"/>
              </a:schemeClr>
            </a:solidFill>
            <a:prstDash val="solid"/>
            <a:miter/>
          </a:ln>
        </p:spPr>
        <p:txBody>
          <a:bodyPr rtlCol="0" anchor="ctr"/>
          <a:lstStyle/>
          <a:p>
            <a:endParaRPr lang="en-US" noProof="0"/>
          </a:p>
        </p:txBody>
      </p:sp>
      <p:sp>
        <p:nvSpPr>
          <p:cNvPr id="286" name="Graphic 403">
            <a:extLst>
              <a:ext uri="{FF2B5EF4-FFF2-40B4-BE49-F238E27FC236}">
                <a16:creationId xmlns:a16="http://schemas.microsoft.com/office/drawing/2014/main" id="{4DE53AF7-7EEE-80C1-04DE-108FBAFDA1B7}"/>
              </a:ext>
            </a:extLst>
          </p:cNvPr>
          <p:cNvSpPr>
            <a:spLocks noChangeAspect="1"/>
          </p:cNvSpPr>
          <p:nvPr/>
        </p:nvSpPr>
        <p:spPr>
          <a:xfrm>
            <a:off x="11211546" y="3036067"/>
            <a:ext cx="87066" cy="87066"/>
          </a:xfrm>
          <a:custGeom>
            <a:avLst/>
            <a:gdLst>
              <a:gd name="connsiteX0" fmla="*/ 932212 w 1864423"/>
              <a:gd name="connsiteY0" fmla="*/ 0 h 1864423"/>
              <a:gd name="connsiteX1" fmla="*/ 932212 w 1864423"/>
              <a:gd name="connsiteY1" fmla="*/ 1864424 h 1864423"/>
              <a:gd name="connsiteX2" fmla="*/ 1864424 w 1864423"/>
              <a:gd name="connsiteY2" fmla="*/ 932212 h 1864423"/>
              <a:gd name="connsiteX3" fmla="*/ 0 w 1864423"/>
              <a:gd name="connsiteY3" fmla="*/ 932212 h 1864423"/>
            </a:gdLst>
            <a:ahLst/>
            <a:cxnLst>
              <a:cxn ang="0">
                <a:pos x="connsiteX0" y="connsiteY0"/>
              </a:cxn>
              <a:cxn ang="0">
                <a:pos x="connsiteX1" y="connsiteY1"/>
              </a:cxn>
              <a:cxn ang="0">
                <a:pos x="connsiteX2" y="connsiteY2"/>
              </a:cxn>
              <a:cxn ang="0">
                <a:pos x="connsiteX3" y="connsiteY3"/>
              </a:cxn>
            </a:cxnLst>
            <a:rect l="l" t="t" r="r" b="b"/>
            <a:pathLst>
              <a:path w="1864423" h="1864423">
                <a:moveTo>
                  <a:pt x="932212" y="0"/>
                </a:moveTo>
                <a:lnTo>
                  <a:pt x="932212" y="1864424"/>
                </a:lnTo>
                <a:moveTo>
                  <a:pt x="1864424" y="932212"/>
                </a:moveTo>
                <a:lnTo>
                  <a:pt x="0" y="932212"/>
                </a:lnTo>
              </a:path>
            </a:pathLst>
          </a:custGeom>
          <a:noFill/>
          <a:ln w="9525" cap="flat">
            <a:solidFill>
              <a:schemeClr val="bg1">
                <a:lumMod val="50000"/>
              </a:schemeClr>
            </a:solidFill>
            <a:prstDash val="solid"/>
            <a:miter/>
          </a:ln>
        </p:spPr>
        <p:txBody>
          <a:bodyPr rtlCol="0" anchor="ctr"/>
          <a:lstStyle/>
          <a:p>
            <a:endParaRPr lang="en-US" noProof="0"/>
          </a:p>
        </p:txBody>
      </p:sp>
      <p:grpSp>
        <p:nvGrpSpPr>
          <p:cNvPr id="287" name="Group 286">
            <a:extLst>
              <a:ext uri="{FF2B5EF4-FFF2-40B4-BE49-F238E27FC236}">
                <a16:creationId xmlns:a16="http://schemas.microsoft.com/office/drawing/2014/main" id="{62D1EC1C-3B67-5E7F-DB23-7E5757967EF8}"/>
              </a:ext>
            </a:extLst>
          </p:cNvPr>
          <p:cNvGrpSpPr/>
          <p:nvPr/>
        </p:nvGrpSpPr>
        <p:grpSpPr>
          <a:xfrm>
            <a:off x="5886118" y="1865220"/>
            <a:ext cx="87066" cy="659267"/>
            <a:chOff x="11363946" y="2704373"/>
            <a:chExt cx="87066" cy="659267"/>
          </a:xfrm>
        </p:grpSpPr>
        <p:sp>
          <p:nvSpPr>
            <p:cNvPr id="288" name="Graphic 403">
              <a:extLst>
                <a:ext uri="{FF2B5EF4-FFF2-40B4-BE49-F238E27FC236}">
                  <a16:creationId xmlns:a16="http://schemas.microsoft.com/office/drawing/2014/main" id="{C6C6B723-37B7-842B-ADAD-8D116B5393AF}"/>
                </a:ext>
              </a:extLst>
            </p:cNvPr>
            <p:cNvSpPr>
              <a:spLocks noChangeAspect="1"/>
            </p:cNvSpPr>
            <p:nvPr/>
          </p:nvSpPr>
          <p:spPr>
            <a:xfrm>
              <a:off x="11363946" y="2704373"/>
              <a:ext cx="87066" cy="87066"/>
            </a:xfrm>
            <a:custGeom>
              <a:avLst/>
              <a:gdLst>
                <a:gd name="connsiteX0" fmla="*/ 932212 w 1864423"/>
                <a:gd name="connsiteY0" fmla="*/ 0 h 1864423"/>
                <a:gd name="connsiteX1" fmla="*/ 932212 w 1864423"/>
                <a:gd name="connsiteY1" fmla="*/ 1864424 h 1864423"/>
                <a:gd name="connsiteX2" fmla="*/ 1864424 w 1864423"/>
                <a:gd name="connsiteY2" fmla="*/ 932212 h 1864423"/>
                <a:gd name="connsiteX3" fmla="*/ 0 w 1864423"/>
                <a:gd name="connsiteY3" fmla="*/ 932212 h 1864423"/>
              </a:gdLst>
              <a:ahLst/>
              <a:cxnLst>
                <a:cxn ang="0">
                  <a:pos x="connsiteX0" y="connsiteY0"/>
                </a:cxn>
                <a:cxn ang="0">
                  <a:pos x="connsiteX1" y="connsiteY1"/>
                </a:cxn>
                <a:cxn ang="0">
                  <a:pos x="connsiteX2" y="connsiteY2"/>
                </a:cxn>
                <a:cxn ang="0">
                  <a:pos x="connsiteX3" y="connsiteY3"/>
                </a:cxn>
              </a:cxnLst>
              <a:rect l="l" t="t" r="r" b="b"/>
              <a:pathLst>
                <a:path w="1864423" h="1864423">
                  <a:moveTo>
                    <a:pt x="932212" y="0"/>
                  </a:moveTo>
                  <a:lnTo>
                    <a:pt x="932212" y="1864424"/>
                  </a:lnTo>
                  <a:moveTo>
                    <a:pt x="1864424" y="932212"/>
                  </a:moveTo>
                  <a:lnTo>
                    <a:pt x="0" y="932212"/>
                  </a:lnTo>
                </a:path>
              </a:pathLst>
            </a:custGeom>
            <a:noFill/>
            <a:ln w="9525" cap="flat">
              <a:solidFill>
                <a:schemeClr val="accent1">
                  <a:lumMod val="75000"/>
                </a:schemeClr>
              </a:solidFill>
              <a:prstDash val="solid"/>
              <a:miter/>
            </a:ln>
          </p:spPr>
          <p:txBody>
            <a:bodyPr rtlCol="0" anchor="ctr"/>
            <a:lstStyle/>
            <a:p>
              <a:endParaRPr lang="en-US" noProof="0"/>
            </a:p>
          </p:txBody>
        </p:sp>
        <p:sp>
          <p:nvSpPr>
            <p:cNvPr id="289" name="Graphic 403">
              <a:extLst>
                <a:ext uri="{FF2B5EF4-FFF2-40B4-BE49-F238E27FC236}">
                  <a16:creationId xmlns:a16="http://schemas.microsoft.com/office/drawing/2014/main" id="{EB146E07-B5A4-B30C-6BB7-1E2607320B26}"/>
                </a:ext>
              </a:extLst>
            </p:cNvPr>
            <p:cNvSpPr>
              <a:spLocks noChangeAspect="1"/>
            </p:cNvSpPr>
            <p:nvPr/>
          </p:nvSpPr>
          <p:spPr>
            <a:xfrm>
              <a:off x="11363946" y="3276574"/>
              <a:ext cx="87066" cy="87066"/>
            </a:xfrm>
            <a:custGeom>
              <a:avLst/>
              <a:gdLst>
                <a:gd name="connsiteX0" fmla="*/ 932212 w 1864423"/>
                <a:gd name="connsiteY0" fmla="*/ 0 h 1864423"/>
                <a:gd name="connsiteX1" fmla="*/ 932212 w 1864423"/>
                <a:gd name="connsiteY1" fmla="*/ 1864424 h 1864423"/>
                <a:gd name="connsiteX2" fmla="*/ 1864424 w 1864423"/>
                <a:gd name="connsiteY2" fmla="*/ 932212 h 1864423"/>
                <a:gd name="connsiteX3" fmla="*/ 0 w 1864423"/>
                <a:gd name="connsiteY3" fmla="*/ 932212 h 1864423"/>
              </a:gdLst>
              <a:ahLst/>
              <a:cxnLst>
                <a:cxn ang="0">
                  <a:pos x="connsiteX0" y="connsiteY0"/>
                </a:cxn>
                <a:cxn ang="0">
                  <a:pos x="connsiteX1" y="connsiteY1"/>
                </a:cxn>
                <a:cxn ang="0">
                  <a:pos x="connsiteX2" y="connsiteY2"/>
                </a:cxn>
                <a:cxn ang="0">
                  <a:pos x="connsiteX3" y="connsiteY3"/>
                </a:cxn>
              </a:cxnLst>
              <a:rect l="l" t="t" r="r" b="b"/>
              <a:pathLst>
                <a:path w="1864423" h="1864423">
                  <a:moveTo>
                    <a:pt x="932212" y="0"/>
                  </a:moveTo>
                  <a:lnTo>
                    <a:pt x="932212" y="1864424"/>
                  </a:lnTo>
                  <a:moveTo>
                    <a:pt x="1864424" y="932212"/>
                  </a:moveTo>
                  <a:lnTo>
                    <a:pt x="0" y="932212"/>
                  </a:lnTo>
                </a:path>
              </a:pathLst>
            </a:custGeom>
            <a:noFill/>
            <a:ln w="9525" cap="flat">
              <a:solidFill>
                <a:schemeClr val="bg1">
                  <a:lumMod val="50000"/>
                </a:schemeClr>
              </a:solidFill>
              <a:prstDash val="solid"/>
              <a:miter/>
            </a:ln>
          </p:spPr>
          <p:txBody>
            <a:bodyPr rtlCol="0" anchor="ctr"/>
            <a:lstStyle/>
            <a:p>
              <a:endParaRPr lang="en-US" noProof="0"/>
            </a:p>
          </p:txBody>
        </p:sp>
      </p:grpSp>
      <p:sp>
        <p:nvSpPr>
          <p:cNvPr id="290" name="Freeform: Shape 409">
            <a:extLst>
              <a:ext uri="{FF2B5EF4-FFF2-40B4-BE49-F238E27FC236}">
                <a16:creationId xmlns:a16="http://schemas.microsoft.com/office/drawing/2014/main" id="{8BEBFDA3-D68D-BC0F-2357-55377D9C75AF}"/>
              </a:ext>
            </a:extLst>
          </p:cNvPr>
          <p:cNvSpPr/>
          <p:nvPr/>
        </p:nvSpPr>
        <p:spPr>
          <a:xfrm>
            <a:off x="1948543" y="1907721"/>
            <a:ext cx="3981450" cy="2103665"/>
          </a:xfrm>
          <a:custGeom>
            <a:avLst/>
            <a:gdLst>
              <a:gd name="connsiteX0" fmla="*/ 0 w 3981450"/>
              <a:gd name="connsiteY0" fmla="*/ 2103665 h 2103665"/>
              <a:gd name="connsiteX1" fmla="*/ 628650 w 3981450"/>
              <a:gd name="connsiteY1" fmla="*/ 2103665 h 2103665"/>
              <a:gd name="connsiteX2" fmla="*/ 628650 w 3981450"/>
              <a:gd name="connsiteY2" fmla="*/ 2005693 h 2103665"/>
              <a:gd name="connsiteX3" fmla="*/ 655864 w 3981450"/>
              <a:gd name="connsiteY3" fmla="*/ 2005693 h 2103665"/>
              <a:gd name="connsiteX4" fmla="*/ 655864 w 3981450"/>
              <a:gd name="connsiteY4" fmla="*/ 1812472 h 2103665"/>
              <a:gd name="connsiteX5" fmla="*/ 683078 w 3981450"/>
              <a:gd name="connsiteY5" fmla="*/ 1812472 h 2103665"/>
              <a:gd name="connsiteX6" fmla="*/ 683078 w 3981450"/>
              <a:gd name="connsiteY6" fmla="*/ 1031422 h 2103665"/>
              <a:gd name="connsiteX7" fmla="*/ 704850 w 3981450"/>
              <a:gd name="connsiteY7" fmla="*/ 1031422 h 2103665"/>
              <a:gd name="connsiteX8" fmla="*/ 704850 w 3981450"/>
              <a:gd name="connsiteY8" fmla="*/ 930729 h 2103665"/>
              <a:gd name="connsiteX9" fmla="*/ 729343 w 3981450"/>
              <a:gd name="connsiteY9" fmla="*/ 930729 h 2103665"/>
              <a:gd name="connsiteX10" fmla="*/ 729343 w 3981450"/>
              <a:gd name="connsiteY10" fmla="*/ 827315 h 2103665"/>
              <a:gd name="connsiteX11" fmla="*/ 753836 w 3981450"/>
              <a:gd name="connsiteY11" fmla="*/ 827315 h 2103665"/>
              <a:gd name="connsiteX12" fmla="*/ 753836 w 3981450"/>
              <a:gd name="connsiteY12" fmla="*/ 783772 h 2103665"/>
              <a:gd name="connsiteX13" fmla="*/ 1322614 w 3981450"/>
              <a:gd name="connsiteY13" fmla="*/ 783772 h 2103665"/>
              <a:gd name="connsiteX14" fmla="*/ 1322614 w 3981450"/>
              <a:gd name="connsiteY14" fmla="*/ 732065 h 2103665"/>
              <a:gd name="connsiteX15" fmla="*/ 1347107 w 3981450"/>
              <a:gd name="connsiteY15" fmla="*/ 732065 h 2103665"/>
              <a:gd name="connsiteX16" fmla="*/ 1347107 w 3981450"/>
              <a:gd name="connsiteY16" fmla="*/ 533400 h 2103665"/>
              <a:gd name="connsiteX17" fmla="*/ 1363436 w 3981450"/>
              <a:gd name="connsiteY17" fmla="*/ 533400 h 2103665"/>
              <a:gd name="connsiteX18" fmla="*/ 1363436 w 3981450"/>
              <a:gd name="connsiteY18" fmla="*/ 489858 h 2103665"/>
              <a:gd name="connsiteX19" fmla="*/ 2002971 w 3981450"/>
              <a:gd name="connsiteY19" fmla="*/ 489858 h 2103665"/>
              <a:gd name="connsiteX20" fmla="*/ 2002971 w 3981450"/>
              <a:gd name="connsiteY20" fmla="*/ 291193 h 2103665"/>
              <a:gd name="connsiteX21" fmla="*/ 2027464 w 3981450"/>
              <a:gd name="connsiteY21" fmla="*/ 291193 h 2103665"/>
              <a:gd name="connsiteX22" fmla="*/ 2027464 w 3981450"/>
              <a:gd name="connsiteY22" fmla="*/ 239486 h 2103665"/>
              <a:gd name="connsiteX23" fmla="*/ 2051957 w 3981450"/>
              <a:gd name="connsiteY23" fmla="*/ 239486 h 2103665"/>
              <a:gd name="connsiteX24" fmla="*/ 2051957 w 3981450"/>
              <a:gd name="connsiteY24" fmla="*/ 195943 h 2103665"/>
              <a:gd name="connsiteX25" fmla="*/ 2658836 w 3981450"/>
              <a:gd name="connsiteY25" fmla="*/ 195943 h 2103665"/>
              <a:gd name="connsiteX26" fmla="*/ 2658836 w 3981450"/>
              <a:gd name="connsiteY26" fmla="*/ 0 h 2103665"/>
              <a:gd name="connsiteX27" fmla="*/ 3981450 w 3981450"/>
              <a:gd name="connsiteY27" fmla="*/ 0 h 210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81450" h="2103665">
                <a:moveTo>
                  <a:pt x="0" y="2103665"/>
                </a:moveTo>
                <a:lnTo>
                  <a:pt x="628650" y="2103665"/>
                </a:lnTo>
                <a:lnTo>
                  <a:pt x="628650" y="2005693"/>
                </a:lnTo>
                <a:lnTo>
                  <a:pt x="655864" y="2005693"/>
                </a:lnTo>
                <a:lnTo>
                  <a:pt x="655864" y="1812472"/>
                </a:lnTo>
                <a:lnTo>
                  <a:pt x="683078" y="1812472"/>
                </a:lnTo>
                <a:lnTo>
                  <a:pt x="683078" y="1031422"/>
                </a:lnTo>
                <a:lnTo>
                  <a:pt x="704850" y="1031422"/>
                </a:lnTo>
                <a:lnTo>
                  <a:pt x="704850" y="930729"/>
                </a:lnTo>
                <a:lnTo>
                  <a:pt x="729343" y="930729"/>
                </a:lnTo>
                <a:lnTo>
                  <a:pt x="729343" y="827315"/>
                </a:lnTo>
                <a:lnTo>
                  <a:pt x="753836" y="827315"/>
                </a:lnTo>
                <a:lnTo>
                  <a:pt x="753836" y="783772"/>
                </a:lnTo>
                <a:lnTo>
                  <a:pt x="1322614" y="783772"/>
                </a:lnTo>
                <a:lnTo>
                  <a:pt x="1322614" y="732065"/>
                </a:lnTo>
                <a:lnTo>
                  <a:pt x="1347107" y="732065"/>
                </a:lnTo>
                <a:lnTo>
                  <a:pt x="1347107" y="533400"/>
                </a:lnTo>
                <a:lnTo>
                  <a:pt x="1363436" y="533400"/>
                </a:lnTo>
                <a:lnTo>
                  <a:pt x="1363436" y="489858"/>
                </a:lnTo>
                <a:lnTo>
                  <a:pt x="2002971" y="489858"/>
                </a:lnTo>
                <a:lnTo>
                  <a:pt x="2002971" y="291193"/>
                </a:lnTo>
                <a:lnTo>
                  <a:pt x="2027464" y="291193"/>
                </a:lnTo>
                <a:lnTo>
                  <a:pt x="2027464" y="239486"/>
                </a:lnTo>
                <a:lnTo>
                  <a:pt x="2051957" y="239486"/>
                </a:lnTo>
                <a:lnTo>
                  <a:pt x="2051957" y="195943"/>
                </a:lnTo>
                <a:lnTo>
                  <a:pt x="2658836" y="195943"/>
                </a:lnTo>
                <a:lnTo>
                  <a:pt x="2658836" y="0"/>
                </a:lnTo>
                <a:lnTo>
                  <a:pt x="3981450"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1" name="Freeform: Shape 411">
            <a:extLst>
              <a:ext uri="{FF2B5EF4-FFF2-40B4-BE49-F238E27FC236}">
                <a16:creationId xmlns:a16="http://schemas.microsoft.com/office/drawing/2014/main" id="{03364822-1C06-23DB-FD55-6BBA5FAEA775}"/>
              </a:ext>
            </a:extLst>
          </p:cNvPr>
          <p:cNvSpPr/>
          <p:nvPr/>
        </p:nvSpPr>
        <p:spPr>
          <a:xfrm>
            <a:off x="1951264" y="2479221"/>
            <a:ext cx="3978729" cy="1532165"/>
          </a:xfrm>
          <a:custGeom>
            <a:avLst/>
            <a:gdLst>
              <a:gd name="connsiteX0" fmla="*/ 0 w 3978729"/>
              <a:gd name="connsiteY0" fmla="*/ 1532165 h 1532165"/>
              <a:gd name="connsiteX1" fmla="*/ 628650 w 3978729"/>
              <a:gd name="connsiteY1" fmla="*/ 1532165 h 1532165"/>
              <a:gd name="connsiteX2" fmla="*/ 628650 w 3978729"/>
              <a:gd name="connsiteY2" fmla="*/ 1475015 h 1532165"/>
              <a:gd name="connsiteX3" fmla="*/ 683079 w 3978729"/>
              <a:gd name="connsiteY3" fmla="*/ 1475015 h 1532165"/>
              <a:gd name="connsiteX4" fmla="*/ 683079 w 3978729"/>
              <a:gd name="connsiteY4" fmla="*/ 1039586 h 1532165"/>
              <a:gd name="connsiteX5" fmla="*/ 702129 w 3978729"/>
              <a:gd name="connsiteY5" fmla="*/ 1039586 h 1532165"/>
              <a:gd name="connsiteX6" fmla="*/ 702129 w 3978729"/>
              <a:gd name="connsiteY6" fmla="*/ 873579 h 1532165"/>
              <a:gd name="connsiteX7" fmla="*/ 846365 w 3978729"/>
              <a:gd name="connsiteY7" fmla="*/ 873579 h 1532165"/>
              <a:gd name="connsiteX8" fmla="*/ 846365 w 3978729"/>
              <a:gd name="connsiteY8" fmla="*/ 767443 h 1532165"/>
              <a:gd name="connsiteX9" fmla="*/ 868136 w 3978729"/>
              <a:gd name="connsiteY9" fmla="*/ 767443 h 1532165"/>
              <a:gd name="connsiteX10" fmla="*/ 868136 w 3978729"/>
              <a:gd name="connsiteY10" fmla="*/ 710293 h 1532165"/>
              <a:gd name="connsiteX11" fmla="*/ 1287236 w 3978729"/>
              <a:gd name="connsiteY11" fmla="*/ 710293 h 1532165"/>
              <a:gd name="connsiteX12" fmla="*/ 1287236 w 3978729"/>
              <a:gd name="connsiteY12" fmla="*/ 598715 h 1532165"/>
              <a:gd name="connsiteX13" fmla="*/ 1314450 w 3978729"/>
              <a:gd name="connsiteY13" fmla="*/ 598715 h 1532165"/>
              <a:gd name="connsiteX14" fmla="*/ 1314450 w 3978729"/>
              <a:gd name="connsiteY14" fmla="*/ 544286 h 1532165"/>
              <a:gd name="connsiteX15" fmla="*/ 1341665 w 3978729"/>
              <a:gd name="connsiteY15" fmla="*/ 544286 h 1532165"/>
              <a:gd name="connsiteX16" fmla="*/ 1341665 w 3978729"/>
              <a:gd name="connsiteY16" fmla="*/ 435429 h 1532165"/>
              <a:gd name="connsiteX17" fmla="*/ 1366157 w 3978729"/>
              <a:gd name="connsiteY17" fmla="*/ 435429 h 1532165"/>
              <a:gd name="connsiteX18" fmla="*/ 1366157 w 3978729"/>
              <a:gd name="connsiteY18" fmla="*/ 378279 h 1532165"/>
              <a:gd name="connsiteX19" fmla="*/ 1997529 w 3978729"/>
              <a:gd name="connsiteY19" fmla="*/ 378279 h 1532165"/>
              <a:gd name="connsiteX20" fmla="*/ 1997529 w 3978729"/>
              <a:gd name="connsiteY20" fmla="*/ 214993 h 1532165"/>
              <a:gd name="connsiteX21" fmla="*/ 2022022 w 3978729"/>
              <a:gd name="connsiteY21" fmla="*/ 214993 h 1532165"/>
              <a:gd name="connsiteX22" fmla="*/ 2022022 w 3978729"/>
              <a:gd name="connsiteY22" fmla="*/ 163286 h 1532165"/>
              <a:gd name="connsiteX23" fmla="*/ 2732315 w 3978729"/>
              <a:gd name="connsiteY23" fmla="*/ 163286 h 1532165"/>
              <a:gd name="connsiteX24" fmla="*/ 2732315 w 3978729"/>
              <a:gd name="connsiteY24" fmla="*/ 111579 h 1532165"/>
              <a:gd name="connsiteX25" fmla="*/ 3290207 w 3978729"/>
              <a:gd name="connsiteY25" fmla="*/ 111579 h 1532165"/>
              <a:gd name="connsiteX26" fmla="*/ 3290207 w 3978729"/>
              <a:gd name="connsiteY26" fmla="*/ 51708 h 1532165"/>
              <a:gd name="connsiteX27" fmla="*/ 3317422 w 3978729"/>
              <a:gd name="connsiteY27" fmla="*/ 51708 h 1532165"/>
              <a:gd name="connsiteX28" fmla="*/ 3317422 w 3978729"/>
              <a:gd name="connsiteY28" fmla="*/ 0 h 1532165"/>
              <a:gd name="connsiteX29" fmla="*/ 3978729 w 3978729"/>
              <a:gd name="connsiteY29" fmla="*/ 0 h 1532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78729" h="1532165">
                <a:moveTo>
                  <a:pt x="0" y="1532165"/>
                </a:moveTo>
                <a:lnTo>
                  <a:pt x="628650" y="1532165"/>
                </a:lnTo>
                <a:lnTo>
                  <a:pt x="628650" y="1475015"/>
                </a:lnTo>
                <a:lnTo>
                  <a:pt x="683079" y="1475015"/>
                </a:lnTo>
                <a:lnTo>
                  <a:pt x="683079" y="1039586"/>
                </a:lnTo>
                <a:lnTo>
                  <a:pt x="702129" y="1039586"/>
                </a:lnTo>
                <a:lnTo>
                  <a:pt x="702129" y="873579"/>
                </a:lnTo>
                <a:lnTo>
                  <a:pt x="846365" y="873579"/>
                </a:lnTo>
                <a:lnTo>
                  <a:pt x="846365" y="767443"/>
                </a:lnTo>
                <a:lnTo>
                  <a:pt x="868136" y="767443"/>
                </a:lnTo>
                <a:lnTo>
                  <a:pt x="868136" y="710293"/>
                </a:lnTo>
                <a:lnTo>
                  <a:pt x="1287236" y="710293"/>
                </a:lnTo>
                <a:lnTo>
                  <a:pt x="1287236" y="598715"/>
                </a:lnTo>
                <a:lnTo>
                  <a:pt x="1314450" y="598715"/>
                </a:lnTo>
                <a:lnTo>
                  <a:pt x="1314450" y="544286"/>
                </a:lnTo>
                <a:lnTo>
                  <a:pt x="1341665" y="544286"/>
                </a:lnTo>
                <a:lnTo>
                  <a:pt x="1341665" y="435429"/>
                </a:lnTo>
                <a:lnTo>
                  <a:pt x="1366157" y="435429"/>
                </a:lnTo>
                <a:lnTo>
                  <a:pt x="1366157" y="378279"/>
                </a:lnTo>
                <a:lnTo>
                  <a:pt x="1997529" y="378279"/>
                </a:lnTo>
                <a:lnTo>
                  <a:pt x="1997529" y="214993"/>
                </a:lnTo>
                <a:lnTo>
                  <a:pt x="2022022" y="214993"/>
                </a:lnTo>
                <a:lnTo>
                  <a:pt x="2022022" y="163286"/>
                </a:lnTo>
                <a:lnTo>
                  <a:pt x="2732315" y="163286"/>
                </a:lnTo>
                <a:lnTo>
                  <a:pt x="2732315" y="111579"/>
                </a:lnTo>
                <a:lnTo>
                  <a:pt x="3290207" y="111579"/>
                </a:lnTo>
                <a:lnTo>
                  <a:pt x="3290207" y="51708"/>
                </a:lnTo>
                <a:lnTo>
                  <a:pt x="3317422" y="51708"/>
                </a:lnTo>
                <a:lnTo>
                  <a:pt x="3317422" y="0"/>
                </a:lnTo>
                <a:lnTo>
                  <a:pt x="3978729" y="0"/>
                </a:lnTo>
              </a:path>
            </a:pathLst>
          </a:custGeom>
          <a:noFill/>
          <a:ln w="19050">
            <a:solidFill>
              <a:srgbClr val="7CA7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322" name="Group 321">
            <a:extLst>
              <a:ext uri="{FF2B5EF4-FFF2-40B4-BE49-F238E27FC236}">
                <a16:creationId xmlns:a16="http://schemas.microsoft.com/office/drawing/2014/main" id="{723E09EA-ADE3-6DA4-5468-CB5F0C211D8B}"/>
              </a:ext>
            </a:extLst>
          </p:cNvPr>
          <p:cNvGrpSpPr/>
          <p:nvPr/>
        </p:nvGrpSpPr>
        <p:grpSpPr>
          <a:xfrm>
            <a:off x="2076734" y="1654969"/>
            <a:ext cx="1286997" cy="289110"/>
            <a:chOff x="2031485" y="1654969"/>
            <a:chExt cx="1286997" cy="289110"/>
          </a:xfrm>
        </p:grpSpPr>
        <p:grpSp>
          <p:nvGrpSpPr>
            <p:cNvPr id="323" name="Group 322">
              <a:extLst>
                <a:ext uri="{FF2B5EF4-FFF2-40B4-BE49-F238E27FC236}">
                  <a16:creationId xmlns:a16="http://schemas.microsoft.com/office/drawing/2014/main" id="{C0F6987B-DFB0-B1FA-34C1-91262FCA10A7}"/>
                </a:ext>
              </a:extLst>
            </p:cNvPr>
            <p:cNvGrpSpPr/>
            <p:nvPr/>
          </p:nvGrpSpPr>
          <p:grpSpPr>
            <a:xfrm>
              <a:off x="2031485" y="1654969"/>
              <a:ext cx="1005840" cy="289110"/>
              <a:chOff x="4577463" y="3241725"/>
              <a:chExt cx="1230327" cy="289110"/>
            </a:xfrm>
          </p:grpSpPr>
          <p:sp>
            <p:nvSpPr>
              <p:cNvPr id="326" name="Content Placeholder 1">
                <a:extLst>
                  <a:ext uri="{FF2B5EF4-FFF2-40B4-BE49-F238E27FC236}">
                    <a16:creationId xmlns:a16="http://schemas.microsoft.com/office/drawing/2014/main" id="{CF5A0F6D-19A8-EF08-28A8-A5F463902A88}"/>
                  </a:ext>
                </a:extLst>
              </p:cNvPr>
              <p:cNvSpPr txBox="1">
                <a:spLocks/>
              </p:cNvSpPr>
              <p:nvPr/>
            </p:nvSpPr>
            <p:spPr>
              <a:xfrm>
                <a:off x="4577463" y="3241725"/>
                <a:ext cx="1230327"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noProof="0"/>
                  <a:t>Efgartigimod PH20 SC</a:t>
                </a:r>
              </a:p>
            </p:txBody>
          </p:sp>
          <p:sp>
            <p:nvSpPr>
              <p:cNvPr id="327" name="Content Placeholder 1">
                <a:extLst>
                  <a:ext uri="{FF2B5EF4-FFF2-40B4-BE49-F238E27FC236}">
                    <a16:creationId xmlns:a16="http://schemas.microsoft.com/office/drawing/2014/main" id="{A6DDF4EF-518A-1DDE-A8A6-5AFE31522DF5}"/>
                  </a:ext>
                </a:extLst>
              </p:cNvPr>
              <p:cNvSpPr txBox="1">
                <a:spLocks/>
              </p:cNvSpPr>
              <p:nvPr/>
            </p:nvSpPr>
            <p:spPr>
              <a:xfrm>
                <a:off x="4577463" y="3436988"/>
                <a:ext cx="1230327"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noProof="0">
                    <a:solidFill>
                      <a:srgbClr val="7CA744"/>
                    </a:solidFill>
                  </a:rPr>
                  <a:t>Placebo PH20 SC</a:t>
                </a:r>
              </a:p>
            </p:txBody>
          </p:sp>
        </p:grpSp>
        <p:cxnSp>
          <p:nvCxnSpPr>
            <p:cNvPr id="324" name="Straight Connector 323">
              <a:extLst>
                <a:ext uri="{FF2B5EF4-FFF2-40B4-BE49-F238E27FC236}">
                  <a16:creationId xmlns:a16="http://schemas.microsoft.com/office/drawing/2014/main" id="{9A217012-9992-8D47-602E-84D6FF984BAE}"/>
                </a:ext>
              </a:extLst>
            </p:cNvPr>
            <p:cNvCxnSpPr>
              <a:cxnSpLocks/>
            </p:cNvCxnSpPr>
            <p:nvPr/>
          </p:nvCxnSpPr>
          <p:spPr>
            <a:xfrm flipV="1">
              <a:off x="3101619" y="1701473"/>
              <a:ext cx="216863" cy="0"/>
            </a:xfrm>
            <a:prstGeom prst="line">
              <a:avLst/>
            </a:prstGeom>
            <a:ln w="19050" cap="rnd">
              <a:solidFill>
                <a:schemeClr val="accent3"/>
              </a:solidFill>
              <a:round/>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37D18943-F32A-2464-7393-BB6AC6970FC7}"/>
                </a:ext>
              </a:extLst>
            </p:cNvPr>
            <p:cNvCxnSpPr>
              <a:cxnSpLocks/>
            </p:cNvCxnSpPr>
            <p:nvPr/>
          </p:nvCxnSpPr>
          <p:spPr>
            <a:xfrm flipV="1">
              <a:off x="3101619" y="1896735"/>
              <a:ext cx="216863" cy="0"/>
            </a:xfrm>
            <a:prstGeom prst="line">
              <a:avLst/>
            </a:prstGeom>
            <a:ln w="19050" cap="rnd">
              <a:solidFill>
                <a:srgbClr val="7CA744"/>
              </a:solidFill>
              <a:round/>
            </a:ln>
          </p:spPr>
          <p:style>
            <a:lnRef idx="1">
              <a:schemeClr val="accent1"/>
            </a:lnRef>
            <a:fillRef idx="0">
              <a:schemeClr val="accent1"/>
            </a:fillRef>
            <a:effectRef idx="0">
              <a:schemeClr val="accent1"/>
            </a:effectRef>
            <a:fontRef idx="minor">
              <a:schemeClr val="tx1"/>
            </a:fontRef>
          </p:style>
        </p:cxnSp>
      </p:grpSp>
      <p:grpSp>
        <p:nvGrpSpPr>
          <p:cNvPr id="328" name="Group 327">
            <a:extLst>
              <a:ext uri="{FF2B5EF4-FFF2-40B4-BE49-F238E27FC236}">
                <a16:creationId xmlns:a16="http://schemas.microsoft.com/office/drawing/2014/main" id="{95F0ADC4-824E-EB27-027B-0A96290AAC6E}"/>
              </a:ext>
            </a:extLst>
          </p:cNvPr>
          <p:cNvGrpSpPr/>
          <p:nvPr/>
        </p:nvGrpSpPr>
        <p:grpSpPr>
          <a:xfrm>
            <a:off x="7401210" y="1654969"/>
            <a:ext cx="1286997" cy="289110"/>
            <a:chOff x="2031485" y="1654969"/>
            <a:chExt cx="1286997" cy="289110"/>
          </a:xfrm>
        </p:grpSpPr>
        <p:grpSp>
          <p:nvGrpSpPr>
            <p:cNvPr id="343" name="Group 342">
              <a:extLst>
                <a:ext uri="{FF2B5EF4-FFF2-40B4-BE49-F238E27FC236}">
                  <a16:creationId xmlns:a16="http://schemas.microsoft.com/office/drawing/2014/main" id="{60611FC7-32D8-1026-64F7-F6E7BB3AEED5}"/>
                </a:ext>
              </a:extLst>
            </p:cNvPr>
            <p:cNvGrpSpPr/>
            <p:nvPr/>
          </p:nvGrpSpPr>
          <p:grpSpPr>
            <a:xfrm>
              <a:off x="2031485" y="1654969"/>
              <a:ext cx="1005840" cy="289110"/>
              <a:chOff x="4577463" y="3241725"/>
              <a:chExt cx="1230327" cy="289110"/>
            </a:xfrm>
          </p:grpSpPr>
          <p:sp>
            <p:nvSpPr>
              <p:cNvPr id="346" name="Content Placeholder 1">
                <a:extLst>
                  <a:ext uri="{FF2B5EF4-FFF2-40B4-BE49-F238E27FC236}">
                    <a16:creationId xmlns:a16="http://schemas.microsoft.com/office/drawing/2014/main" id="{03C19025-8AA5-3BCB-9F7F-F05DED548D29}"/>
                  </a:ext>
                </a:extLst>
              </p:cNvPr>
              <p:cNvSpPr txBox="1">
                <a:spLocks/>
              </p:cNvSpPr>
              <p:nvPr/>
            </p:nvSpPr>
            <p:spPr>
              <a:xfrm>
                <a:off x="4577463" y="3241725"/>
                <a:ext cx="1230327"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noProof="0"/>
                  <a:t>Efgartigimod PH20 SC</a:t>
                </a:r>
              </a:p>
            </p:txBody>
          </p:sp>
          <p:sp>
            <p:nvSpPr>
              <p:cNvPr id="347" name="Content Placeholder 1">
                <a:extLst>
                  <a:ext uri="{FF2B5EF4-FFF2-40B4-BE49-F238E27FC236}">
                    <a16:creationId xmlns:a16="http://schemas.microsoft.com/office/drawing/2014/main" id="{ABAA1B31-BCBE-6285-3CC8-1ED79E73DFF6}"/>
                  </a:ext>
                </a:extLst>
              </p:cNvPr>
              <p:cNvSpPr txBox="1">
                <a:spLocks/>
              </p:cNvSpPr>
              <p:nvPr/>
            </p:nvSpPr>
            <p:spPr>
              <a:xfrm>
                <a:off x="4577463" y="3436988"/>
                <a:ext cx="1230327" cy="93847"/>
              </a:xfrm>
              <a:prstGeom prst="rect">
                <a:avLst/>
              </a:prstGeom>
            </p:spPr>
            <p:txBody>
              <a:bodyPr wrap="none" lIns="0" tIns="0" rIns="0" bIns="0" anchor="ctr" anchorCtr="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sz="2000" b="1" kern="120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sz="1500" kern="120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sz="1300" kern="120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sz="1100" kern="120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 noProof="0">
                    <a:solidFill>
                      <a:srgbClr val="7CA744"/>
                    </a:solidFill>
                  </a:rPr>
                  <a:t>Placebo PH20 SC</a:t>
                </a:r>
              </a:p>
            </p:txBody>
          </p:sp>
        </p:grpSp>
        <p:cxnSp>
          <p:nvCxnSpPr>
            <p:cNvPr id="344" name="Straight Connector 343">
              <a:extLst>
                <a:ext uri="{FF2B5EF4-FFF2-40B4-BE49-F238E27FC236}">
                  <a16:creationId xmlns:a16="http://schemas.microsoft.com/office/drawing/2014/main" id="{A64CC7CE-243B-4F47-EBE0-DA4A957B74CD}"/>
                </a:ext>
              </a:extLst>
            </p:cNvPr>
            <p:cNvCxnSpPr>
              <a:cxnSpLocks/>
            </p:cNvCxnSpPr>
            <p:nvPr/>
          </p:nvCxnSpPr>
          <p:spPr>
            <a:xfrm flipV="1">
              <a:off x="3101619" y="1701473"/>
              <a:ext cx="216863" cy="0"/>
            </a:xfrm>
            <a:prstGeom prst="line">
              <a:avLst/>
            </a:prstGeom>
            <a:ln w="19050" cap="rnd">
              <a:solidFill>
                <a:schemeClr val="accent3"/>
              </a:solidFill>
              <a:round/>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1C2B95D0-7932-937A-DD15-1FD45AFC7E4E}"/>
                </a:ext>
              </a:extLst>
            </p:cNvPr>
            <p:cNvCxnSpPr>
              <a:cxnSpLocks/>
            </p:cNvCxnSpPr>
            <p:nvPr/>
          </p:nvCxnSpPr>
          <p:spPr>
            <a:xfrm flipV="1">
              <a:off x="3101619" y="1896735"/>
              <a:ext cx="216863" cy="0"/>
            </a:xfrm>
            <a:prstGeom prst="line">
              <a:avLst/>
            </a:prstGeom>
            <a:ln w="19050" cap="rnd">
              <a:solidFill>
                <a:srgbClr val="7CA744"/>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51939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CD39C6A-209B-BBB1-F5D7-F19CD906DFEB}"/>
            </a:ext>
          </a:extLst>
        </p:cNvPr>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2D05A25-5582-68AE-02E0-EC3463F01DBA}"/>
              </a:ext>
            </a:extLst>
          </p:cNvPr>
          <p:cNvSpPr>
            <a:spLocks noGrp="1"/>
          </p:cNvSpPr>
          <p:nvPr>
            <p:ph idx="1"/>
          </p:nvPr>
        </p:nvSpPr>
        <p:spPr>
          <a:xfrm>
            <a:off x="361948" y="1628774"/>
            <a:ext cx="3267372" cy="4389120"/>
          </a:xfrm>
        </p:spPr>
        <p:txBody>
          <a:bodyPr/>
          <a:lstStyle/>
          <a:p>
            <a:pPr lvl="1"/>
            <a:r>
              <a:rPr lang="en-US" noProof="0"/>
              <a:t>Efgartigimod treatment </a:t>
            </a:r>
            <a:r>
              <a:rPr lang="en-US" b="1" noProof="0">
                <a:solidFill>
                  <a:srgbClr val="245176"/>
                </a:solidFill>
              </a:rPr>
              <a:t>improved all 6 CSM </a:t>
            </a:r>
            <a:r>
              <a:rPr lang="en-US"/>
              <a:t>compared with placebo</a:t>
            </a:r>
            <a:endParaRPr lang="en-US" b="1" noProof="0">
              <a:solidFill>
                <a:srgbClr val="245176"/>
              </a:solidFill>
            </a:endParaRPr>
          </a:p>
        </p:txBody>
      </p:sp>
      <p:sp>
        <p:nvSpPr>
          <p:cNvPr id="5" name="Slide Number Placeholder 4">
            <a:extLst>
              <a:ext uri="{FF2B5EF4-FFF2-40B4-BE49-F238E27FC236}">
                <a16:creationId xmlns:a16="http://schemas.microsoft.com/office/drawing/2014/main" id="{2D78C62F-C727-767A-7D15-8BF1169F006B}"/>
              </a:ext>
            </a:extLst>
          </p:cNvPr>
          <p:cNvSpPr>
            <a:spLocks noGrp="1"/>
          </p:cNvSpPr>
          <p:nvPr>
            <p:ph type="sldNum" sz="quarter" idx="4"/>
          </p:nvPr>
        </p:nvSpPr>
        <p:spPr/>
        <p:txBody>
          <a:bodyPr/>
          <a:lstStyle/>
          <a:p>
            <a:fld id="{A366880C-2072-4A02-B747-1981AA856017}" type="slidenum">
              <a:rPr lang="en-US" noProof="0" smtClean="0"/>
              <a:pPr/>
              <a:t>16</a:t>
            </a:fld>
            <a:endParaRPr lang="en-US" noProof="0"/>
          </a:p>
        </p:txBody>
      </p:sp>
      <p:sp>
        <p:nvSpPr>
          <p:cNvPr id="12" name="Footer Placeholder 12">
            <a:extLst>
              <a:ext uri="{FF2B5EF4-FFF2-40B4-BE49-F238E27FC236}">
                <a16:creationId xmlns:a16="http://schemas.microsoft.com/office/drawing/2014/main" id="{414E4CE7-574C-F465-8D24-C827CA840382}"/>
              </a:ext>
            </a:extLst>
          </p:cNvPr>
          <p:cNvSpPr>
            <a:spLocks noGrp="1"/>
          </p:cNvSpPr>
          <p:nvPr>
            <p:ph type="ftr" sz="quarter" idx="3"/>
          </p:nvPr>
        </p:nvSpPr>
        <p:spPr>
          <a:xfrm>
            <a:off x="904875" y="6449950"/>
            <a:ext cx="10925176" cy="233910"/>
          </a:xfrm>
          <a:noFill/>
        </p:spPr>
        <p:txBody>
          <a:bodyPr vert="horz" wrap="square" lIns="0" tIns="0" rIns="0" bIns="0" rtlCol="0" anchor="b">
            <a:spAutoFit/>
          </a:bodyPr>
          <a:lstStyle>
            <a:lvl1pPr algn="l">
              <a:lnSpc>
                <a:spcPct val="95000"/>
              </a:lnSpc>
              <a:spcBef>
                <a:spcPts val="400"/>
              </a:spcBef>
              <a:defRPr lang="en-US" sz="800" b="0">
                <a:solidFill>
                  <a:schemeClr val="tx2">
                    <a:lumMod val="75000"/>
                  </a:schemeClr>
                </a:solidFill>
                <a:latin typeface="+mn-lt"/>
              </a:defRPr>
            </a:lvl1pPr>
          </a:lstStyle>
          <a:p>
            <a:r>
              <a:rPr lang="en-US"/>
              <a:t>CSM, Core Set Measures; HAQ-DI, Health Assessment Questionnaire-Disability Index; MDAAT, </a:t>
            </a:r>
            <a:r>
              <a:rPr lang="en-GB"/>
              <a:t>Myositis Disease Activity Assessment Tool; </a:t>
            </a:r>
            <a:r>
              <a:rPr lang="en-US"/>
              <a:t>MDGA, </a:t>
            </a:r>
            <a:r>
              <a:rPr lang="en-GB"/>
              <a:t>Medical Doctor (Physician) Global Assessment</a:t>
            </a:r>
            <a:r>
              <a:rPr lang="en-US"/>
              <a:t>; MMT8, Manual Muscle Testing 8; PGA, Patient Global Assessment; </a:t>
            </a:r>
            <a:r>
              <a:rPr lang="en-GB"/>
              <a:t>PH20, recombinant human hyaluronidase PH20; SC, subcutaneous; </a:t>
            </a:r>
            <a:r>
              <a:rPr lang="en-US"/>
              <a:t>TIS, Total Improvement Score.</a:t>
            </a:r>
            <a:endParaRPr lang="en-US" noProof="0"/>
          </a:p>
        </p:txBody>
      </p:sp>
      <p:sp>
        <p:nvSpPr>
          <p:cNvPr id="21" name="Title 20">
            <a:extLst>
              <a:ext uri="{FF2B5EF4-FFF2-40B4-BE49-F238E27FC236}">
                <a16:creationId xmlns:a16="http://schemas.microsoft.com/office/drawing/2014/main" id="{80F3797B-DD34-881C-FB17-D1F193A57EFE}"/>
              </a:ext>
            </a:extLst>
          </p:cNvPr>
          <p:cNvSpPr>
            <a:spLocks noGrp="1"/>
          </p:cNvSpPr>
          <p:nvPr>
            <p:ph type="title"/>
          </p:nvPr>
        </p:nvSpPr>
        <p:spPr/>
        <p:txBody>
          <a:bodyPr wrap="none"/>
          <a:lstStyle/>
          <a:p>
            <a:r>
              <a:rPr kumimoji="0" lang="en-US" sz="2200" b="1" i="0" u="none" strike="noStrike" kern="0" cap="none" spc="0" normalizeH="0" baseline="0" noProof="0">
                <a:ln>
                  <a:noFill/>
                </a:ln>
                <a:solidFill>
                  <a:srgbClr val="0B436E"/>
                </a:solidFill>
                <a:effectLst/>
                <a:uLnTx/>
                <a:uFillTx/>
                <a:latin typeface="Calibri" panose="020F0502020204030204"/>
                <a:ea typeface="+mn-ea"/>
                <a:cs typeface="+mn-cs"/>
              </a:rPr>
              <a:t>                           Percentage Contribution of Individual CSM </a:t>
            </a:r>
            <a:r>
              <a:rPr kumimoji="0" lang="en-US" sz="2200" i="0" u="none" strike="noStrike" kern="0" cap="none" spc="0" normalizeH="0" baseline="0" noProof="0">
                <a:ln>
                  <a:noFill/>
                </a:ln>
                <a:solidFill>
                  <a:srgbClr val="0B436E"/>
                </a:solidFill>
                <a:effectLst/>
                <a:uLnTx/>
                <a:uFillTx/>
                <a:latin typeface="Calibri" panose="020F0502020204030204"/>
                <a:ea typeface="+mn-ea"/>
                <a:cs typeface="+mn-cs"/>
              </a:rPr>
              <a:t>to TIS at Week 24</a:t>
            </a:r>
            <a:endParaRPr lang="en-US" baseline="30000" noProof="0"/>
          </a:p>
        </p:txBody>
      </p:sp>
      <p:grpSp>
        <p:nvGrpSpPr>
          <p:cNvPr id="2" name="Graphic 372">
            <a:extLst>
              <a:ext uri="{FF2B5EF4-FFF2-40B4-BE49-F238E27FC236}">
                <a16:creationId xmlns:a16="http://schemas.microsoft.com/office/drawing/2014/main" id="{71374F30-83DE-D6B7-F72A-5F9814442825}"/>
              </a:ext>
            </a:extLst>
          </p:cNvPr>
          <p:cNvGrpSpPr/>
          <p:nvPr/>
        </p:nvGrpSpPr>
        <p:grpSpPr>
          <a:xfrm>
            <a:off x="415739" y="405765"/>
            <a:ext cx="569270" cy="569270"/>
            <a:chOff x="8996593" y="5591893"/>
            <a:chExt cx="569270" cy="569270"/>
          </a:xfrm>
          <a:solidFill>
            <a:schemeClr val="bg1">
              <a:lumMod val="65000"/>
            </a:schemeClr>
          </a:solidFill>
        </p:grpSpPr>
        <p:sp>
          <p:nvSpPr>
            <p:cNvPr id="3" name="Freeform 355">
              <a:extLst>
                <a:ext uri="{FF2B5EF4-FFF2-40B4-BE49-F238E27FC236}">
                  <a16:creationId xmlns:a16="http://schemas.microsoft.com/office/drawing/2014/main" id="{72BB7FA1-4849-7B77-5A6B-3E29D03B7EDE}"/>
                </a:ext>
              </a:extLst>
            </p:cNvPr>
            <p:cNvSpPr/>
            <p:nvPr/>
          </p:nvSpPr>
          <p:spPr>
            <a:xfrm>
              <a:off x="8996593" y="5591894"/>
              <a:ext cx="145786" cy="145786"/>
            </a:xfrm>
            <a:custGeom>
              <a:avLst/>
              <a:gdLst>
                <a:gd name="connsiteX0" fmla="*/ 145786 w 145786"/>
                <a:gd name="connsiteY0" fmla="*/ 72937 h 145786"/>
                <a:gd name="connsiteX1" fmla="*/ 72849 w 145786"/>
                <a:gd name="connsiteY1" fmla="*/ 145786 h 145786"/>
                <a:gd name="connsiteX2" fmla="*/ 0 w 145786"/>
                <a:gd name="connsiteY2" fmla="*/ 72937 h 145786"/>
                <a:gd name="connsiteX3" fmla="*/ 72849 w 145786"/>
                <a:gd name="connsiteY3" fmla="*/ 0 h 145786"/>
                <a:gd name="connsiteX4" fmla="*/ 145786 w 145786"/>
                <a:gd name="connsiteY4" fmla="*/ 72937 h 145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786" h="145786">
                  <a:moveTo>
                    <a:pt x="145786" y="72937"/>
                  </a:moveTo>
                  <a:cubicBezTo>
                    <a:pt x="145786" y="113142"/>
                    <a:pt x="113053" y="145786"/>
                    <a:pt x="72849" y="145786"/>
                  </a:cubicBezTo>
                  <a:cubicBezTo>
                    <a:pt x="32643" y="145786"/>
                    <a:pt x="0" y="113142"/>
                    <a:pt x="0" y="72937"/>
                  </a:cubicBezTo>
                  <a:cubicBezTo>
                    <a:pt x="0" y="32732"/>
                    <a:pt x="32643" y="0"/>
                    <a:pt x="72849" y="0"/>
                  </a:cubicBezTo>
                  <a:cubicBezTo>
                    <a:pt x="113053" y="-1"/>
                    <a:pt x="145786" y="32732"/>
                    <a:pt x="145786" y="72937"/>
                  </a:cubicBezTo>
                  <a:close/>
                </a:path>
              </a:pathLst>
            </a:custGeom>
            <a:solidFill>
              <a:schemeClr val="accent2">
                <a:lumMod val="90000"/>
              </a:schemeClr>
            </a:solidFill>
            <a:ln w="1172" cap="flat">
              <a:noFill/>
              <a:prstDash val="solid"/>
              <a:miter/>
            </a:ln>
          </p:spPr>
          <p:txBody>
            <a:bodyPr rtlCol="0" anchor="ctr"/>
            <a:lstStyle/>
            <a:p>
              <a:endParaRPr lang="en-US" sz="700"/>
            </a:p>
          </p:txBody>
        </p:sp>
        <p:sp>
          <p:nvSpPr>
            <p:cNvPr id="22" name="Freeform 356">
              <a:extLst>
                <a:ext uri="{FF2B5EF4-FFF2-40B4-BE49-F238E27FC236}">
                  <a16:creationId xmlns:a16="http://schemas.microsoft.com/office/drawing/2014/main" id="{B701438E-DCAE-59C3-4574-BAC7A1E2AA2C}"/>
                </a:ext>
              </a:extLst>
            </p:cNvPr>
            <p:cNvSpPr/>
            <p:nvPr/>
          </p:nvSpPr>
          <p:spPr>
            <a:xfrm>
              <a:off x="9208290" y="5591893"/>
              <a:ext cx="145786" cy="145786"/>
            </a:xfrm>
            <a:custGeom>
              <a:avLst/>
              <a:gdLst>
                <a:gd name="connsiteX0" fmla="*/ 72937 w 145786"/>
                <a:gd name="connsiteY0" fmla="*/ 0 h 145786"/>
                <a:gd name="connsiteX1" fmla="*/ 0 w 145786"/>
                <a:gd name="connsiteY1" fmla="*/ 72937 h 145786"/>
                <a:gd name="connsiteX2" fmla="*/ 72937 w 145786"/>
                <a:gd name="connsiteY2" fmla="*/ 145786 h 145786"/>
                <a:gd name="connsiteX3" fmla="*/ 145786 w 145786"/>
                <a:gd name="connsiteY3" fmla="*/ 72937 h 145786"/>
                <a:gd name="connsiteX4" fmla="*/ 72937 w 145786"/>
                <a:gd name="connsiteY4" fmla="*/ 0 h 145786"/>
                <a:gd name="connsiteX5" fmla="*/ 72937 w 145786"/>
                <a:gd name="connsiteY5" fmla="*/ 127997 h 145786"/>
                <a:gd name="connsiteX6" fmla="*/ 17789 w 145786"/>
                <a:gd name="connsiteY6" fmla="*/ 72939 h 145786"/>
                <a:gd name="connsiteX7" fmla="*/ 72937 w 145786"/>
                <a:gd name="connsiteY7" fmla="*/ 17790 h 145786"/>
                <a:gd name="connsiteX8" fmla="*/ 127996 w 145786"/>
                <a:gd name="connsiteY8" fmla="*/ 72939 h 145786"/>
                <a:gd name="connsiteX9" fmla="*/ 72937 w 145786"/>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937" y="0"/>
                  </a:moveTo>
                  <a:cubicBezTo>
                    <a:pt x="32732" y="0"/>
                    <a:pt x="0" y="32733"/>
                    <a:pt x="0" y="72937"/>
                  </a:cubicBezTo>
                  <a:cubicBezTo>
                    <a:pt x="0" y="113142"/>
                    <a:pt x="32733" y="145786"/>
                    <a:pt x="72937" y="145786"/>
                  </a:cubicBezTo>
                  <a:cubicBezTo>
                    <a:pt x="113142" y="145786"/>
                    <a:pt x="145786" y="113142"/>
                    <a:pt x="145786" y="72937"/>
                  </a:cubicBezTo>
                  <a:cubicBezTo>
                    <a:pt x="145786" y="32733"/>
                    <a:pt x="113142" y="0"/>
                    <a:pt x="72937" y="0"/>
                  </a:cubicBezTo>
                  <a:close/>
                  <a:moveTo>
                    <a:pt x="72937" y="127997"/>
                  </a:moveTo>
                  <a:cubicBezTo>
                    <a:pt x="42517" y="127997"/>
                    <a:pt x="17789" y="103358"/>
                    <a:pt x="17789" y="72939"/>
                  </a:cubicBezTo>
                  <a:cubicBezTo>
                    <a:pt x="17789" y="42518"/>
                    <a:pt x="42517" y="17790"/>
                    <a:pt x="72937" y="17790"/>
                  </a:cubicBezTo>
                  <a:cubicBezTo>
                    <a:pt x="103268" y="17790"/>
                    <a:pt x="127996" y="42518"/>
                    <a:pt x="127996" y="72939"/>
                  </a:cubicBezTo>
                  <a:cubicBezTo>
                    <a:pt x="127996" y="103358"/>
                    <a:pt x="103268" y="127997"/>
                    <a:pt x="72937" y="127997"/>
                  </a:cubicBezTo>
                  <a:close/>
                </a:path>
              </a:pathLst>
            </a:custGeom>
            <a:grpFill/>
            <a:ln w="1172" cap="flat">
              <a:noFill/>
              <a:prstDash val="solid"/>
              <a:miter/>
            </a:ln>
          </p:spPr>
          <p:txBody>
            <a:bodyPr rtlCol="0" anchor="ctr"/>
            <a:lstStyle/>
            <a:p>
              <a:endParaRPr lang="en-US" sz="700"/>
            </a:p>
          </p:txBody>
        </p:sp>
        <p:sp>
          <p:nvSpPr>
            <p:cNvPr id="24" name="Freeform 357">
              <a:extLst>
                <a:ext uri="{FF2B5EF4-FFF2-40B4-BE49-F238E27FC236}">
                  <a16:creationId xmlns:a16="http://schemas.microsoft.com/office/drawing/2014/main" id="{DC61C7E4-5214-1DE7-3B7B-7F0ECB0077D4}"/>
                </a:ext>
              </a:extLst>
            </p:cNvPr>
            <p:cNvSpPr/>
            <p:nvPr/>
          </p:nvSpPr>
          <p:spPr>
            <a:xfrm>
              <a:off x="9419987" y="5591893"/>
              <a:ext cx="145874" cy="145786"/>
            </a:xfrm>
            <a:custGeom>
              <a:avLst/>
              <a:gdLst>
                <a:gd name="connsiteX0" fmla="*/ 72937 w 145874"/>
                <a:gd name="connsiteY0" fmla="*/ 0 h 145786"/>
                <a:gd name="connsiteX1" fmla="*/ 0 w 145874"/>
                <a:gd name="connsiteY1" fmla="*/ 72937 h 145786"/>
                <a:gd name="connsiteX2" fmla="*/ 72937 w 145874"/>
                <a:gd name="connsiteY2" fmla="*/ 145786 h 145786"/>
                <a:gd name="connsiteX3" fmla="*/ 145875 w 145874"/>
                <a:gd name="connsiteY3" fmla="*/ 72937 h 145786"/>
                <a:gd name="connsiteX4" fmla="*/ 72937 w 145874"/>
                <a:gd name="connsiteY4" fmla="*/ 0 h 145786"/>
                <a:gd name="connsiteX5" fmla="*/ 72937 w 145874"/>
                <a:gd name="connsiteY5" fmla="*/ 127997 h 145786"/>
                <a:gd name="connsiteX6" fmla="*/ 17789 w 145874"/>
                <a:gd name="connsiteY6" fmla="*/ 72939 h 145786"/>
                <a:gd name="connsiteX7" fmla="*/ 72937 w 145874"/>
                <a:gd name="connsiteY7" fmla="*/ 17790 h 145786"/>
                <a:gd name="connsiteX8" fmla="*/ 128086 w 145874"/>
                <a:gd name="connsiteY8" fmla="*/ 72939 h 145786"/>
                <a:gd name="connsiteX9" fmla="*/ 72937 w 145874"/>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874" h="145786">
                  <a:moveTo>
                    <a:pt x="72937" y="0"/>
                  </a:moveTo>
                  <a:cubicBezTo>
                    <a:pt x="32732" y="0"/>
                    <a:pt x="0" y="32733"/>
                    <a:pt x="0" y="72937"/>
                  </a:cubicBezTo>
                  <a:cubicBezTo>
                    <a:pt x="0" y="113142"/>
                    <a:pt x="32733" y="145786"/>
                    <a:pt x="72937" y="145786"/>
                  </a:cubicBezTo>
                  <a:cubicBezTo>
                    <a:pt x="113142" y="145786"/>
                    <a:pt x="145875" y="113142"/>
                    <a:pt x="145875" y="72937"/>
                  </a:cubicBezTo>
                  <a:cubicBezTo>
                    <a:pt x="145876" y="32733"/>
                    <a:pt x="113143" y="0"/>
                    <a:pt x="72937" y="0"/>
                  </a:cubicBezTo>
                  <a:close/>
                  <a:moveTo>
                    <a:pt x="72937" y="127997"/>
                  </a:moveTo>
                  <a:cubicBezTo>
                    <a:pt x="42517" y="127997"/>
                    <a:pt x="17789" y="103358"/>
                    <a:pt x="17789" y="72939"/>
                  </a:cubicBezTo>
                  <a:cubicBezTo>
                    <a:pt x="17789" y="42518"/>
                    <a:pt x="42517" y="17790"/>
                    <a:pt x="72937" y="17790"/>
                  </a:cubicBezTo>
                  <a:cubicBezTo>
                    <a:pt x="103358" y="17790"/>
                    <a:pt x="128086" y="42518"/>
                    <a:pt x="128086" y="72939"/>
                  </a:cubicBezTo>
                  <a:cubicBezTo>
                    <a:pt x="128086" y="103358"/>
                    <a:pt x="103358" y="127997"/>
                    <a:pt x="72937" y="127997"/>
                  </a:cubicBezTo>
                  <a:close/>
                </a:path>
              </a:pathLst>
            </a:custGeom>
            <a:grpFill/>
            <a:ln w="1172" cap="flat">
              <a:noFill/>
              <a:prstDash val="solid"/>
              <a:miter/>
            </a:ln>
          </p:spPr>
          <p:txBody>
            <a:bodyPr rtlCol="0" anchor="ctr"/>
            <a:lstStyle/>
            <a:p>
              <a:endParaRPr lang="en-US" sz="700"/>
            </a:p>
          </p:txBody>
        </p:sp>
        <p:sp>
          <p:nvSpPr>
            <p:cNvPr id="25" name="Freeform 358">
              <a:extLst>
                <a:ext uri="{FF2B5EF4-FFF2-40B4-BE49-F238E27FC236}">
                  <a16:creationId xmlns:a16="http://schemas.microsoft.com/office/drawing/2014/main" id="{679D8987-7242-26CC-AF6A-A4DB1FBA0597}"/>
                </a:ext>
              </a:extLst>
            </p:cNvPr>
            <p:cNvSpPr/>
            <p:nvPr/>
          </p:nvSpPr>
          <p:spPr>
            <a:xfrm>
              <a:off x="8996593" y="5803680"/>
              <a:ext cx="145786" cy="145786"/>
            </a:xfrm>
            <a:custGeom>
              <a:avLst/>
              <a:gdLst>
                <a:gd name="connsiteX0" fmla="*/ 72849 w 145786"/>
                <a:gd name="connsiteY0" fmla="*/ 0 h 145786"/>
                <a:gd name="connsiteX1" fmla="*/ 0 w 145786"/>
                <a:gd name="connsiteY1" fmla="*/ 72849 h 145786"/>
                <a:gd name="connsiteX2" fmla="*/ 72849 w 145786"/>
                <a:gd name="connsiteY2" fmla="*/ 145786 h 145786"/>
                <a:gd name="connsiteX3" fmla="*/ 145786 w 145786"/>
                <a:gd name="connsiteY3" fmla="*/ 72849 h 145786"/>
                <a:gd name="connsiteX4" fmla="*/ 72849 w 145786"/>
                <a:gd name="connsiteY4" fmla="*/ 0 h 145786"/>
                <a:gd name="connsiteX5" fmla="*/ 72849 w 145786"/>
                <a:gd name="connsiteY5" fmla="*/ 127996 h 145786"/>
                <a:gd name="connsiteX6" fmla="*/ 17790 w 145786"/>
                <a:gd name="connsiteY6" fmla="*/ 72848 h 145786"/>
                <a:gd name="connsiteX7" fmla="*/ 72849 w 145786"/>
                <a:gd name="connsiteY7" fmla="*/ 17789 h 145786"/>
                <a:gd name="connsiteX8" fmla="*/ 127996 w 145786"/>
                <a:gd name="connsiteY8" fmla="*/ 72848 h 145786"/>
                <a:gd name="connsiteX9" fmla="*/ 72849 w 145786"/>
                <a:gd name="connsiteY9" fmla="*/ 127996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849" y="0"/>
                  </a:moveTo>
                  <a:cubicBezTo>
                    <a:pt x="32643" y="0"/>
                    <a:pt x="0" y="32643"/>
                    <a:pt x="0" y="72849"/>
                  </a:cubicBezTo>
                  <a:cubicBezTo>
                    <a:pt x="0" y="113054"/>
                    <a:pt x="32643" y="145786"/>
                    <a:pt x="72849" y="145786"/>
                  </a:cubicBezTo>
                  <a:cubicBezTo>
                    <a:pt x="113053" y="145786"/>
                    <a:pt x="145786" y="113053"/>
                    <a:pt x="145786" y="72849"/>
                  </a:cubicBezTo>
                  <a:cubicBezTo>
                    <a:pt x="145786" y="32645"/>
                    <a:pt x="113053" y="0"/>
                    <a:pt x="72849" y="0"/>
                  </a:cubicBezTo>
                  <a:close/>
                  <a:moveTo>
                    <a:pt x="72849" y="127996"/>
                  </a:moveTo>
                  <a:cubicBezTo>
                    <a:pt x="42517" y="127996"/>
                    <a:pt x="17790" y="103268"/>
                    <a:pt x="17790" y="72848"/>
                  </a:cubicBezTo>
                  <a:cubicBezTo>
                    <a:pt x="17790" y="42516"/>
                    <a:pt x="42518" y="17789"/>
                    <a:pt x="72849" y="17789"/>
                  </a:cubicBezTo>
                  <a:cubicBezTo>
                    <a:pt x="103269" y="17789"/>
                    <a:pt x="127996" y="42517"/>
                    <a:pt x="127996" y="72848"/>
                  </a:cubicBezTo>
                  <a:cubicBezTo>
                    <a:pt x="127996" y="103268"/>
                    <a:pt x="103268" y="127996"/>
                    <a:pt x="72849" y="127996"/>
                  </a:cubicBezTo>
                  <a:close/>
                </a:path>
              </a:pathLst>
            </a:custGeom>
            <a:grpFill/>
            <a:ln w="1172" cap="flat">
              <a:noFill/>
              <a:prstDash val="solid"/>
              <a:miter/>
            </a:ln>
          </p:spPr>
          <p:txBody>
            <a:bodyPr rtlCol="0" anchor="ctr"/>
            <a:lstStyle/>
            <a:p>
              <a:endParaRPr lang="en-US" sz="700"/>
            </a:p>
          </p:txBody>
        </p:sp>
        <p:sp>
          <p:nvSpPr>
            <p:cNvPr id="26" name="Freeform 359">
              <a:extLst>
                <a:ext uri="{FF2B5EF4-FFF2-40B4-BE49-F238E27FC236}">
                  <a16:creationId xmlns:a16="http://schemas.microsoft.com/office/drawing/2014/main" id="{9FC0E8E6-21EA-55A5-0BE1-845FE7F0815F}"/>
                </a:ext>
              </a:extLst>
            </p:cNvPr>
            <p:cNvSpPr/>
            <p:nvPr/>
          </p:nvSpPr>
          <p:spPr>
            <a:xfrm>
              <a:off x="9208290" y="5803680"/>
              <a:ext cx="145786" cy="145786"/>
            </a:xfrm>
            <a:custGeom>
              <a:avLst/>
              <a:gdLst>
                <a:gd name="connsiteX0" fmla="*/ 145786 w 145786"/>
                <a:gd name="connsiteY0" fmla="*/ 72849 h 145786"/>
                <a:gd name="connsiteX1" fmla="*/ 72937 w 145786"/>
                <a:gd name="connsiteY1" fmla="*/ 145786 h 145786"/>
                <a:gd name="connsiteX2" fmla="*/ 0 w 145786"/>
                <a:gd name="connsiteY2" fmla="*/ 72849 h 145786"/>
                <a:gd name="connsiteX3" fmla="*/ 72937 w 145786"/>
                <a:gd name="connsiteY3" fmla="*/ 0 h 145786"/>
                <a:gd name="connsiteX4" fmla="*/ 145786 w 145786"/>
                <a:gd name="connsiteY4" fmla="*/ 72849 h 145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786" h="145786">
                  <a:moveTo>
                    <a:pt x="145786" y="72849"/>
                  </a:moveTo>
                  <a:cubicBezTo>
                    <a:pt x="145786" y="113054"/>
                    <a:pt x="113142" y="145786"/>
                    <a:pt x="72937" y="145786"/>
                  </a:cubicBezTo>
                  <a:cubicBezTo>
                    <a:pt x="32732" y="145786"/>
                    <a:pt x="0" y="113053"/>
                    <a:pt x="0" y="72849"/>
                  </a:cubicBezTo>
                  <a:cubicBezTo>
                    <a:pt x="0" y="32645"/>
                    <a:pt x="32733" y="0"/>
                    <a:pt x="72937" y="0"/>
                  </a:cubicBezTo>
                  <a:cubicBezTo>
                    <a:pt x="113142" y="0"/>
                    <a:pt x="145786" y="32643"/>
                    <a:pt x="145786" y="72849"/>
                  </a:cubicBezTo>
                  <a:close/>
                </a:path>
              </a:pathLst>
            </a:custGeom>
            <a:solidFill>
              <a:schemeClr val="bg1"/>
            </a:solidFill>
            <a:ln w="1172" cap="flat">
              <a:noFill/>
              <a:prstDash val="solid"/>
              <a:miter/>
            </a:ln>
          </p:spPr>
          <p:txBody>
            <a:bodyPr rtlCol="0" anchor="ctr"/>
            <a:lstStyle/>
            <a:p>
              <a:endParaRPr lang="en-US" sz="700"/>
            </a:p>
          </p:txBody>
        </p:sp>
        <p:sp>
          <p:nvSpPr>
            <p:cNvPr id="27" name="Freeform 360">
              <a:extLst>
                <a:ext uri="{FF2B5EF4-FFF2-40B4-BE49-F238E27FC236}">
                  <a16:creationId xmlns:a16="http://schemas.microsoft.com/office/drawing/2014/main" id="{32F4985E-A5BC-B08D-9E08-6CC1CA4DC839}"/>
                </a:ext>
              </a:extLst>
            </p:cNvPr>
            <p:cNvSpPr/>
            <p:nvPr/>
          </p:nvSpPr>
          <p:spPr>
            <a:xfrm>
              <a:off x="9419987" y="5803680"/>
              <a:ext cx="145874" cy="145786"/>
            </a:xfrm>
            <a:custGeom>
              <a:avLst/>
              <a:gdLst>
                <a:gd name="connsiteX0" fmla="*/ 72937 w 145874"/>
                <a:gd name="connsiteY0" fmla="*/ 0 h 145786"/>
                <a:gd name="connsiteX1" fmla="*/ 0 w 145874"/>
                <a:gd name="connsiteY1" fmla="*/ 72849 h 145786"/>
                <a:gd name="connsiteX2" fmla="*/ 72937 w 145874"/>
                <a:gd name="connsiteY2" fmla="*/ 145786 h 145786"/>
                <a:gd name="connsiteX3" fmla="*/ 145875 w 145874"/>
                <a:gd name="connsiteY3" fmla="*/ 72849 h 145786"/>
                <a:gd name="connsiteX4" fmla="*/ 72937 w 145874"/>
                <a:gd name="connsiteY4" fmla="*/ 0 h 145786"/>
                <a:gd name="connsiteX5" fmla="*/ 72937 w 145874"/>
                <a:gd name="connsiteY5" fmla="*/ 127996 h 145786"/>
                <a:gd name="connsiteX6" fmla="*/ 17789 w 145874"/>
                <a:gd name="connsiteY6" fmla="*/ 72848 h 145786"/>
                <a:gd name="connsiteX7" fmla="*/ 72937 w 145874"/>
                <a:gd name="connsiteY7" fmla="*/ 17789 h 145786"/>
                <a:gd name="connsiteX8" fmla="*/ 128086 w 145874"/>
                <a:gd name="connsiteY8" fmla="*/ 72848 h 145786"/>
                <a:gd name="connsiteX9" fmla="*/ 72937 w 145874"/>
                <a:gd name="connsiteY9" fmla="*/ 127996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874" h="145786">
                  <a:moveTo>
                    <a:pt x="72937" y="0"/>
                  </a:moveTo>
                  <a:cubicBezTo>
                    <a:pt x="32732" y="0"/>
                    <a:pt x="0" y="32643"/>
                    <a:pt x="0" y="72849"/>
                  </a:cubicBezTo>
                  <a:cubicBezTo>
                    <a:pt x="0" y="113054"/>
                    <a:pt x="32733" y="145786"/>
                    <a:pt x="72937" y="145786"/>
                  </a:cubicBezTo>
                  <a:cubicBezTo>
                    <a:pt x="113142" y="145786"/>
                    <a:pt x="145875" y="113053"/>
                    <a:pt x="145875" y="72849"/>
                  </a:cubicBezTo>
                  <a:cubicBezTo>
                    <a:pt x="145875" y="32645"/>
                    <a:pt x="113143" y="0"/>
                    <a:pt x="72937" y="0"/>
                  </a:cubicBezTo>
                  <a:close/>
                  <a:moveTo>
                    <a:pt x="72937" y="127996"/>
                  </a:moveTo>
                  <a:cubicBezTo>
                    <a:pt x="42517" y="127996"/>
                    <a:pt x="17789" y="103268"/>
                    <a:pt x="17789" y="72848"/>
                  </a:cubicBezTo>
                  <a:cubicBezTo>
                    <a:pt x="17789" y="42516"/>
                    <a:pt x="42517" y="17789"/>
                    <a:pt x="72937" y="17789"/>
                  </a:cubicBezTo>
                  <a:cubicBezTo>
                    <a:pt x="103358" y="17789"/>
                    <a:pt x="128086" y="42517"/>
                    <a:pt x="128086" y="72848"/>
                  </a:cubicBezTo>
                  <a:cubicBezTo>
                    <a:pt x="128086" y="103268"/>
                    <a:pt x="103358" y="127996"/>
                    <a:pt x="72937" y="127996"/>
                  </a:cubicBezTo>
                  <a:close/>
                </a:path>
              </a:pathLst>
            </a:custGeom>
            <a:grpFill/>
            <a:ln w="1172" cap="flat">
              <a:noFill/>
              <a:prstDash val="solid"/>
              <a:miter/>
            </a:ln>
          </p:spPr>
          <p:txBody>
            <a:bodyPr rtlCol="0" anchor="ctr"/>
            <a:lstStyle/>
            <a:p>
              <a:endParaRPr lang="en-US" sz="700"/>
            </a:p>
          </p:txBody>
        </p:sp>
        <p:sp>
          <p:nvSpPr>
            <p:cNvPr id="28" name="Freeform 361">
              <a:extLst>
                <a:ext uri="{FF2B5EF4-FFF2-40B4-BE49-F238E27FC236}">
                  <a16:creationId xmlns:a16="http://schemas.microsoft.com/office/drawing/2014/main" id="{9C27BDCA-329E-5C55-1E07-89F906F6F5DF}"/>
                </a:ext>
              </a:extLst>
            </p:cNvPr>
            <p:cNvSpPr/>
            <p:nvPr/>
          </p:nvSpPr>
          <p:spPr>
            <a:xfrm>
              <a:off x="8996593" y="6015377"/>
              <a:ext cx="145786" cy="145786"/>
            </a:xfrm>
            <a:custGeom>
              <a:avLst/>
              <a:gdLst>
                <a:gd name="connsiteX0" fmla="*/ 72849 w 145786"/>
                <a:gd name="connsiteY0" fmla="*/ 0 h 145786"/>
                <a:gd name="connsiteX1" fmla="*/ 0 w 145786"/>
                <a:gd name="connsiteY1" fmla="*/ 72937 h 145786"/>
                <a:gd name="connsiteX2" fmla="*/ 72849 w 145786"/>
                <a:gd name="connsiteY2" fmla="*/ 145786 h 145786"/>
                <a:gd name="connsiteX3" fmla="*/ 145786 w 145786"/>
                <a:gd name="connsiteY3" fmla="*/ 72937 h 145786"/>
                <a:gd name="connsiteX4" fmla="*/ 72849 w 145786"/>
                <a:gd name="connsiteY4" fmla="*/ 0 h 145786"/>
                <a:gd name="connsiteX5" fmla="*/ 72849 w 145786"/>
                <a:gd name="connsiteY5" fmla="*/ 127997 h 145786"/>
                <a:gd name="connsiteX6" fmla="*/ 17790 w 145786"/>
                <a:gd name="connsiteY6" fmla="*/ 72939 h 145786"/>
                <a:gd name="connsiteX7" fmla="*/ 72849 w 145786"/>
                <a:gd name="connsiteY7" fmla="*/ 17790 h 145786"/>
                <a:gd name="connsiteX8" fmla="*/ 127996 w 145786"/>
                <a:gd name="connsiteY8" fmla="*/ 72939 h 145786"/>
                <a:gd name="connsiteX9" fmla="*/ 72849 w 145786"/>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849" y="0"/>
                  </a:moveTo>
                  <a:cubicBezTo>
                    <a:pt x="32643" y="0"/>
                    <a:pt x="0" y="32733"/>
                    <a:pt x="0" y="72937"/>
                  </a:cubicBezTo>
                  <a:cubicBezTo>
                    <a:pt x="0" y="113142"/>
                    <a:pt x="32643" y="145786"/>
                    <a:pt x="72849" y="145786"/>
                  </a:cubicBezTo>
                  <a:cubicBezTo>
                    <a:pt x="113053" y="145786"/>
                    <a:pt x="145786" y="113143"/>
                    <a:pt x="145786" y="72937"/>
                  </a:cubicBezTo>
                  <a:cubicBezTo>
                    <a:pt x="145786" y="32732"/>
                    <a:pt x="113053" y="0"/>
                    <a:pt x="72849" y="0"/>
                  </a:cubicBezTo>
                  <a:close/>
                  <a:moveTo>
                    <a:pt x="72849" y="127997"/>
                  </a:moveTo>
                  <a:cubicBezTo>
                    <a:pt x="42517" y="127997"/>
                    <a:pt x="17790" y="103269"/>
                    <a:pt x="17790" y="72939"/>
                  </a:cubicBezTo>
                  <a:cubicBezTo>
                    <a:pt x="17790" y="42518"/>
                    <a:pt x="42518" y="17790"/>
                    <a:pt x="72849" y="17790"/>
                  </a:cubicBezTo>
                  <a:cubicBezTo>
                    <a:pt x="103269" y="17790"/>
                    <a:pt x="127996" y="42518"/>
                    <a:pt x="127996" y="72939"/>
                  </a:cubicBezTo>
                  <a:cubicBezTo>
                    <a:pt x="127996" y="103268"/>
                    <a:pt x="103268" y="127997"/>
                    <a:pt x="72849" y="127997"/>
                  </a:cubicBezTo>
                  <a:close/>
                </a:path>
              </a:pathLst>
            </a:custGeom>
            <a:grpFill/>
            <a:ln w="1172" cap="flat">
              <a:noFill/>
              <a:prstDash val="solid"/>
              <a:miter/>
            </a:ln>
          </p:spPr>
          <p:txBody>
            <a:bodyPr rtlCol="0" anchor="ctr"/>
            <a:lstStyle/>
            <a:p>
              <a:endParaRPr lang="en-US" sz="700"/>
            </a:p>
          </p:txBody>
        </p:sp>
        <p:sp>
          <p:nvSpPr>
            <p:cNvPr id="29" name="Freeform 362">
              <a:extLst>
                <a:ext uri="{FF2B5EF4-FFF2-40B4-BE49-F238E27FC236}">
                  <a16:creationId xmlns:a16="http://schemas.microsoft.com/office/drawing/2014/main" id="{294E4AD3-E8F6-6F54-E4DE-CA28952FF6F3}"/>
                </a:ext>
              </a:extLst>
            </p:cNvPr>
            <p:cNvSpPr/>
            <p:nvPr/>
          </p:nvSpPr>
          <p:spPr>
            <a:xfrm>
              <a:off x="9208290" y="6015377"/>
              <a:ext cx="145786" cy="145786"/>
            </a:xfrm>
            <a:custGeom>
              <a:avLst/>
              <a:gdLst>
                <a:gd name="connsiteX0" fmla="*/ 72937 w 145786"/>
                <a:gd name="connsiteY0" fmla="*/ 0 h 145786"/>
                <a:gd name="connsiteX1" fmla="*/ 0 w 145786"/>
                <a:gd name="connsiteY1" fmla="*/ 72937 h 145786"/>
                <a:gd name="connsiteX2" fmla="*/ 72937 w 145786"/>
                <a:gd name="connsiteY2" fmla="*/ 145786 h 145786"/>
                <a:gd name="connsiteX3" fmla="*/ 145786 w 145786"/>
                <a:gd name="connsiteY3" fmla="*/ 72937 h 145786"/>
                <a:gd name="connsiteX4" fmla="*/ 72937 w 145786"/>
                <a:gd name="connsiteY4" fmla="*/ 0 h 145786"/>
                <a:gd name="connsiteX5" fmla="*/ 72937 w 145786"/>
                <a:gd name="connsiteY5" fmla="*/ 127997 h 145786"/>
                <a:gd name="connsiteX6" fmla="*/ 17789 w 145786"/>
                <a:gd name="connsiteY6" fmla="*/ 72939 h 145786"/>
                <a:gd name="connsiteX7" fmla="*/ 72937 w 145786"/>
                <a:gd name="connsiteY7" fmla="*/ 17790 h 145786"/>
                <a:gd name="connsiteX8" fmla="*/ 127996 w 145786"/>
                <a:gd name="connsiteY8" fmla="*/ 72939 h 145786"/>
                <a:gd name="connsiteX9" fmla="*/ 72937 w 145786"/>
                <a:gd name="connsiteY9" fmla="*/ 127997 h 14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86" h="145786">
                  <a:moveTo>
                    <a:pt x="72937" y="0"/>
                  </a:moveTo>
                  <a:cubicBezTo>
                    <a:pt x="32732" y="0"/>
                    <a:pt x="0" y="32733"/>
                    <a:pt x="0" y="72937"/>
                  </a:cubicBezTo>
                  <a:cubicBezTo>
                    <a:pt x="0" y="113142"/>
                    <a:pt x="32733" y="145786"/>
                    <a:pt x="72937" y="145786"/>
                  </a:cubicBezTo>
                  <a:cubicBezTo>
                    <a:pt x="113142" y="145786"/>
                    <a:pt x="145786" y="113143"/>
                    <a:pt x="145786" y="72937"/>
                  </a:cubicBezTo>
                  <a:cubicBezTo>
                    <a:pt x="145786" y="32732"/>
                    <a:pt x="113142" y="0"/>
                    <a:pt x="72937" y="0"/>
                  </a:cubicBezTo>
                  <a:close/>
                  <a:moveTo>
                    <a:pt x="72937" y="127997"/>
                  </a:moveTo>
                  <a:cubicBezTo>
                    <a:pt x="42517" y="127997"/>
                    <a:pt x="17789" y="103269"/>
                    <a:pt x="17789" y="72939"/>
                  </a:cubicBezTo>
                  <a:cubicBezTo>
                    <a:pt x="17789" y="42518"/>
                    <a:pt x="42517" y="17790"/>
                    <a:pt x="72937" y="17790"/>
                  </a:cubicBezTo>
                  <a:cubicBezTo>
                    <a:pt x="103268" y="17790"/>
                    <a:pt x="127996" y="42518"/>
                    <a:pt x="127996" y="72939"/>
                  </a:cubicBezTo>
                  <a:cubicBezTo>
                    <a:pt x="127996" y="103268"/>
                    <a:pt x="103268" y="127997"/>
                    <a:pt x="72937" y="127997"/>
                  </a:cubicBezTo>
                  <a:close/>
                </a:path>
              </a:pathLst>
            </a:custGeom>
            <a:grpFill/>
            <a:ln w="1172" cap="flat">
              <a:noFill/>
              <a:prstDash val="solid"/>
              <a:miter/>
            </a:ln>
          </p:spPr>
          <p:txBody>
            <a:bodyPr rtlCol="0" anchor="ctr"/>
            <a:lstStyle/>
            <a:p>
              <a:endParaRPr lang="en-US" sz="700"/>
            </a:p>
          </p:txBody>
        </p:sp>
        <p:sp>
          <p:nvSpPr>
            <p:cNvPr id="30" name="Freeform 363">
              <a:extLst>
                <a:ext uri="{FF2B5EF4-FFF2-40B4-BE49-F238E27FC236}">
                  <a16:creationId xmlns:a16="http://schemas.microsoft.com/office/drawing/2014/main" id="{0FE175BB-5A34-FE3F-4E82-253114507C89}"/>
                </a:ext>
              </a:extLst>
            </p:cNvPr>
            <p:cNvSpPr/>
            <p:nvPr/>
          </p:nvSpPr>
          <p:spPr>
            <a:xfrm>
              <a:off x="9419988" y="6015377"/>
              <a:ext cx="145874" cy="145786"/>
            </a:xfrm>
            <a:custGeom>
              <a:avLst/>
              <a:gdLst>
                <a:gd name="connsiteX0" fmla="*/ 145875 w 145874"/>
                <a:gd name="connsiteY0" fmla="*/ 72937 h 145786"/>
                <a:gd name="connsiteX1" fmla="*/ 72937 w 145874"/>
                <a:gd name="connsiteY1" fmla="*/ 145786 h 145786"/>
                <a:gd name="connsiteX2" fmla="*/ 0 w 145874"/>
                <a:gd name="connsiteY2" fmla="*/ 72937 h 145786"/>
                <a:gd name="connsiteX3" fmla="*/ 72937 w 145874"/>
                <a:gd name="connsiteY3" fmla="*/ 0 h 145786"/>
                <a:gd name="connsiteX4" fmla="*/ 145875 w 145874"/>
                <a:gd name="connsiteY4" fmla="*/ 72937 h 145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874" h="145786">
                  <a:moveTo>
                    <a:pt x="145875" y="72937"/>
                  </a:moveTo>
                  <a:cubicBezTo>
                    <a:pt x="145875" y="113143"/>
                    <a:pt x="113142" y="145786"/>
                    <a:pt x="72937" y="145786"/>
                  </a:cubicBezTo>
                  <a:cubicBezTo>
                    <a:pt x="32733" y="145786"/>
                    <a:pt x="0" y="113143"/>
                    <a:pt x="0" y="72937"/>
                  </a:cubicBezTo>
                  <a:cubicBezTo>
                    <a:pt x="0" y="32732"/>
                    <a:pt x="32733" y="0"/>
                    <a:pt x="72937" y="0"/>
                  </a:cubicBezTo>
                  <a:cubicBezTo>
                    <a:pt x="113142" y="0"/>
                    <a:pt x="145875" y="32733"/>
                    <a:pt x="145875" y="72937"/>
                  </a:cubicBezTo>
                  <a:close/>
                </a:path>
              </a:pathLst>
            </a:custGeom>
            <a:solidFill>
              <a:schemeClr val="accent1"/>
            </a:solidFill>
            <a:ln w="1172" cap="flat">
              <a:noFill/>
              <a:prstDash val="solid"/>
              <a:miter/>
            </a:ln>
          </p:spPr>
          <p:txBody>
            <a:bodyPr rtlCol="0" anchor="ctr"/>
            <a:lstStyle/>
            <a:p>
              <a:endParaRPr lang="en-US" sz="700"/>
            </a:p>
          </p:txBody>
        </p:sp>
      </p:grpSp>
      <p:grpSp>
        <p:nvGrpSpPr>
          <p:cNvPr id="33" name="Group 32">
            <a:extLst>
              <a:ext uri="{FF2B5EF4-FFF2-40B4-BE49-F238E27FC236}">
                <a16:creationId xmlns:a16="http://schemas.microsoft.com/office/drawing/2014/main" id="{3C509D86-7084-5797-9A5F-0EC9FCAEC67F}"/>
              </a:ext>
            </a:extLst>
          </p:cNvPr>
          <p:cNvGrpSpPr/>
          <p:nvPr/>
        </p:nvGrpSpPr>
        <p:grpSpPr>
          <a:xfrm>
            <a:off x="3785068" y="1392833"/>
            <a:ext cx="8155295" cy="4861002"/>
            <a:chOff x="3785068" y="1392833"/>
            <a:chExt cx="7869051" cy="4861002"/>
          </a:xfrm>
        </p:grpSpPr>
        <p:graphicFrame>
          <p:nvGraphicFramePr>
            <p:cNvPr id="31" name="Chart 30">
              <a:extLst>
                <a:ext uri="{FF2B5EF4-FFF2-40B4-BE49-F238E27FC236}">
                  <a16:creationId xmlns:a16="http://schemas.microsoft.com/office/drawing/2014/main" id="{7B81A9C7-F2F2-4739-518C-6A45035E7B4B}"/>
                </a:ext>
              </a:extLst>
            </p:cNvPr>
            <p:cNvGraphicFramePr/>
            <p:nvPr>
              <p:extLst>
                <p:ext uri="{D42A27DB-BD31-4B8C-83A1-F6EECF244321}">
                  <p14:modId xmlns:p14="http://schemas.microsoft.com/office/powerpoint/2010/main" val="2852397255"/>
                </p:ext>
              </p:extLst>
            </p:nvPr>
          </p:nvGraphicFramePr>
          <p:xfrm>
            <a:off x="3785068" y="1392833"/>
            <a:ext cx="7869051" cy="4861002"/>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a:extLst>
                <a:ext uri="{FF2B5EF4-FFF2-40B4-BE49-F238E27FC236}">
                  <a16:creationId xmlns:a16="http://schemas.microsoft.com/office/drawing/2014/main" id="{E4FD0887-16B5-F975-63E4-1F4777369021}"/>
                </a:ext>
              </a:extLst>
            </p:cNvPr>
            <p:cNvSpPr txBox="1"/>
            <p:nvPr/>
          </p:nvSpPr>
          <p:spPr>
            <a:xfrm>
              <a:off x="9607340" y="3244334"/>
              <a:ext cx="1195252" cy="184666"/>
            </a:xfrm>
            <a:prstGeom prst="rect">
              <a:avLst/>
            </a:prstGeom>
            <a:noFill/>
          </p:spPr>
          <p:txBody>
            <a:bodyPr wrap="square" lIns="0" tIns="0" rIns="0" bIns="0" rtlCol="0">
              <a:spAutoFit/>
            </a:bodyPr>
            <a:lstStyle/>
            <a:p>
              <a:r>
                <a:rPr lang="en-US" sz="1200" b="1" noProof="0">
                  <a:solidFill>
                    <a:srgbClr val="5A5A5A"/>
                  </a:solidFill>
                </a:rPr>
                <a:t>Core Set </a:t>
              </a:r>
              <a:r>
                <a:rPr lang="en-US" sz="1200" b="1">
                  <a:solidFill>
                    <a:srgbClr val="5A5A5A"/>
                  </a:solidFill>
                </a:rPr>
                <a:t>M</a:t>
              </a:r>
              <a:r>
                <a:rPr lang="en-US" sz="1200" b="1" noProof="0">
                  <a:solidFill>
                    <a:srgbClr val="5A5A5A"/>
                  </a:solidFill>
                </a:rPr>
                <a:t>easures</a:t>
              </a:r>
            </a:p>
          </p:txBody>
        </p:sp>
      </p:grpSp>
    </p:spTree>
    <p:extLst>
      <p:ext uri="{BB962C8B-B14F-4D97-AF65-F5344CB8AC3E}">
        <p14:creationId xmlns:p14="http://schemas.microsoft.com/office/powerpoint/2010/main" val="319295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77D24B-E60A-8670-2C80-F585A04C9EE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4C5F6D3-7C5B-58E0-A8D8-4F9D8CD70D8D}"/>
              </a:ext>
            </a:extLst>
          </p:cNvPr>
          <p:cNvSpPr>
            <a:spLocks noGrp="1"/>
          </p:cNvSpPr>
          <p:nvPr>
            <p:ph type="sldNum" sz="quarter" idx="12"/>
          </p:nvPr>
        </p:nvSpPr>
        <p:spPr>
          <a:xfrm>
            <a:off x="361949" y="6409540"/>
            <a:ext cx="274320" cy="274320"/>
          </a:xfrm>
        </p:spPr>
        <p:txBody>
          <a:bodyPr/>
          <a:lstStyle/>
          <a:p>
            <a:fld id="{1916DDDD-2DB5-41B0-89CB-F50E795279FE}" type="slidenum">
              <a:rPr lang="en-US" noProof="0" smtClean="0"/>
              <a:pPr/>
              <a:t>2</a:t>
            </a:fld>
            <a:endParaRPr lang="en-US" noProof="0"/>
          </a:p>
        </p:txBody>
      </p:sp>
      <p:sp>
        <p:nvSpPr>
          <p:cNvPr id="33" name="Content Placeholder 1">
            <a:extLst>
              <a:ext uri="{FF2B5EF4-FFF2-40B4-BE49-F238E27FC236}">
                <a16:creationId xmlns:a16="http://schemas.microsoft.com/office/drawing/2014/main" id="{B523B56E-F567-A6B9-73C7-FC1A5AD2D23B}"/>
              </a:ext>
            </a:extLst>
          </p:cNvPr>
          <p:cNvSpPr>
            <a:spLocks noGrp="1"/>
          </p:cNvSpPr>
          <p:nvPr>
            <p:ph idx="1"/>
          </p:nvPr>
        </p:nvSpPr>
        <p:spPr>
          <a:xfrm>
            <a:off x="361948" y="1628774"/>
            <a:ext cx="5486400" cy="4389120"/>
          </a:xfrm>
        </p:spPr>
        <p:txBody>
          <a:bodyPr/>
          <a:lstStyle/>
          <a:p>
            <a:pPr marL="0" lvl="1" indent="0">
              <a:spcBef>
                <a:spcPts val="400"/>
              </a:spcBef>
              <a:buNone/>
            </a:pPr>
            <a:r>
              <a:rPr lang="en-US" sz="1200" b="1"/>
              <a:t>Rohit Aggarwal: </a:t>
            </a:r>
            <a:r>
              <a:rPr lang="en-US" sz="1200"/>
              <a:t>Alexion, ANI, argenx, Artasome, AstraZeneca, Boehringer Ingelheim, BMS, Cabaletta, Capella, Capstan, Corbus, CSL Behring, EMD Serono, Galapagos, Horizon, I-Cell, Immunovant, Janssen, Kezar, Kyverna, Lilly, Manta Medicines, Nakarta, Novartis, Nuvig, Octapharma, Pfizer, Priovant, Teva, Tourmaline, Verismo</a:t>
            </a:r>
          </a:p>
          <a:p>
            <a:pPr marL="0" lvl="1" indent="0">
              <a:spcBef>
                <a:spcPts val="400"/>
              </a:spcBef>
              <a:buNone/>
            </a:pPr>
            <a:r>
              <a:rPr lang="en-US" sz="1200" b="1" noProof="0"/>
              <a:t>Sebastian C. Rodriguez-Garcia: </a:t>
            </a:r>
            <a:r>
              <a:rPr lang="en-US" sz="1200" noProof="0"/>
              <a:t>Consultant: argenx; Employee: InCa (PPD) </a:t>
            </a:r>
          </a:p>
          <a:p>
            <a:pPr marL="0" lvl="1" indent="0">
              <a:spcBef>
                <a:spcPts val="400"/>
              </a:spcBef>
              <a:buNone/>
            </a:pPr>
            <a:r>
              <a:rPr lang="en-US" sz="1200" b="1" noProof="0"/>
              <a:t>Agna Neto: </a:t>
            </a:r>
            <a:r>
              <a:rPr lang="en-US" sz="1200" noProof="0"/>
              <a:t>Consultant: argenx; Employee: InCa (PPD) </a:t>
            </a:r>
          </a:p>
          <a:p>
            <a:pPr marL="0" lvl="1" indent="0">
              <a:spcBef>
                <a:spcPts val="400"/>
              </a:spcBef>
              <a:buNone/>
            </a:pPr>
            <a:r>
              <a:rPr lang="en-US" sz="1200" b="1" noProof="0"/>
              <a:t>Despoina Papadopoulou: </a:t>
            </a:r>
            <a:r>
              <a:rPr lang="en-US" sz="1200" noProof="0"/>
              <a:t>Employee: argenx</a:t>
            </a:r>
          </a:p>
          <a:p>
            <a:pPr marL="0" lvl="1" indent="0">
              <a:spcBef>
                <a:spcPts val="400"/>
              </a:spcBef>
              <a:buNone/>
            </a:pPr>
            <a:r>
              <a:rPr lang="en-US" sz="1200" b="1" noProof="0"/>
              <a:t>Ben Van Baelen: </a:t>
            </a:r>
            <a:r>
              <a:rPr lang="en-US" sz="1200" noProof="0"/>
              <a:t>Consultant: argenx</a:t>
            </a:r>
          </a:p>
          <a:p>
            <a:pPr marL="0" lvl="1" indent="0">
              <a:spcBef>
                <a:spcPts val="400"/>
              </a:spcBef>
              <a:buNone/>
            </a:pPr>
            <a:r>
              <a:rPr lang="en-US" sz="1200" b="1" noProof="0"/>
              <a:t>Paul Duncombe: </a:t>
            </a:r>
            <a:r>
              <a:rPr lang="en-US" sz="1200" noProof="0"/>
              <a:t>Consultant: argenx</a:t>
            </a:r>
          </a:p>
          <a:p>
            <a:pPr marL="0" lvl="1" indent="0">
              <a:spcBef>
                <a:spcPts val="400"/>
              </a:spcBef>
              <a:buNone/>
            </a:pPr>
            <a:r>
              <a:rPr lang="en-US" sz="1200" b="1" noProof="0"/>
              <a:t>Leentje De Ceuninck: </a:t>
            </a:r>
            <a:r>
              <a:rPr lang="en-US" sz="1200" noProof="0"/>
              <a:t>Employee: argenx</a:t>
            </a:r>
          </a:p>
          <a:p>
            <a:pPr marL="0" lvl="1" indent="0">
              <a:spcBef>
                <a:spcPts val="400"/>
              </a:spcBef>
              <a:buNone/>
            </a:pPr>
            <a:r>
              <a:rPr lang="en-US" sz="1200" b="1" noProof="0"/>
              <a:t>Bas Van der Woning: </a:t>
            </a:r>
            <a:r>
              <a:rPr lang="en-US" sz="1200" noProof="0"/>
              <a:t>Employee: argenx </a:t>
            </a:r>
          </a:p>
          <a:p>
            <a:pPr marL="0" lvl="1" indent="0">
              <a:spcBef>
                <a:spcPts val="400"/>
              </a:spcBef>
              <a:buNone/>
            </a:pPr>
            <a:r>
              <a:rPr lang="en-US" sz="1200" b="1"/>
              <a:t>Hector Chinoy: </a:t>
            </a:r>
            <a:r>
              <a:rPr lang="en-US" sz="1200"/>
              <a:t>argenx, AstraZeneca, Horizon, Pfizer, UCB</a:t>
            </a:r>
          </a:p>
          <a:p>
            <a:pPr marL="0" lvl="1" indent="0">
              <a:spcBef>
                <a:spcPts val="400"/>
              </a:spcBef>
              <a:buNone/>
            </a:pPr>
            <a:endParaRPr lang="en-US" sz="1200" noProof="0"/>
          </a:p>
        </p:txBody>
      </p:sp>
      <p:sp>
        <p:nvSpPr>
          <p:cNvPr id="34" name="Content Placeholder 6">
            <a:extLst>
              <a:ext uri="{FF2B5EF4-FFF2-40B4-BE49-F238E27FC236}">
                <a16:creationId xmlns:a16="http://schemas.microsoft.com/office/drawing/2014/main" id="{A835B975-DF53-62CF-0625-CBE7F3730429}"/>
              </a:ext>
            </a:extLst>
          </p:cNvPr>
          <p:cNvSpPr>
            <a:spLocks noGrp="1"/>
          </p:cNvSpPr>
          <p:nvPr>
            <p:ph idx="13"/>
          </p:nvPr>
        </p:nvSpPr>
        <p:spPr>
          <a:xfrm>
            <a:off x="6096000" y="1628774"/>
            <a:ext cx="5734052" cy="4389120"/>
          </a:xfrm>
        </p:spPr>
        <p:txBody>
          <a:bodyPr/>
          <a:lstStyle/>
          <a:p>
            <a:pPr marL="0" lvl="1" indent="0">
              <a:spcBef>
                <a:spcPts val="400"/>
              </a:spcBef>
              <a:buNone/>
            </a:pPr>
            <a:r>
              <a:rPr lang="en-US" sz="1200" noProof="0" dirty="0"/>
              <a:t>The ALKIVIA trial is funded by </a:t>
            </a:r>
            <a:r>
              <a:rPr lang="en-US" sz="1200" noProof="0" dirty="0" err="1"/>
              <a:t>argenx</a:t>
            </a:r>
            <a:r>
              <a:rPr lang="en-US" sz="1200" noProof="0" dirty="0"/>
              <a:t>. Medical writing support was provided by Jason Vuong, BPharm, CMPP, of Envision Ignite, an Envision Medical Communications agency, a part of Envision Pharma Group, and funded by </a:t>
            </a:r>
            <a:r>
              <a:rPr lang="en-US" sz="1200" noProof="0" dirty="0" err="1"/>
              <a:t>argenx</a:t>
            </a:r>
            <a:r>
              <a:rPr lang="en-US" sz="1200" noProof="0" dirty="0"/>
              <a:t>. </a:t>
            </a:r>
            <a:endParaRPr lang="en-US" sz="1200" dirty="0"/>
          </a:p>
          <a:p>
            <a:pPr marL="0" lvl="1" indent="0">
              <a:spcBef>
                <a:spcPts val="400"/>
              </a:spcBef>
              <a:buNone/>
            </a:pPr>
            <a:r>
              <a:rPr lang="en-US" sz="1200" dirty="0"/>
              <a:t>Efgartigimod PH20 SC is not approved for idiopathic inflammatory myopathy as safety and efficacy have not been established</a:t>
            </a:r>
            <a:endParaRPr lang="en-US" sz="1200" noProof="0" dirty="0"/>
          </a:p>
          <a:p>
            <a:pPr marL="0" lvl="1" indent="0">
              <a:spcBef>
                <a:spcPts val="400"/>
              </a:spcBef>
              <a:buNone/>
            </a:pPr>
            <a:endParaRPr lang="en-US" sz="1200" noProof="0" dirty="0"/>
          </a:p>
        </p:txBody>
      </p:sp>
      <p:sp>
        <p:nvSpPr>
          <p:cNvPr id="7" name="Title 1">
            <a:extLst>
              <a:ext uri="{FF2B5EF4-FFF2-40B4-BE49-F238E27FC236}">
                <a16:creationId xmlns:a16="http://schemas.microsoft.com/office/drawing/2014/main" id="{82317340-53FD-0D34-9911-92B39A7B65B6}"/>
              </a:ext>
            </a:extLst>
          </p:cNvPr>
          <p:cNvSpPr>
            <a:spLocks noGrp="1"/>
          </p:cNvSpPr>
          <p:nvPr>
            <p:ph type="title"/>
          </p:nvPr>
        </p:nvSpPr>
        <p:spPr>
          <a:xfrm rot="5400000">
            <a:off x="5786159" y="-5279535"/>
            <a:ext cx="457200" cy="12029521"/>
          </a:xfrm>
          <a:prstGeom prst="round2SameRect">
            <a:avLst>
              <a:gd name="adj1" fmla="val 5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bIns="0" rtlCol="0" anchor="ctr"/>
          <a:lstStyle>
            <a:lvl1pPr algn="ctr">
              <a:defRPr lang="en-US" sz="2200" dirty="0">
                <a:solidFill>
                  <a:schemeClr val="accent3"/>
                </a:solidFill>
                <a:latin typeface="+mn-lt"/>
                <a:ea typeface="+mn-ea"/>
                <a:cs typeface="+mn-cs"/>
              </a:defRPr>
            </a:lvl1pPr>
          </a:lstStyle>
          <a:p>
            <a:pPr marL="13138" marR="42955" lvl="0" defTabSz="685307">
              <a:lnSpc>
                <a:spcPct val="90000"/>
              </a:lnSpc>
            </a:pPr>
            <a:r>
              <a:rPr lang="en-US" b="1"/>
              <a:t>Disclosures</a:t>
            </a:r>
            <a:r>
              <a:rPr lang="en-US"/>
              <a:t> and </a:t>
            </a:r>
            <a:r>
              <a:rPr lang="en-US" b="1"/>
              <a:t>Acknowledgments</a:t>
            </a:r>
            <a:endParaRPr lang="en-US"/>
          </a:p>
        </p:txBody>
      </p:sp>
      <p:sp>
        <p:nvSpPr>
          <p:cNvPr id="8" name="Freeform 1">
            <a:extLst>
              <a:ext uri="{FF2B5EF4-FFF2-40B4-BE49-F238E27FC236}">
                <a16:creationId xmlns:a16="http://schemas.microsoft.com/office/drawing/2014/main" id="{FE57A136-C7CF-05F5-DF05-6A727D8A3E2C}"/>
              </a:ext>
            </a:extLst>
          </p:cNvPr>
          <p:cNvSpPr/>
          <p:nvPr/>
        </p:nvSpPr>
        <p:spPr>
          <a:xfrm flipH="1">
            <a:off x="8354849" y="3745530"/>
            <a:ext cx="3475202" cy="2804716"/>
          </a:xfrm>
          <a:custGeom>
            <a:avLst/>
            <a:gdLst>
              <a:gd name="connsiteX0" fmla="*/ 1198539 w 2843034"/>
              <a:gd name="connsiteY0" fmla="*/ 2381 h 2294515"/>
              <a:gd name="connsiteX1" fmla="*/ 1364395 w 2843034"/>
              <a:gd name="connsiteY1" fmla="*/ 41187 h 2294515"/>
              <a:gd name="connsiteX2" fmla="*/ 1473181 w 2843034"/>
              <a:gd name="connsiteY2" fmla="*/ 83809 h 2294515"/>
              <a:gd name="connsiteX3" fmla="*/ 1713852 w 2843034"/>
              <a:gd name="connsiteY3" fmla="*/ 233300 h 2294515"/>
              <a:gd name="connsiteX4" fmla="*/ 1796866 w 2843034"/>
              <a:gd name="connsiteY4" fmla="*/ 292288 h 2294515"/>
              <a:gd name="connsiteX5" fmla="*/ 2460883 w 2843034"/>
              <a:gd name="connsiteY5" fmla="*/ 726933 h 2294515"/>
              <a:gd name="connsiteX6" fmla="*/ 2522037 w 2843034"/>
              <a:gd name="connsiteY6" fmla="*/ 766591 h 2294515"/>
              <a:gd name="connsiteX7" fmla="*/ 2609834 w 2843034"/>
              <a:gd name="connsiteY7" fmla="*/ 836169 h 2294515"/>
              <a:gd name="connsiteX8" fmla="*/ 2655819 w 2843034"/>
              <a:gd name="connsiteY8" fmla="*/ 873722 h 2294515"/>
              <a:gd name="connsiteX9" fmla="*/ 2839288 w 2843034"/>
              <a:gd name="connsiteY9" fmla="*/ 1200917 h 2294515"/>
              <a:gd name="connsiteX10" fmla="*/ 2840633 w 2843034"/>
              <a:gd name="connsiteY10" fmla="*/ 1203237 h 2294515"/>
              <a:gd name="connsiteX11" fmla="*/ 2722734 w 2843034"/>
              <a:gd name="connsiteY11" fmla="*/ 1579022 h 2294515"/>
              <a:gd name="connsiteX12" fmla="*/ 2712621 w 2843034"/>
              <a:gd name="connsiteY12" fmla="*/ 1595664 h 2294515"/>
              <a:gd name="connsiteX13" fmla="*/ 2627138 w 2843034"/>
              <a:gd name="connsiteY13" fmla="*/ 1698181 h 2294515"/>
              <a:gd name="connsiteX14" fmla="*/ 2291183 w 2843034"/>
              <a:gd name="connsiteY14" fmla="*/ 1882277 h 2294515"/>
              <a:gd name="connsiteX15" fmla="*/ 2213357 w 2843034"/>
              <a:gd name="connsiteY15" fmla="*/ 1905763 h 2294515"/>
              <a:gd name="connsiteX16" fmla="*/ 2055212 w 2843034"/>
              <a:gd name="connsiteY16" fmla="*/ 1946431 h 2294515"/>
              <a:gd name="connsiteX17" fmla="*/ 1465662 w 2843034"/>
              <a:gd name="connsiteY17" fmla="*/ 2130187 h 2294515"/>
              <a:gd name="connsiteX18" fmla="*/ 1056419 w 2843034"/>
              <a:gd name="connsiteY18" fmla="*/ 2248347 h 2294515"/>
              <a:gd name="connsiteX19" fmla="*/ 879040 w 2843034"/>
              <a:gd name="connsiteY19" fmla="*/ 2281902 h 2294515"/>
              <a:gd name="connsiteX20" fmla="*/ 720846 w 2843034"/>
              <a:gd name="connsiteY20" fmla="*/ 2293406 h 2294515"/>
              <a:gd name="connsiteX21" fmla="*/ 549538 w 2843034"/>
              <a:gd name="connsiteY21" fmla="*/ 2282289 h 2294515"/>
              <a:gd name="connsiteX22" fmla="*/ 464250 w 2843034"/>
              <a:gd name="connsiteY22" fmla="*/ 2253802 h 2294515"/>
              <a:gd name="connsiteX23" fmla="*/ 399041 w 2843034"/>
              <a:gd name="connsiteY23" fmla="*/ 2222857 h 2294515"/>
              <a:gd name="connsiteX24" fmla="*/ 244222 w 2843034"/>
              <a:gd name="connsiteY24" fmla="*/ 2106168 h 2294515"/>
              <a:gd name="connsiteX25" fmla="*/ 116571 w 2843034"/>
              <a:gd name="connsiteY25" fmla="*/ 1954137 h 2294515"/>
              <a:gd name="connsiteX26" fmla="*/ 116250 w 2843034"/>
              <a:gd name="connsiteY26" fmla="*/ 1952582 h 2294515"/>
              <a:gd name="connsiteX27" fmla="*/ 53622 w 2843034"/>
              <a:gd name="connsiteY27" fmla="*/ 1839528 h 2294515"/>
              <a:gd name="connsiteX28" fmla="*/ 132 w 2843034"/>
              <a:gd name="connsiteY28" fmla="*/ 1605219 h 2294515"/>
              <a:gd name="connsiteX29" fmla="*/ 9763 w 2843034"/>
              <a:gd name="connsiteY29" fmla="*/ 1474783 h 2294515"/>
              <a:gd name="connsiteX30" fmla="*/ 63726 w 2843034"/>
              <a:gd name="connsiteY30" fmla="*/ 1244034 h 2294515"/>
              <a:gd name="connsiteX31" fmla="*/ 255940 w 2843034"/>
              <a:gd name="connsiteY31" fmla="*/ 779887 h 2294515"/>
              <a:gd name="connsiteX32" fmla="*/ 347974 w 2843034"/>
              <a:gd name="connsiteY32" fmla="*/ 609801 h 2294515"/>
              <a:gd name="connsiteX33" fmla="*/ 584074 w 2843034"/>
              <a:gd name="connsiteY33" fmla="*/ 292878 h 2294515"/>
              <a:gd name="connsiteX34" fmla="*/ 694713 w 2843034"/>
              <a:gd name="connsiteY34" fmla="*/ 183629 h 2294515"/>
              <a:gd name="connsiteX35" fmla="*/ 824264 w 2843034"/>
              <a:gd name="connsiteY35" fmla="*/ 90961 h 2294515"/>
              <a:gd name="connsiteX36" fmla="*/ 945117 w 2843034"/>
              <a:gd name="connsiteY36" fmla="*/ 30747 h 2294515"/>
              <a:gd name="connsiteX37" fmla="*/ 1072704 w 2843034"/>
              <a:gd name="connsiteY37" fmla="*/ 3203 h 2294515"/>
              <a:gd name="connsiteX38" fmla="*/ 1198539 w 2843034"/>
              <a:gd name="connsiteY38" fmla="*/ 2381 h 229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843034" h="2294515">
                <a:moveTo>
                  <a:pt x="1198539" y="2381"/>
                </a:moveTo>
                <a:cubicBezTo>
                  <a:pt x="1254856" y="9632"/>
                  <a:pt x="1310621" y="22613"/>
                  <a:pt x="1364395" y="41187"/>
                </a:cubicBezTo>
                <a:cubicBezTo>
                  <a:pt x="1398874" y="52875"/>
                  <a:pt x="1435095" y="67234"/>
                  <a:pt x="1473181" y="83809"/>
                </a:cubicBezTo>
                <a:cubicBezTo>
                  <a:pt x="1556122" y="129305"/>
                  <a:pt x="1636403" y="179231"/>
                  <a:pt x="1713852" y="233300"/>
                </a:cubicBezTo>
                <a:cubicBezTo>
                  <a:pt x="1740958" y="252320"/>
                  <a:pt x="1768630" y="271983"/>
                  <a:pt x="1796866" y="292288"/>
                </a:cubicBezTo>
                <a:cubicBezTo>
                  <a:pt x="2010960" y="447394"/>
                  <a:pt x="2232410" y="592470"/>
                  <a:pt x="2460883" y="726933"/>
                </a:cubicBezTo>
                <a:cubicBezTo>
                  <a:pt x="2481553" y="741535"/>
                  <a:pt x="2501841" y="754810"/>
                  <a:pt x="2522037" y="766591"/>
                </a:cubicBezTo>
                <a:cubicBezTo>
                  <a:pt x="2551649" y="790937"/>
                  <a:pt x="2580818" y="814187"/>
                  <a:pt x="2609834" y="836169"/>
                </a:cubicBezTo>
                <a:cubicBezTo>
                  <a:pt x="2625397" y="849649"/>
                  <a:pt x="2640745" y="862089"/>
                  <a:pt x="2655819" y="873722"/>
                </a:cubicBezTo>
                <a:cubicBezTo>
                  <a:pt x="2764049" y="979886"/>
                  <a:pt x="2825240" y="1089124"/>
                  <a:pt x="2839288" y="1200917"/>
                </a:cubicBezTo>
                <a:lnTo>
                  <a:pt x="2840633" y="1203237"/>
                </a:lnTo>
                <a:cubicBezTo>
                  <a:pt x="2853561" y="1323794"/>
                  <a:pt x="2814297" y="1449229"/>
                  <a:pt x="2722734" y="1579022"/>
                </a:cubicBezTo>
                <a:cubicBezTo>
                  <a:pt x="2718910" y="1584122"/>
                  <a:pt x="2715421" y="1589801"/>
                  <a:pt x="2712621" y="1595664"/>
                </a:cubicBezTo>
                <a:cubicBezTo>
                  <a:pt x="2686874" y="1632125"/>
                  <a:pt x="2658282" y="1666352"/>
                  <a:pt x="2627138" y="1698181"/>
                </a:cubicBezTo>
                <a:cubicBezTo>
                  <a:pt x="2529733" y="1782806"/>
                  <a:pt x="2415056" y="1845654"/>
                  <a:pt x="2291183" y="1882277"/>
                </a:cubicBezTo>
                <a:cubicBezTo>
                  <a:pt x="2264694" y="1889389"/>
                  <a:pt x="2238773" y="1897141"/>
                  <a:pt x="2213357" y="1905763"/>
                </a:cubicBezTo>
                <a:cubicBezTo>
                  <a:pt x="2159602" y="1918305"/>
                  <a:pt x="2106750" y="1932069"/>
                  <a:pt x="2055212" y="1946431"/>
                </a:cubicBezTo>
                <a:cubicBezTo>
                  <a:pt x="1862320" y="2006694"/>
                  <a:pt x="1665726" y="2067926"/>
                  <a:pt x="1465662" y="2130187"/>
                </a:cubicBezTo>
                <a:cubicBezTo>
                  <a:pt x="1332702" y="2173193"/>
                  <a:pt x="1196287" y="2212580"/>
                  <a:pt x="1056419" y="2248347"/>
                </a:cubicBezTo>
                <a:cubicBezTo>
                  <a:pt x="1004959" y="2257831"/>
                  <a:pt x="945701" y="2268899"/>
                  <a:pt x="879040" y="2281902"/>
                </a:cubicBezTo>
                <a:cubicBezTo>
                  <a:pt x="826954" y="2290972"/>
                  <a:pt x="773799" y="2294857"/>
                  <a:pt x="720846" y="2293406"/>
                </a:cubicBezTo>
                <a:cubicBezTo>
                  <a:pt x="663440" y="2296641"/>
                  <a:pt x="605975" y="2292758"/>
                  <a:pt x="549538" y="2282289"/>
                </a:cubicBezTo>
                <a:cubicBezTo>
                  <a:pt x="520577" y="2274774"/>
                  <a:pt x="492168" y="2265203"/>
                  <a:pt x="464250" y="2253802"/>
                </a:cubicBezTo>
                <a:cubicBezTo>
                  <a:pt x="441697" y="2245310"/>
                  <a:pt x="419926" y="2234821"/>
                  <a:pt x="399041" y="2222857"/>
                </a:cubicBezTo>
                <a:cubicBezTo>
                  <a:pt x="341127" y="2193131"/>
                  <a:pt x="288781" y="2153629"/>
                  <a:pt x="244222" y="2106168"/>
                </a:cubicBezTo>
                <a:cubicBezTo>
                  <a:pt x="196588" y="2060090"/>
                  <a:pt x="153757" y="2008930"/>
                  <a:pt x="116571" y="1954137"/>
                </a:cubicBezTo>
                <a:lnTo>
                  <a:pt x="116250" y="1952582"/>
                </a:lnTo>
                <a:cubicBezTo>
                  <a:pt x="92178" y="1916735"/>
                  <a:pt x="71302" y="1879051"/>
                  <a:pt x="53622" y="1839528"/>
                </a:cubicBezTo>
                <a:cubicBezTo>
                  <a:pt x="16779" y="1766946"/>
                  <a:pt x="-1455" y="1686367"/>
                  <a:pt x="132" y="1605219"/>
                </a:cubicBezTo>
                <a:cubicBezTo>
                  <a:pt x="-725" y="1561631"/>
                  <a:pt x="2623" y="1517943"/>
                  <a:pt x="9763" y="1474783"/>
                </a:cubicBezTo>
                <a:cubicBezTo>
                  <a:pt x="22817" y="1396707"/>
                  <a:pt x="40749" y="1319695"/>
                  <a:pt x="63726" y="1244034"/>
                </a:cubicBezTo>
                <a:cubicBezTo>
                  <a:pt x="118430" y="1085746"/>
                  <a:pt x="182582" y="930726"/>
                  <a:pt x="255940" y="779887"/>
                </a:cubicBezTo>
                <a:cubicBezTo>
                  <a:pt x="285671" y="721223"/>
                  <a:pt x="316639" y="664360"/>
                  <a:pt x="347974" y="609801"/>
                </a:cubicBezTo>
                <a:cubicBezTo>
                  <a:pt x="416976" y="497234"/>
                  <a:pt x="495778" y="391212"/>
                  <a:pt x="584074" y="292878"/>
                </a:cubicBezTo>
                <a:cubicBezTo>
                  <a:pt x="618951" y="254455"/>
                  <a:pt x="655816" y="217791"/>
                  <a:pt x="694713" y="183629"/>
                </a:cubicBezTo>
                <a:cubicBezTo>
                  <a:pt x="735002" y="148861"/>
                  <a:pt x="778456" y="117881"/>
                  <a:pt x="824264" y="90961"/>
                </a:cubicBezTo>
                <a:cubicBezTo>
                  <a:pt x="862929" y="67760"/>
                  <a:pt x="903213" y="47690"/>
                  <a:pt x="945117" y="30747"/>
                </a:cubicBezTo>
                <a:cubicBezTo>
                  <a:pt x="986668" y="17874"/>
                  <a:pt x="1029489" y="8526"/>
                  <a:pt x="1072704" y="3203"/>
                </a:cubicBezTo>
                <a:cubicBezTo>
                  <a:pt x="1114345" y="-827"/>
                  <a:pt x="1156672" y="-999"/>
                  <a:pt x="1198539" y="2381"/>
                </a:cubicBez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0" rIns="182880" bIns="0" rtlCol="0" anchor="ctr">
            <a:noAutofit/>
          </a:bodyPr>
          <a:lstStyle/>
          <a:p>
            <a:pPr algn="ctr"/>
            <a:r>
              <a:rPr lang="en-GB" sz="1400" b="1">
                <a:solidFill>
                  <a:schemeClr val="accent3"/>
                </a:solidFill>
              </a:rPr>
              <a:t>We gratefully acknowledge</a:t>
            </a:r>
            <a:br>
              <a:rPr lang="en-GB" sz="1400" b="1">
                <a:solidFill>
                  <a:schemeClr val="accent3"/>
                </a:solidFill>
              </a:rPr>
            </a:br>
            <a:r>
              <a:rPr lang="en-GB" sz="1400" b="1">
                <a:solidFill>
                  <a:schemeClr val="accent3"/>
                </a:solidFill>
              </a:rPr>
              <a:t>the clinicians, patient organizations, </a:t>
            </a:r>
            <a:br>
              <a:rPr lang="en-GB" sz="1400" b="1">
                <a:solidFill>
                  <a:schemeClr val="accent3"/>
                </a:solidFill>
              </a:rPr>
            </a:br>
            <a:r>
              <a:rPr lang="en-GB" sz="1400" b="1">
                <a:solidFill>
                  <a:schemeClr val="accent3"/>
                </a:solidFill>
              </a:rPr>
              <a:t>and scientists who have collaborated </a:t>
            </a:r>
            <a:br>
              <a:rPr lang="en-GB" sz="1400" b="1">
                <a:solidFill>
                  <a:schemeClr val="accent3"/>
                </a:solidFill>
              </a:rPr>
            </a:br>
            <a:r>
              <a:rPr lang="en-GB" sz="1400" b="1">
                <a:solidFill>
                  <a:schemeClr val="accent3"/>
                </a:solidFill>
              </a:rPr>
              <a:t>on the design of this trial.</a:t>
            </a:r>
          </a:p>
        </p:txBody>
      </p:sp>
      <p:grpSp>
        <p:nvGrpSpPr>
          <p:cNvPr id="9" name="Group 8">
            <a:extLst>
              <a:ext uri="{FF2B5EF4-FFF2-40B4-BE49-F238E27FC236}">
                <a16:creationId xmlns:a16="http://schemas.microsoft.com/office/drawing/2014/main" id="{244FD9D9-4825-8F1D-BEC2-B1094C60B102}"/>
              </a:ext>
            </a:extLst>
          </p:cNvPr>
          <p:cNvGrpSpPr/>
          <p:nvPr/>
        </p:nvGrpSpPr>
        <p:grpSpPr>
          <a:xfrm>
            <a:off x="6280149" y="4466478"/>
            <a:ext cx="1405121" cy="1367797"/>
            <a:chOff x="6299198" y="4281543"/>
            <a:chExt cx="1405121" cy="1367797"/>
          </a:xfrm>
        </p:grpSpPr>
        <p:grpSp>
          <p:nvGrpSpPr>
            <p:cNvPr id="10" name="Group 9">
              <a:extLst>
                <a:ext uri="{FF2B5EF4-FFF2-40B4-BE49-F238E27FC236}">
                  <a16:creationId xmlns:a16="http://schemas.microsoft.com/office/drawing/2014/main" id="{AB39A9D5-B483-FEB2-450A-21027EBA06B5}"/>
                </a:ext>
              </a:extLst>
            </p:cNvPr>
            <p:cNvGrpSpPr/>
            <p:nvPr/>
          </p:nvGrpSpPr>
          <p:grpSpPr>
            <a:xfrm>
              <a:off x="6299198" y="4353741"/>
              <a:ext cx="1405121" cy="1295597"/>
              <a:chOff x="8749519" y="450850"/>
              <a:chExt cx="741077" cy="683313"/>
            </a:xfrm>
          </p:grpSpPr>
          <p:sp>
            <p:nvSpPr>
              <p:cNvPr id="22" name="Freeform 9">
                <a:extLst>
                  <a:ext uri="{FF2B5EF4-FFF2-40B4-BE49-F238E27FC236}">
                    <a16:creationId xmlns:a16="http://schemas.microsoft.com/office/drawing/2014/main" id="{A78A396A-2470-8846-88B2-419EB1BE46CA}"/>
                  </a:ext>
                </a:extLst>
              </p:cNvPr>
              <p:cNvSpPr/>
              <p:nvPr/>
            </p:nvSpPr>
            <p:spPr>
              <a:xfrm>
                <a:off x="9235632" y="455490"/>
                <a:ext cx="254484" cy="678673"/>
              </a:xfrm>
              <a:custGeom>
                <a:avLst/>
                <a:gdLst>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4 w 270502"/>
                  <a:gd name="connsiteY39" fmla="*/ 30058 h 721392"/>
                  <a:gd name="connsiteX40" fmla="*/ 90148 w 270502"/>
                  <a:gd name="connsiteY40" fmla="*/ 75145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90149 w 270502"/>
                  <a:gd name="connsiteY44" fmla="*/ 75145 h 721392"/>
                  <a:gd name="connsiteX45" fmla="*/ 103382 w 270502"/>
                  <a:gd name="connsiteY45" fmla="*/ 43280 h 721392"/>
                  <a:gd name="connsiteX46" fmla="*/ 135235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90149 w 270502"/>
                  <a:gd name="connsiteY45" fmla="*/ 75145 h 721392"/>
                  <a:gd name="connsiteX46" fmla="*/ 135235 w 270502"/>
                  <a:gd name="connsiteY46" fmla="*/ 30058 h 721392"/>
                  <a:gd name="connsiteX47" fmla="*/ 135234 w 270502"/>
                  <a:gd name="connsiteY47" fmla="*/ 30058 h 721392"/>
                  <a:gd name="connsiteX48" fmla="*/ 135234 w 270502"/>
                  <a:gd name="connsiteY48" fmla="*/ 0 h 721392"/>
                  <a:gd name="connsiteX49" fmla="*/ 210379 w 270502"/>
                  <a:gd name="connsiteY49" fmla="*/ 75145 h 721392"/>
                  <a:gd name="connsiteX50" fmla="*/ 135234 w 270502"/>
                  <a:gd name="connsiteY50" fmla="*/ 150290 h 721392"/>
                  <a:gd name="connsiteX51" fmla="*/ 60089 w 270502"/>
                  <a:gd name="connsiteY51" fmla="*/ 75145 h 721392"/>
                  <a:gd name="connsiteX52" fmla="*/ 135234 w 270502"/>
                  <a:gd name="connsiteY52"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0 h 721392"/>
                  <a:gd name="connsiteX47" fmla="*/ 210379 w 270502"/>
                  <a:gd name="connsiteY47" fmla="*/ 75145 h 721392"/>
                  <a:gd name="connsiteX48" fmla="*/ 135234 w 270502"/>
                  <a:gd name="connsiteY48" fmla="*/ 150290 h 721392"/>
                  <a:gd name="connsiteX49" fmla="*/ 60089 w 270502"/>
                  <a:gd name="connsiteY49" fmla="*/ 75145 h 721392"/>
                  <a:gd name="connsiteX50" fmla="*/ 135234 w 270502"/>
                  <a:gd name="connsiteY50"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5 w 270502"/>
                  <a:gd name="connsiteY44" fmla="*/ 30058 h 721392"/>
                  <a:gd name="connsiteX45" fmla="*/ 135234 w 270502"/>
                  <a:gd name="connsiteY45" fmla="*/ 0 h 721392"/>
                  <a:gd name="connsiteX46" fmla="*/ 210379 w 270502"/>
                  <a:gd name="connsiteY46" fmla="*/ 75145 h 721392"/>
                  <a:gd name="connsiteX47" fmla="*/ 135234 w 270502"/>
                  <a:gd name="connsiteY47" fmla="*/ 150290 h 721392"/>
                  <a:gd name="connsiteX48" fmla="*/ 60089 w 270502"/>
                  <a:gd name="connsiteY48" fmla="*/ 75145 h 721392"/>
                  <a:gd name="connsiteX49" fmla="*/ 135234 w 270502"/>
                  <a:gd name="connsiteY49"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03371 w 270502"/>
                  <a:gd name="connsiteY40" fmla="*/ 107010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4 w 270502"/>
                  <a:gd name="connsiteY44" fmla="*/ 0 h 721392"/>
                  <a:gd name="connsiteX45" fmla="*/ 210379 w 270502"/>
                  <a:gd name="connsiteY45" fmla="*/ 75145 h 721392"/>
                  <a:gd name="connsiteX46" fmla="*/ 135234 w 270502"/>
                  <a:gd name="connsiteY46" fmla="*/ 150290 h 721392"/>
                  <a:gd name="connsiteX47" fmla="*/ 60089 w 270502"/>
                  <a:gd name="connsiteY47" fmla="*/ 75145 h 721392"/>
                  <a:gd name="connsiteX48" fmla="*/ 135234 w 270502"/>
                  <a:gd name="connsiteY48"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120232 h 721392"/>
                  <a:gd name="connsiteX41" fmla="*/ 135234 w 270502"/>
                  <a:gd name="connsiteY41" fmla="*/ 120232 h 721392"/>
                  <a:gd name="connsiteX42" fmla="*/ 135235 w 270502"/>
                  <a:gd name="connsiteY42" fmla="*/ 120232 h 721392"/>
                  <a:gd name="connsiteX43" fmla="*/ 135234 w 270502"/>
                  <a:gd name="connsiteY43" fmla="*/ 0 h 721392"/>
                  <a:gd name="connsiteX44" fmla="*/ 210379 w 270502"/>
                  <a:gd name="connsiteY44" fmla="*/ 75145 h 721392"/>
                  <a:gd name="connsiteX45" fmla="*/ 135234 w 270502"/>
                  <a:gd name="connsiteY45" fmla="*/ 150290 h 721392"/>
                  <a:gd name="connsiteX46" fmla="*/ 60089 w 270502"/>
                  <a:gd name="connsiteY46" fmla="*/ 75145 h 721392"/>
                  <a:gd name="connsiteX47" fmla="*/ 135234 w 270502"/>
                  <a:gd name="connsiteY47" fmla="*/ 0 h 721392"/>
                  <a:gd name="connsiteX0" fmla="*/ 35142 w 270502"/>
                  <a:gd name="connsiteY0" fmla="*/ 447684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5 w 270502"/>
                  <a:gd name="connsiteY39" fmla="*/ 120232 h 721392"/>
                  <a:gd name="connsiteX40" fmla="*/ 135234 w 270502"/>
                  <a:gd name="connsiteY40" fmla="*/ 120232 h 721392"/>
                  <a:gd name="connsiteX41" fmla="*/ 135235 w 270502"/>
                  <a:gd name="connsiteY41" fmla="*/ 120232 h 721392"/>
                  <a:gd name="connsiteX42" fmla="*/ 135234 w 270502"/>
                  <a:gd name="connsiteY42" fmla="*/ 0 h 721392"/>
                  <a:gd name="connsiteX43" fmla="*/ 210379 w 270502"/>
                  <a:gd name="connsiteY43" fmla="*/ 75145 h 721392"/>
                  <a:gd name="connsiteX44" fmla="*/ 135234 w 270502"/>
                  <a:gd name="connsiteY44" fmla="*/ 150290 h 721392"/>
                  <a:gd name="connsiteX45" fmla="*/ 60089 w 270502"/>
                  <a:gd name="connsiteY45" fmla="*/ 75145 h 721392"/>
                  <a:gd name="connsiteX46" fmla="*/ 135234 w 270502"/>
                  <a:gd name="connsiteY46" fmla="*/ 0 h 721392"/>
                  <a:gd name="connsiteX0" fmla="*/ 35142 w 270502"/>
                  <a:gd name="connsiteY0" fmla="*/ 447684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35142 w 270502"/>
                  <a:gd name="connsiteY22" fmla="*/ 447684 h 721392"/>
                  <a:gd name="connsiteX23" fmla="*/ 96852 w 270502"/>
                  <a:gd name="connsiteY23" fmla="*/ 180349 h 721392"/>
                  <a:gd name="connsiteX24" fmla="*/ 173589 w 270502"/>
                  <a:gd name="connsiteY24" fmla="*/ 180349 h 721392"/>
                  <a:gd name="connsiteX25" fmla="*/ 250238 w 270502"/>
                  <a:gd name="connsiteY25" fmla="*/ 253359 h 721392"/>
                  <a:gd name="connsiteX26" fmla="*/ 270166 w 270502"/>
                  <a:gd name="connsiteY26" fmla="*/ 427937 h 721392"/>
                  <a:gd name="connsiteX27" fmla="*/ 257782 w 270502"/>
                  <a:gd name="connsiteY27" fmla="*/ 467703 h 721392"/>
                  <a:gd name="connsiteX28" fmla="*/ 226913 w 270502"/>
                  <a:gd name="connsiteY28" fmla="*/ 482882 h 721392"/>
                  <a:gd name="connsiteX29" fmla="*/ 210320 w 270502"/>
                  <a:gd name="connsiteY29" fmla="*/ 707475 h 721392"/>
                  <a:gd name="connsiteX30" fmla="*/ 195351 w 270502"/>
                  <a:gd name="connsiteY30" fmla="*/ 721392 h 721392"/>
                  <a:gd name="connsiteX31" fmla="*/ 75119 w 270502"/>
                  <a:gd name="connsiteY31" fmla="*/ 721392 h 721392"/>
                  <a:gd name="connsiteX32" fmla="*/ 60151 w 270502"/>
                  <a:gd name="connsiteY32" fmla="*/ 707475 h 721392"/>
                  <a:gd name="connsiteX33" fmla="*/ 43558 w 270502"/>
                  <a:gd name="connsiteY33" fmla="*/ 482882 h 721392"/>
                  <a:gd name="connsiteX34" fmla="*/ 12689 w 270502"/>
                  <a:gd name="connsiteY34" fmla="*/ 467703 h 721392"/>
                  <a:gd name="connsiteX35" fmla="*/ 335 w 270502"/>
                  <a:gd name="connsiteY35" fmla="*/ 427937 h 721392"/>
                  <a:gd name="connsiteX36" fmla="*/ 20264 w 270502"/>
                  <a:gd name="connsiteY36" fmla="*/ 253359 h 721392"/>
                  <a:gd name="connsiteX37" fmla="*/ 96852 w 270502"/>
                  <a:gd name="connsiteY37" fmla="*/ 180349 h 721392"/>
                  <a:gd name="connsiteX38" fmla="*/ 135235 w 270502"/>
                  <a:gd name="connsiteY38" fmla="*/ 120232 h 721392"/>
                  <a:gd name="connsiteX39" fmla="*/ 135234 w 270502"/>
                  <a:gd name="connsiteY39" fmla="*/ 120232 h 721392"/>
                  <a:gd name="connsiteX40" fmla="*/ 135235 w 270502"/>
                  <a:gd name="connsiteY40" fmla="*/ 120232 h 721392"/>
                  <a:gd name="connsiteX41" fmla="*/ 135234 w 270502"/>
                  <a:gd name="connsiteY41" fmla="*/ 0 h 721392"/>
                  <a:gd name="connsiteX42" fmla="*/ 210379 w 270502"/>
                  <a:gd name="connsiteY42" fmla="*/ 75145 h 721392"/>
                  <a:gd name="connsiteX43" fmla="*/ 135234 w 270502"/>
                  <a:gd name="connsiteY43" fmla="*/ 150290 h 721392"/>
                  <a:gd name="connsiteX44" fmla="*/ 60089 w 270502"/>
                  <a:gd name="connsiteY44" fmla="*/ 75145 h 721392"/>
                  <a:gd name="connsiteX45" fmla="*/ 135234 w 270502"/>
                  <a:gd name="connsiteY45" fmla="*/ 0 h 721392"/>
                  <a:gd name="connsiteX0" fmla="*/ 46144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96852 w 270502"/>
                  <a:gd name="connsiteY22" fmla="*/ 180349 h 721392"/>
                  <a:gd name="connsiteX23" fmla="*/ 173589 w 270502"/>
                  <a:gd name="connsiteY23" fmla="*/ 180349 h 721392"/>
                  <a:gd name="connsiteX24" fmla="*/ 250238 w 270502"/>
                  <a:gd name="connsiteY24" fmla="*/ 253359 h 721392"/>
                  <a:gd name="connsiteX25" fmla="*/ 270166 w 270502"/>
                  <a:gd name="connsiteY25" fmla="*/ 427937 h 721392"/>
                  <a:gd name="connsiteX26" fmla="*/ 257782 w 270502"/>
                  <a:gd name="connsiteY26" fmla="*/ 467703 h 721392"/>
                  <a:gd name="connsiteX27" fmla="*/ 226913 w 270502"/>
                  <a:gd name="connsiteY27" fmla="*/ 482882 h 721392"/>
                  <a:gd name="connsiteX28" fmla="*/ 210320 w 270502"/>
                  <a:gd name="connsiteY28" fmla="*/ 707475 h 721392"/>
                  <a:gd name="connsiteX29" fmla="*/ 195351 w 270502"/>
                  <a:gd name="connsiteY29" fmla="*/ 721392 h 721392"/>
                  <a:gd name="connsiteX30" fmla="*/ 75119 w 270502"/>
                  <a:gd name="connsiteY30" fmla="*/ 721392 h 721392"/>
                  <a:gd name="connsiteX31" fmla="*/ 60151 w 270502"/>
                  <a:gd name="connsiteY31" fmla="*/ 707475 h 721392"/>
                  <a:gd name="connsiteX32" fmla="*/ 43558 w 270502"/>
                  <a:gd name="connsiteY32" fmla="*/ 482882 h 721392"/>
                  <a:gd name="connsiteX33" fmla="*/ 12689 w 270502"/>
                  <a:gd name="connsiteY33" fmla="*/ 467703 h 721392"/>
                  <a:gd name="connsiteX34" fmla="*/ 335 w 270502"/>
                  <a:gd name="connsiteY34" fmla="*/ 427937 h 721392"/>
                  <a:gd name="connsiteX35" fmla="*/ 20264 w 270502"/>
                  <a:gd name="connsiteY35" fmla="*/ 253359 h 721392"/>
                  <a:gd name="connsiteX36" fmla="*/ 96852 w 270502"/>
                  <a:gd name="connsiteY36" fmla="*/ 180349 h 721392"/>
                  <a:gd name="connsiteX37" fmla="*/ 135235 w 270502"/>
                  <a:gd name="connsiteY37" fmla="*/ 120232 h 721392"/>
                  <a:gd name="connsiteX38" fmla="*/ 135234 w 270502"/>
                  <a:gd name="connsiteY38" fmla="*/ 120232 h 721392"/>
                  <a:gd name="connsiteX39" fmla="*/ 135235 w 270502"/>
                  <a:gd name="connsiteY39" fmla="*/ 120232 h 721392"/>
                  <a:gd name="connsiteX40" fmla="*/ 135234 w 270502"/>
                  <a:gd name="connsiteY40" fmla="*/ 0 h 721392"/>
                  <a:gd name="connsiteX41" fmla="*/ 210379 w 270502"/>
                  <a:gd name="connsiteY41" fmla="*/ 75145 h 721392"/>
                  <a:gd name="connsiteX42" fmla="*/ 135234 w 270502"/>
                  <a:gd name="connsiteY42" fmla="*/ 150290 h 721392"/>
                  <a:gd name="connsiteX43" fmla="*/ 60089 w 270502"/>
                  <a:gd name="connsiteY43" fmla="*/ 75145 h 721392"/>
                  <a:gd name="connsiteX44" fmla="*/ 135234 w 270502"/>
                  <a:gd name="connsiteY44" fmla="*/ 0 h 721392"/>
                  <a:gd name="connsiteX0" fmla="*/ 57565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96852 w 270502"/>
                  <a:gd name="connsiteY21" fmla="*/ 180349 h 721392"/>
                  <a:gd name="connsiteX22" fmla="*/ 173589 w 270502"/>
                  <a:gd name="connsiteY22" fmla="*/ 180349 h 721392"/>
                  <a:gd name="connsiteX23" fmla="*/ 250238 w 270502"/>
                  <a:gd name="connsiteY23" fmla="*/ 253359 h 721392"/>
                  <a:gd name="connsiteX24" fmla="*/ 270166 w 270502"/>
                  <a:gd name="connsiteY24" fmla="*/ 427937 h 721392"/>
                  <a:gd name="connsiteX25" fmla="*/ 257782 w 270502"/>
                  <a:gd name="connsiteY25" fmla="*/ 467703 h 721392"/>
                  <a:gd name="connsiteX26" fmla="*/ 226913 w 270502"/>
                  <a:gd name="connsiteY26" fmla="*/ 482882 h 721392"/>
                  <a:gd name="connsiteX27" fmla="*/ 210320 w 270502"/>
                  <a:gd name="connsiteY27" fmla="*/ 707475 h 721392"/>
                  <a:gd name="connsiteX28" fmla="*/ 195351 w 270502"/>
                  <a:gd name="connsiteY28" fmla="*/ 721392 h 721392"/>
                  <a:gd name="connsiteX29" fmla="*/ 75119 w 270502"/>
                  <a:gd name="connsiteY29" fmla="*/ 721392 h 721392"/>
                  <a:gd name="connsiteX30" fmla="*/ 60151 w 270502"/>
                  <a:gd name="connsiteY30" fmla="*/ 707475 h 721392"/>
                  <a:gd name="connsiteX31" fmla="*/ 43558 w 270502"/>
                  <a:gd name="connsiteY31" fmla="*/ 482882 h 721392"/>
                  <a:gd name="connsiteX32" fmla="*/ 12689 w 270502"/>
                  <a:gd name="connsiteY32" fmla="*/ 467703 h 721392"/>
                  <a:gd name="connsiteX33" fmla="*/ 335 w 270502"/>
                  <a:gd name="connsiteY33" fmla="*/ 427937 h 721392"/>
                  <a:gd name="connsiteX34" fmla="*/ 20264 w 270502"/>
                  <a:gd name="connsiteY34" fmla="*/ 253359 h 721392"/>
                  <a:gd name="connsiteX35" fmla="*/ 96852 w 270502"/>
                  <a:gd name="connsiteY35" fmla="*/ 180349 h 721392"/>
                  <a:gd name="connsiteX36" fmla="*/ 135235 w 270502"/>
                  <a:gd name="connsiteY36" fmla="*/ 120232 h 721392"/>
                  <a:gd name="connsiteX37" fmla="*/ 135234 w 270502"/>
                  <a:gd name="connsiteY37" fmla="*/ 120232 h 721392"/>
                  <a:gd name="connsiteX38" fmla="*/ 135235 w 270502"/>
                  <a:gd name="connsiteY38" fmla="*/ 120232 h 721392"/>
                  <a:gd name="connsiteX39" fmla="*/ 135234 w 270502"/>
                  <a:gd name="connsiteY39" fmla="*/ 0 h 721392"/>
                  <a:gd name="connsiteX40" fmla="*/ 210379 w 270502"/>
                  <a:gd name="connsiteY40" fmla="*/ 75145 h 721392"/>
                  <a:gd name="connsiteX41" fmla="*/ 135234 w 270502"/>
                  <a:gd name="connsiteY41" fmla="*/ 150290 h 721392"/>
                  <a:gd name="connsiteX42" fmla="*/ 60089 w 270502"/>
                  <a:gd name="connsiteY42" fmla="*/ 75145 h 721392"/>
                  <a:gd name="connsiteX43" fmla="*/ 135234 w 270502"/>
                  <a:gd name="connsiteY43" fmla="*/ 0 h 721392"/>
                  <a:gd name="connsiteX0" fmla="*/ 72565 w 270502"/>
                  <a:gd name="connsiteY0" fmla="*/ 466800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96852 w 270502"/>
                  <a:gd name="connsiteY20" fmla="*/ 180349 h 721392"/>
                  <a:gd name="connsiteX21" fmla="*/ 173589 w 270502"/>
                  <a:gd name="connsiteY21" fmla="*/ 180349 h 721392"/>
                  <a:gd name="connsiteX22" fmla="*/ 250238 w 270502"/>
                  <a:gd name="connsiteY22" fmla="*/ 253359 h 721392"/>
                  <a:gd name="connsiteX23" fmla="*/ 270166 w 270502"/>
                  <a:gd name="connsiteY23" fmla="*/ 427937 h 721392"/>
                  <a:gd name="connsiteX24" fmla="*/ 257782 w 270502"/>
                  <a:gd name="connsiteY24" fmla="*/ 467703 h 721392"/>
                  <a:gd name="connsiteX25" fmla="*/ 226913 w 270502"/>
                  <a:gd name="connsiteY25" fmla="*/ 482882 h 721392"/>
                  <a:gd name="connsiteX26" fmla="*/ 210320 w 270502"/>
                  <a:gd name="connsiteY26" fmla="*/ 707475 h 721392"/>
                  <a:gd name="connsiteX27" fmla="*/ 195351 w 270502"/>
                  <a:gd name="connsiteY27" fmla="*/ 721392 h 721392"/>
                  <a:gd name="connsiteX28" fmla="*/ 75119 w 270502"/>
                  <a:gd name="connsiteY28" fmla="*/ 721392 h 721392"/>
                  <a:gd name="connsiteX29" fmla="*/ 60151 w 270502"/>
                  <a:gd name="connsiteY29" fmla="*/ 707475 h 721392"/>
                  <a:gd name="connsiteX30" fmla="*/ 43558 w 270502"/>
                  <a:gd name="connsiteY30" fmla="*/ 482882 h 721392"/>
                  <a:gd name="connsiteX31" fmla="*/ 12689 w 270502"/>
                  <a:gd name="connsiteY31" fmla="*/ 467703 h 721392"/>
                  <a:gd name="connsiteX32" fmla="*/ 335 w 270502"/>
                  <a:gd name="connsiteY32" fmla="*/ 427937 h 721392"/>
                  <a:gd name="connsiteX33" fmla="*/ 20264 w 270502"/>
                  <a:gd name="connsiteY33" fmla="*/ 253359 h 721392"/>
                  <a:gd name="connsiteX34" fmla="*/ 96852 w 270502"/>
                  <a:gd name="connsiteY34" fmla="*/ 180349 h 721392"/>
                  <a:gd name="connsiteX35" fmla="*/ 135235 w 270502"/>
                  <a:gd name="connsiteY35" fmla="*/ 120232 h 721392"/>
                  <a:gd name="connsiteX36" fmla="*/ 135234 w 270502"/>
                  <a:gd name="connsiteY36" fmla="*/ 120232 h 721392"/>
                  <a:gd name="connsiteX37" fmla="*/ 135235 w 270502"/>
                  <a:gd name="connsiteY37" fmla="*/ 120232 h 721392"/>
                  <a:gd name="connsiteX38" fmla="*/ 135234 w 270502"/>
                  <a:gd name="connsiteY38" fmla="*/ 0 h 721392"/>
                  <a:gd name="connsiteX39" fmla="*/ 210379 w 270502"/>
                  <a:gd name="connsiteY39" fmla="*/ 75145 h 721392"/>
                  <a:gd name="connsiteX40" fmla="*/ 135234 w 270502"/>
                  <a:gd name="connsiteY40" fmla="*/ 150290 h 721392"/>
                  <a:gd name="connsiteX41" fmla="*/ 60089 w 270502"/>
                  <a:gd name="connsiteY41" fmla="*/ 75145 h 721392"/>
                  <a:gd name="connsiteX42" fmla="*/ 135234 w 270502"/>
                  <a:gd name="connsiteY42" fmla="*/ 0 h 721392"/>
                  <a:gd name="connsiteX0" fmla="*/ 72565 w 270502"/>
                  <a:gd name="connsiteY0" fmla="*/ 466800 h 721392"/>
                  <a:gd name="connsiteX1" fmla="*/ 35142 w 270502"/>
                  <a:gd name="connsiteY1" fmla="*/ 447685 h 721392"/>
                  <a:gd name="connsiteX2" fmla="*/ 57565 w 270502"/>
                  <a:gd name="connsiteY2" fmla="*/ 452884 h 721392"/>
                  <a:gd name="connsiteX3" fmla="*/ 72565 w 270502"/>
                  <a:gd name="connsiteY3" fmla="*/ 466801 h 721392"/>
                  <a:gd name="connsiteX4" fmla="*/ 89097 w 270502"/>
                  <a:gd name="connsiteY4" fmla="*/ 691334 h 721392"/>
                  <a:gd name="connsiteX5" fmla="*/ 181404 w 270502"/>
                  <a:gd name="connsiteY5" fmla="*/ 691334 h 721392"/>
                  <a:gd name="connsiteX6" fmla="*/ 197967 w 270502"/>
                  <a:gd name="connsiteY6" fmla="*/ 466801 h 721392"/>
                  <a:gd name="connsiteX7" fmla="*/ 212965 w 270502"/>
                  <a:gd name="connsiteY7" fmla="*/ 452884 h 721392"/>
                  <a:gd name="connsiteX8" fmla="*/ 224418 w 270502"/>
                  <a:gd name="connsiteY8" fmla="*/ 452884 h 721392"/>
                  <a:gd name="connsiteX9" fmla="*/ 235419 w 270502"/>
                  <a:gd name="connsiteY9" fmla="*/ 447685 h 721392"/>
                  <a:gd name="connsiteX10" fmla="*/ 240348 w 270502"/>
                  <a:gd name="connsiteY10" fmla="*/ 431333 h 721392"/>
                  <a:gd name="connsiteX11" fmla="*/ 240348 w 270502"/>
                  <a:gd name="connsiteY11" fmla="*/ 431332 h 721392"/>
                  <a:gd name="connsiteX12" fmla="*/ 235419 w 270502"/>
                  <a:gd name="connsiteY12" fmla="*/ 447684 h 721392"/>
                  <a:gd name="connsiteX13" fmla="*/ 224418 w 270502"/>
                  <a:gd name="connsiteY13" fmla="*/ 452883 h 721392"/>
                  <a:gd name="connsiteX14" fmla="*/ 212965 w 270502"/>
                  <a:gd name="connsiteY14" fmla="*/ 452883 h 721392"/>
                  <a:gd name="connsiteX15" fmla="*/ 197967 w 270502"/>
                  <a:gd name="connsiteY15" fmla="*/ 466800 h 721392"/>
                  <a:gd name="connsiteX16" fmla="*/ 181404 w 270502"/>
                  <a:gd name="connsiteY16" fmla="*/ 691333 h 721392"/>
                  <a:gd name="connsiteX17" fmla="*/ 89097 w 270502"/>
                  <a:gd name="connsiteY17" fmla="*/ 691333 h 721392"/>
                  <a:gd name="connsiteX18" fmla="*/ 72565 w 270502"/>
                  <a:gd name="connsiteY18" fmla="*/ 466800 h 721392"/>
                  <a:gd name="connsiteX19" fmla="*/ 96852 w 270502"/>
                  <a:gd name="connsiteY19" fmla="*/ 180349 h 721392"/>
                  <a:gd name="connsiteX20" fmla="*/ 173589 w 270502"/>
                  <a:gd name="connsiteY20" fmla="*/ 180349 h 721392"/>
                  <a:gd name="connsiteX21" fmla="*/ 250238 w 270502"/>
                  <a:gd name="connsiteY21" fmla="*/ 253359 h 721392"/>
                  <a:gd name="connsiteX22" fmla="*/ 270166 w 270502"/>
                  <a:gd name="connsiteY22" fmla="*/ 427937 h 721392"/>
                  <a:gd name="connsiteX23" fmla="*/ 257782 w 270502"/>
                  <a:gd name="connsiteY23" fmla="*/ 467703 h 721392"/>
                  <a:gd name="connsiteX24" fmla="*/ 226913 w 270502"/>
                  <a:gd name="connsiteY24" fmla="*/ 482882 h 721392"/>
                  <a:gd name="connsiteX25" fmla="*/ 210320 w 270502"/>
                  <a:gd name="connsiteY25" fmla="*/ 707475 h 721392"/>
                  <a:gd name="connsiteX26" fmla="*/ 195351 w 270502"/>
                  <a:gd name="connsiteY26" fmla="*/ 721392 h 721392"/>
                  <a:gd name="connsiteX27" fmla="*/ 75119 w 270502"/>
                  <a:gd name="connsiteY27" fmla="*/ 721392 h 721392"/>
                  <a:gd name="connsiteX28" fmla="*/ 60151 w 270502"/>
                  <a:gd name="connsiteY28" fmla="*/ 707475 h 721392"/>
                  <a:gd name="connsiteX29" fmla="*/ 43558 w 270502"/>
                  <a:gd name="connsiteY29" fmla="*/ 482882 h 721392"/>
                  <a:gd name="connsiteX30" fmla="*/ 12689 w 270502"/>
                  <a:gd name="connsiteY30" fmla="*/ 467703 h 721392"/>
                  <a:gd name="connsiteX31" fmla="*/ 335 w 270502"/>
                  <a:gd name="connsiteY31" fmla="*/ 427937 h 721392"/>
                  <a:gd name="connsiteX32" fmla="*/ 20264 w 270502"/>
                  <a:gd name="connsiteY32" fmla="*/ 253359 h 721392"/>
                  <a:gd name="connsiteX33" fmla="*/ 96852 w 270502"/>
                  <a:gd name="connsiteY33" fmla="*/ 180349 h 721392"/>
                  <a:gd name="connsiteX34" fmla="*/ 135235 w 270502"/>
                  <a:gd name="connsiteY34" fmla="*/ 120232 h 721392"/>
                  <a:gd name="connsiteX35" fmla="*/ 135234 w 270502"/>
                  <a:gd name="connsiteY35" fmla="*/ 120232 h 721392"/>
                  <a:gd name="connsiteX36" fmla="*/ 135235 w 270502"/>
                  <a:gd name="connsiteY36" fmla="*/ 120232 h 721392"/>
                  <a:gd name="connsiteX37" fmla="*/ 135234 w 270502"/>
                  <a:gd name="connsiteY37" fmla="*/ 0 h 721392"/>
                  <a:gd name="connsiteX38" fmla="*/ 210379 w 270502"/>
                  <a:gd name="connsiteY38" fmla="*/ 75145 h 721392"/>
                  <a:gd name="connsiteX39" fmla="*/ 135234 w 270502"/>
                  <a:gd name="connsiteY39" fmla="*/ 150290 h 721392"/>
                  <a:gd name="connsiteX40" fmla="*/ 60089 w 270502"/>
                  <a:gd name="connsiteY40" fmla="*/ 75145 h 721392"/>
                  <a:gd name="connsiteX41" fmla="*/ 135234 w 270502"/>
                  <a:gd name="connsiteY41" fmla="*/ 0 h 721392"/>
                  <a:gd name="connsiteX0" fmla="*/ 72565 w 270502"/>
                  <a:gd name="connsiteY0" fmla="*/ 466800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72565 w 270502"/>
                  <a:gd name="connsiteY17" fmla="*/ 466800 h 721392"/>
                  <a:gd name="connsiteX18" fmla="*/ 96852 w 270502"/>
                  <a:gd name="connsiteY18" fmla="*/ 180349 h 721392"/>
                  <a:gd name="connsiteX19" fmla="*/ 173589 w 270502"/>
                  <a:gd name="connsiteY19" fmla="*/ 180349 h 721392"/>
                  <a:gd name="connsiteX20" fmla="*/ 250238 w 270502"/>
                  <a:gd name="connsiteY20" fmla="*/ 253359 h 721392"/>
                  <a:gd name="connsiteX21" fmla="*/ 270166 w 270502"/>
                  <a:gd name="connsiteY21" fmla="*/ 427937 h 721392"/>
                  <a:gd name="connsiteX22" fmla="*/ 257782 w 270502"/>
                  <a:gd name="connsiteY22" fmla="*/ 467703 h 721392"/>
                  <a:gd name="connsiteX23" fmla="*/ 226913 w 270502"/>
                  <a:gd name="connsiteY23" fmla="*/ 482882 h 721392"/>
                  <a:gd name="connsiteX24" fmla="*/ 210320 w 270502"/>
                  <a:gd name="connsiteY24" fmla="*/ 707475 h 721392"/>
                  <a:gd name="connsiteX25" fmla="*/ 195351 w 270502"/>
                  <a:gd name="connsiteY25" fmla="*/ 721392 h 721392"/>
                  <a:gd name="connsiteX26" fmla="*/ 75119 w 270502"/>
                  <a:gd name="connsiteY26" fmla="*/ 721392 h 721392"/>
                  <a:gd name="connsiteX27" fmla="*/ 60151 w 270502"/>
                  <a:gd name="connsiteY27" fmla="*/ 707475 h 721392"/>
                  <a:gd name="connsiteX28" fmla="*/ 43558 w 270502"/>
                  <a:gd name="connsiteY28" fmla="*/ 482882 h 721392"/>
                  <a:gd name="connsiteX29" fmla="*/ 12689 w 270502"/>
                  <a:gd name="connsiteY29" fmla="*/ 467703 h 721392"/>
                  <a:gd name="connsiteX30" fmla="*/ 335 w 270502"/>
                  <a:gd name="connsiteY30" fmla="*/ 427937 h 721392"/>
                  <a:gd name="connsiteX31" fmla="*/ 20264 w 270502"/>
                  <a:gd name="connsiteY31" fmla="*/ 253359 h 721392"/>
                  <a:gd name="connsiteX32" fmla="*/ 96852 w 270502"/>
                  <a:gd name="connsiteY32" fmla="*/ 180349 h 721392"/>
                  <a:gd name="connsiteX33" fmla="*/ 135235 w 270502"/>
                  <a:gd name="connsiteY33" fmla="*/ 120232 h 721392"/>
                  <a:gd name="connsiteX34" fmla="*/ 135234 w 270502"/>
                  <a:gd name="connsiteY34" fmla="*/ 120232 h 721392"/>
                  <a:gd name="connsiteX35" fmla="*/ 135235 w 270502"/>
                  <a:gd name="connsiteY35" fmla="*/ 120232 h 721392"/>
                  <a:gd name="connsiteX36" fmla="*/ 135234 w 270502"/>
                  <a:gd name="connsiteY36" fmla="*/ 0 h 721392"/>
                  <a:gd name="connsiteX37" fmla="*/ 210379 w 270502"/>
                  <a:gd name="connsiteY37" fmla="*/ 75145 h 721392"/>
                  <a:gd name="connsiteX38" fmla="*/ 135234 w 270502"/>
                  <a:gd name="connsiteY38" fmla="*/ 150290 h 721392"/>
                  <a:gd name="connsiteX39" fmla="*/ 60089 w 270502"/>
                  <a:gd name="connsiteY39" fmla="*/ 75145 h 721392"/>
                  <a:gd name="connsiteX40" fmla="*/ 135234 w 270502"/>
                  <a:gd name="connsiteY40" fmla="*/ 0 h 721392"/>
                  <a:gd name="connsiteX0" fmla="*/ 89097 w 270502"/>
                  <a:gd name="connsiteY0" fmla="*/ 691333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96852 w 270502"/>
                  <a:gd name="connsiteY17" fmla="*/ 180349 h 721392"/>
                  <a:gd name="connsiteX18" fmla="*/ 173589 w 270502"/>
                  <a:gd name="connsiteY18" fmla="*/ 180349 h 721392"/>
                  <a:gd name="connsiteX19" fmla="*/ 250238 w 270502"/>
                  <a:gd name="connsiteY19" fmla="*/ 253359 h 721392"/>
                  <a:gd name="connsiteX20" fmla="*/ 270166 w 270502"/>
                  <a:gd name="connsiteY20" fmla="*/ 427937 h 721392"/>
                  <a:gd name="connsiteX21" fmla="*/ 257782 w 270502"/>
                  <a:gd name="connsiteY21" fmla="*/ 467703 h 721392"/>
                  <a:gd name="connsiteX22" fmla="*/ 226913 w 270502"/>
                  <a:gd name="connsiteY22" fmla="*/ 482882 h 721392"/>
                  <a:gd name="connsiteX23" fmla="*/ 210320 w 270502"/>
                  <a:gd name="connsiteY23" fmla="*/ 707475 h 721392"/>
                  <a:gd name="connsiteX24" fmla="*/ 195351 w 270502"/>
                  <a:gd name="connsiteY24" fmla="*/ 721392 h 721392"/>
                  <a:gd name="connsiteX25" fmla="*/ 75119 w 270502"/>
                  <a:gd name="connsiteY25" fmla="*/ 721392 h 721392"/>
                  <a:gd name="connsiteX26" fmla="*/ 60151 w 270502"/>
                  <a:gd name="connsiteY26" fmla="*/ 707475 h 721392"/>
                  <a:gd name="connsiteX27" fmla="*/ 43558 w 270502"/>
                  <a:gd name="connsiteY27" fmla="*/ 482882 h 721392"/>
                  <a:gd name="connsiteX28" fmla="*/ 12689 w 270502"/>
                  <a:gd name="connsiteY28" fmla="*/ 467703 h 721392"/>
                  <a:gd name="connsiteX29" fmla="*/ 335 w 270502"/>
                  <a:gd name="connsiteY29" fmla="*/ 427937 h 721392"/>
                  <a:gd name="connsiteX30" fmla="*/ 20264 w 270502"/>
                  <a:gd name="connsiteY30" fmla="*/ 253359 h 721392"/>
                  <a:gd name="connsiteX31" fmla="*/ 96852 w 270502"/>
                  <a:gd name="connsiteY31" fmla="*/ 180349 h 721392"/>
                  <a:gd name="connsiteX32" fmla="*/ 135235 w 270502"/>
                  <a:gd name="connsiteY32" fmla="*/ 120232 h 721392"/>
                  <a:gd name="connsiteX33" fmla="*/ 135234 w 270502"/>
                  <a:gd name="connsiteY33" fmla="*/ 120232 h 721392"/>
                  <a:gd name="connsiteX34" fmla="*/ 135235 w 270502"/>
                  <a:gd name="connsiteY34" fmla="*/ 120232 h 721392"/>
                  <a:gd name="connsiteX35" fmla="*/ 135234 w 270502"/>
                  <a:gd name="connsiteY35" fmla="*/ 0 h 721392"/>
                  <a:gd name="connsiteX36" fmla="*/ 210379 w 270502"/>
                  <a:gd name="connsiteY36" fmla="*/ 75145 h 721392"/>
                  <a:gd name="connsiteX37" fmla="*/ 135234 w 270502"/>
                  <a:gd name="connsiteY37" fmla="*/ 150290 h 721392"/>
                  <a:gd name="connsiteX38" fmla="*/ 60089 w 270502"/>
                  <a:gd name="connsiteY38" fmla="*/ 75145 h 721392"/>
                  <a:gd name="connsiteX39" fmla="*/ 135234 w 270502"/>
                  <a:gd name="connsiteY39" fmla="*/ 0 h 721392"/>
                  <a:gd name="connsiteX0" fmla="*/ 89097 w 270502"/>
                  <a:gd name="connsiteY0" fmla="*/ 691333 h 721392"/>
                  <a:gd name="connsiteX1" fmla="*/ 57565 w 270502"/>
                  <a:gd name="connsiteY1" fmla="*/ 452884 h 721392"/>
                  <a:gd name="connsiteX2" fmla="*/ 89097 w 270502"/>
                  <a:gd name="connsiteY2" fmla="*/ 691334 h 721392"/>
                  <a:gd name="connsiteX3" fmla="*/ 181404 w 270502"/>
                  <a:gd name="connsiteY3" fmla="*/ 691334 h 721392"/>
                  <a:gd name="connsiteX4" fmla="*/ 197967 w 270502"/>
                  <a:gd name="connsiteY4" fmla="*/ 466801 h 721392"/>
                  <a:gd name="connsiteX5" fmla="*/ 212965 w 270502"/>
                  <a:gd name="connsiteY5" fmla="*/ 452884 h 721392"/>
                  <a:gd name="connsiteX6" fmla="*/ 224418 w 270502"/>
                  <a:gd name="connsiteY6" fmla="*/ 452884 h 721392"/>
                  <a:gd name="connsiteX7" fmla="*/ 235419 w 270502"/>
                  <a:gd name="connsiteY7" fmla="*/ 447685 h 721392"/>
                  <a:gd name="connsiteX8" fmla="*/ 240348 w 270502"/>
                  <a:gd name="connsiteY8" fmla="*/ 431333 h 721392"/>
                  <a:gd name="connsiteX9" fmla="*/ 240348 w 270502"/>
                  <a:gd name="connsiteY9" fmla="*/ 431332 h 721392"/>
                  <a:gd name="connsiteX10" fmla="*/ 235419 w 270502"/>
                  <a:gd name="connsiteY10" fmla="*/ 447684 h 721392"/>
                  <a:gd name="connsiteX11" fmla="*/ 224418 w 270502"/>
                  <a:gd name="connsiteY11" fmla="*/ 452883 h 721392"/>
                  <a:gd name="connsiteX12" fmla="*/ 212965 w 270502"/>
                  <a:gd name="connsiteY12" fmla="*/ 452883 h 721392"/>
                  <a:gd name="connsiteX13" fmla="*/ 197967 w 270502"/>
                  <a:gd name="connsiteY13" fmla="*/ 466800 h 721392"/>
                  <a:gd name="connsiteX14" fmla="*/ 181404 w 270502"/>
                  <a:gd name="connsiteY14" fmla="*/ 691333 h 721392"/>
                  <a:gd name="connsiteX15" fmla="*/ 89097 w 270502"/>
                  <a:gd name="connsiteY15" fmla="*/ 691333 h 721392"/>
                  <a:gd name="connsiteX16" fmla="*/ 96852 w 270502"/>
                  <a:gd name="connsiteY16" fmla="*/ 180349 h 721392"/>
                  <a:gd name="connsiteX17" fmla="*/ 173589 w 270502"/>
                  <a:gd name="connsiteY17" fmla="*/ 180349 h 721392"/>
                  <a:gd name="connsiteX18" fmla="*/ 250238 w 270502"/>
                  <a:gd name="connsiteY18" fmla="*/ 253359 h 721392"/>
                  <a:gd name="connsiteX19" fmla="*/ 270166 w 270502"/>
                  <a:gd name="connsiteY19" fmla="*/ 427937 h 721392"/>
                  <a:gd name="connsiteX20" fmla="*/ 257782 w 270502"/>
                  <a:gd name="connsiteY20" fmla="*/ 467703 h 721392"/>
                  <a:gd name="connsiteX21" fmla="*/ 226913 w 270502"/>
                  <a:gd name="connsiteY21" fmla="*/ 482882 h 721392"/>
                  <a:gd name="connsiteX22" fmla="*/ 210320 w 270502"/>
                  <a:gd name="connsiteY22" fmla="*/ 707475 h 721392"/>
                  <a:gd name="connsiteX23" fmla="*/ 195351 w 270502"/>
                  <a:gd name="connsiteY23" fmla="*/ 721392 h 721392"/>
                  <a:gd name="connsiteX24" fmla="*/ 75119 w 270502"/>
                  <a:gd name="connsiteY24" fmla="*/ 721392 h 721392"/>
                  <a:gd name="connsiteX25" fmla="*/ 60151 w 270502"/>
                  <a:gd name="connsiteY25" fmla="*/ 707475 h 721392"/>
                  <a:gd name="connsiteX26" fmla="*/ 43558 w 270502"/>
                  <a:gd name="connsiteY26" fmla="*/ 482882 h 721392"/>
                  <a:gd name="connsiteX27" fmla="*/ 12689 w 270502"/>
                  <a:gd name="connsiteY27" fmla="*/ 467703 h 721392"/>
                  <a:gd name="connsiteX28" fmla="*/ 335 w 270502"/>
                  <a:gd name="connsiteY28" fmla="*/ 427937 h 721392"/>
                  <a:gd name="connsiteX29" fmla="*/ 20264 w 270502"/>
                  <a:gd name="connsiteY29" fmla="*/ 253359 h 721392"/>
                  <a:gd name="connsiteX30" fmla="*/ 96852 w 270502"/>
                  <a:gd name="connsiteY30" fmla="*/ 180349 h 721392"/>
                  <a:gd name="connsiteX31" fmla="*/ 135235 w 270502"/>
                  <a:gd name="connsiteY31" fmla="*/ 120232 h 721392"/>
                  <a:gd name="connsiteX32" fmla="*/ 135234 w 270502"/>
                  <a:gd name="connsiteY32" fmla="*/ 120232 h 721392"/>
                  <a:gd name="connsiteX33" fmla="*/ 135235 w 270502"/>
                  <a:gd name="connsiteY33" fmla="*/ 120232 h 721392"/>
                  <a:gd name="connsiteX34" fmla="*/ 135234 w 270502"/>
                  <a:gd name="connsiteY34" fmla="*/ 0 h 721392"/>
                  <a:gd name="connsiteX35" fmla="*/ 210379 w 270502"/>
                  <a:gd name="connsiteY35" fmla="*/ 75145 h 721392"/>
                  <a:gd name="connsiteX36" fmla="*/ 135234 w 270502"/>
                  <a:gd name="connsiteY36" fmla="*/ 150290 h 721392"/>
                  <a:gd name="connsiteX37" fmla="*/ 60089 w 270502"/>
                  <a:gd name="connsiteY37" fmla="*/ 75145 h 721392"/>
                  <a:gd name="connsiteX38" fmla="*/ 135234 w 270502"/>
                  <a:gd name="connsiteY3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97967 w 270502"/>
                  <a:gd name="connsiteY12" fmla="*/ 466800 h 721392"/>
                  <a:gd name="connsiteX13" fmla="*/ 181404 w 270502"/>
                  <a:gd name="connsiteY13" fmla="*/ 691333 h 721392"/>
                  <a:gd name="connsiteX14" fmla="*/ 89097 w 270502"/>
                  <a:gd name="connsiteY14" fmla="*/ 691333 h 721392"/>
                  <a:gd name="connsiteX15" fmla="*/ 96852 w 270502"/>
                  <a:gd name="connsiteY15" fmla="*/ 180349 h 721392"/>
                  <a:gd name="connsiteX16" fmla="*/ 173589 w 270502"/>
                  <a:gd name="connsiteY16" fmla="*/ 180349 h 721392"/>
                  <a:gd name="connsiteX17" fmla="*/ 250238 w 270502"/>
                  <a:gd name="connsiteY17" fmla="*/ 253359 h 721392"/>
                  <a:gd name="connsiteX18" fmla="*/ 270166 w 270502"/>
                  <a:gd name="connsiteY18" fmla="*/ 427937 h 721392"/>
                  <a:gd name="connsiteX19" fmla="*/ 257782 w 270502"/>
                  <a:gd name="connsiteY19" fmla="*/ 467703 h 721392"/>
                  <a:gd name="connsiteX20" fmla="*/ 226913 w 270502"/>
                  <a:gd name="connsiteY20" fmla="*/ 482882 h 721392"/>
                  <a:gd name="connsiteX21" fmla="*/ 210320 w 270502"/>
                  <a:gd name="connsiteY21" fmla="*/ 707475 h 721392"/>
                  <a:gd name="connsiteX22" fmla="*/ 195351 w 270502"/>
                  <a:gd name="connsiteY22" fmla="*/ 721392 h 721392"/>
                  <a:gd name="connsiteX23" fmla="*/ 75119 w 270502"/>
                  <a:gd name="connsiteY23" fmla="*/ 721392 h 721392"/>
                  <a:gd name="connsiteX24" fmla="*/ 60151 w 270502"/>
                  <a:gd name="connsiteY24" fmla="*/ 707475 h 721392"/>
                  <a:gd name="connsiteX25" fmla="*/ 43558 w 270502"/>
                  <a:gd name="connsiteY25" fmla="*/ 482882 h 721392"/>
                  <a:gd name="connsiteX26" fmla="*/ 12689 w 270502"/>
                  <a:gd name="connsiteY26" fmla="*/ 467703 h 721392"/>
                  <a:gd name="connsiteX27" fmla="*/ 335 w 270502"/>
                  <a:gd name="connsiteY27" fmla="*/ 427937 h 721392"/>
                  <a:gd name="connsiteX28" fmla="*/ 20264 w 270502"/>
                  <a:gd name="connsiteY28" fmla="*/ 253359 h 721392"/>
                  <a:gd name="connsiteX29" fmla="*/ 96852 w 270502"/>
                  <a:gd name="connsiteY29" fmla="*/ 180349 h 721392"/>
                  <a:gd name="connsiteX30" fmla="*/ 135235 w 270502"/>
                  <a:gd name="connsiteY30" fmla="*/ 120232 h 721392"/>
                  <a:gd name="connsiteX31" fmla="*/ 135234 w 270502"/>
                  <a:gd name="connsiteY31" fmla="*/ 120232 h 721392"/>
                  <a:gd name="connsiteX32" fmla="*/ 135235 w 270502"/>
                  <a:gd name="connsiteY32" fmla="*/ 120232 h 721392"/>
                  <a:gd name="connsiteX33" fmla="*/ 135234 w 270502"/>
                  <a:gd name="connsiteY33" fmla="*/ 0 h 721392"/>
                  <a:gd name="connsiteX34" fmla="*/ 210379 w 270502"/>
                  <a:gd name="connsiteY34" fmla="*/ 75145 h 721392"/>
                  <a:gd name="connsiteX35" fmla="*/ 135234 w 270502"/>
                  <a:gd name="connsiteY35" fmla="*/ 150290 h 721392"/>
                  <a:gd name="connsiteX36" fmla="*/ 60089 w 270502"/>
                  <a:gd name="connsiteY36" fmla="*/ 75145 h 721392"/>
                  <a:gd name="connsiteX37" fmla="*/ 135234 w 270502"/>
                  <a:gd name="connsiteY3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81404 w 270502"/>
                  <a:gd name="connsiteY12" fmla="*/ 691333 h 721392"/>
                  <a:gd name="connsiteX13" fmla="*/ 89097 w 270502"/>
                  <a:gd name="connsiteY13" fmla="*/ 691333 h 721392"/>
                  <a:gd name="connsiteX14" fmla="*/ 96852 w 270502"/>
                  <a:gd name="connsiteY14" fmla="*/ 180349 h 721392"/>
                  <a:gd name="connsiteX15" fmla="*/ 173589 w 270502"/>
                  <a:gd name="connsiteY15" fmla="*/ 180349 h 721392"/>
                  <a:gd name="connsiteX16" fmla="*/ 250238 w 270502"/>
                  <a:gd name="connsiteY16" fmla="*/ 253359 h 721392"/>
                  <a:gd name="connsiteX17" fmla="*/ 270166 w 270502"/>
                  <a:gd name="connsiteY17" fmla="*/ 427937 h 721392"/>
                  <a:gd name="connsiteX18" fmla="*/ 257782 w 270502"/>
                  <a:gd name="connsiteY18" fmla="*/ 467703 h 721392"/>
                  <a:gd name="connsiteX19" fmla="*/ 226913 w 270502"/>
                  <a:gd name="connsiteY19" fmla="*/ 482882 h 721392"/>
                  <a:gd name="connsiteX20" fmla="*/ 210320 w 270502"/>
                  <a:gd name="connsiteY20" fmla="*/ 707475 h 721392"/>
                  <a:gd name="connsiteX21" fmla="*/ 195351 w 270502"/>
                  <a:gd name="connsiteY21" fmla="*/ 721392 h 721392"/>
                  <a:gd name="connsiteX22" fmla="*/ 75119 w 270502"/>
                  <a:gd name="connsiteY22" fmla="*/ 721392 h 721392"/>
                  <a:gd name="connsiteX23" fmla="*/ 60151 w 270502"/>
                  <a:gd name="connsiteY23" fmla="*/ 707475 h 721392"/>
                  <a:gd name="connsiteX24" fmla="*/ 43558 w 270502"/>
                  <a:gd name="connsiteY24" fmla="*/ 482882 h 721392"/>
                  <a:gd name="connsiteX25" fmla="*/ 12689 w 270502"/>
                  <a:gd name="connsiteY25" fmla="*/ 467703 h 721392"/>
                  <a:gd name="connsiteX26" fmla="*/ 335 w 270502"/>
                  <a:gd name="connsiteY26" fmla="*/ 427937 h 721392"/>
                  <a:gd name="connsiteX27" fmla="*/ 20264 w 270502"/>
                  <a:gd name="connsiteY27" fmla="*/ 253359 h 721392"/>
                  <a:gd name="connsiteX28" fmla="*/ 96852 w 270502"/>
                  <a:gd name="connsiteY28" fmla="*/ 180349 h 721392"/>
                  <a:gd name="connsiteX29" fmla="*/ 135235 w 270502"/>
                  <a:gd name="connsiteY29" fmla="*/ 120232 h 721392"/>
                  <a:gd name="connsiteX30" fmla="*/ 135234 w 270502"/>
                  <a:gd name="connsiteY30" fmla="*/ 120232 h 721392"/>
                  <a:gd name="connsiteX31" fmla="*/ 135235 w 270502"/>
                  <a:gd name="connsiteY31" fmla="*/ 120232 h 721392"/>
                  <a:gd name="connsiteX32" fmla="*/ 135234 w 270502"/>
                  <a:gd name="connsiteY32" fmla="*/ 0 h 721392"/>
                  <a:gd name="connsiteX33" fmla="*/ 210379 w 270502"/>
                  <a:gd name="connsiteY33" fmla="*/ 75145 h 721392"/>
                  <a:gd name="connsiteX34" fmla="*/ 135234 w 270502"/>
                  <a:gd name="connsiteY34" fmla="*/ 150290 h 721392"/>
                  <a:gd name="connsiteX35" fmla="*/ 60089 w 270502"/>
                  <a:gd name="connsiteY35" fmla="*/ 75145 h 721392"/>
                  <a:gd name="connsiteX36" fmla="*/ 135234 w 270502"/>
                  <a:gd name="connsiteY36"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181404 w 270502"/>
                  <a:gd name="connsiteY11" fmla="*/ 691333 h 721392"/>
                  <a:gd name="connsiteX12" fmla="*/ 89097 w 270502"/>
                  <a:gd name="connsiteY12" fmla="*/ 691333 h 721392"/>
                  <a:gd name="connsiteX13" fmla="*/ 96852 w 270502"/>
                  <a:gd name="connsiteY13" fmla="*/ 180349 h 721392"/>
                  <a:gd name="connsiteX14" fmla="*/ 173589 w 270502"/>
                  <a:gd name="connsiteY14" fmla="*/ 180349 h 721392"/>
                  <a:gd name="connsiteX15" fmla="*/ 250238 w 270502"/>
                  <a:gd name="connsiteY15" fmla="*/ 253359 h 721392"/>
                  <a:gd name="connsiteX16" fmla="*/ 270166 w 270502"/>
                  <a:gd name="connsiteY16" fmla="*/ 427937 h 721392"/>
                  <a:gd name="connsiteX17" fmla="*/ 257782 w 270502"/>
                  <a:gd name="connsiteY17" fmla="*/ 467703 h 721392"/>
                  <a:gd name="connsiteX18" fmla="*/ 226913 w 270502"/>
                  <a:gd name="connsiteY18" fmla="*/ 482882 h 721392"/>
                  <a:gd name="connsiteX19" fmla="*/ 210320 w 270502"/>
                  <a:gd name="connsiteY19" fmla="*/ 707475 h 721392"/>
                  <a:gd name="connsiteX20" fmla="*/ 195351 w 270502"/>
                  <a:gd name="connsiteY20" fmla="*/ 721392 h 721392"/>
                  <a:gd name="connsiteX21" fmla="*/ 75119 w 270502"/>
                  <a:gd name="connsiteY21" fmla="*/ 721392 h 721392"/>
                  <a:gd name="connsiteX22" fmla="*/ 60151 w 270502"/>
                  <a:gd name="connsiteY22" fmla="*/ 707475 h 721392"/>
                  <a:gd name="connsiteX23" fmla="*/ 43558 w 270502"/>
                  <a:gd name="connsiteY23" fmla="*/ 482882 h 721392"/>
                  <a:gd name="connsiteX24" fmla="*/ 12689 w 270502"/>
                  <a:gd name="connsiteY24" fmla="*/ 467703 h 721392"/>
                  <a:gd name="connsiteX25" fmla="*/ 335 w 270502"/>
                  <a:gd name="connsiteY25" fmla="*/ 427937 h 721392"/>
                  <a:gd name="connsiteX26" fmla="*/ 20264 w 270502"/>
                  <a:gd name="connsiteY26" fmla="*/ 253359 h 721392"/>
                  <a:gd name="connsiteX27" fmla="*/ 96852 w 270502"/>
                  <a:gd name="connsiteY27" fmla="*/ 180349 h 721392"/>
                  <a:gd name="connsiteX28" fmla="*/ 135235 w 270502"/>
                  <a:gd name="connsiteY28" fmla="*/ 120232 h 721392"/>
                  <a:gd name="connsiteX29" fmla="*/ 135234 w 270502"/>
                  <a:gd name="connsiteY29" fmla="*/ 120232 h 721392"/>
                  <a:gd name="connsiteX30" fmla="*/ 135235 w 270502"/>
                  <a:gd name="connsiteY30" fmla="*/ 120232 h 721392"/>
                  <a:gd name="connsiteX31" fmla="*/ 135234 w 270502"/>
                  <a:gd name="connsiteY31" fmla="*/ 0 h 721392"/>
                  <a:gd name="connsiteX32" fmla="*/ 210379 w 270502"/>
                  <a:gd name="connsiteY32" fmla="*/ 75145 h 721392"/>
                  <a:gd name="connsiteX33" fmla="*/ 135234 w 270502"/>
                  <a:gd name="connsiteY33" fmla="*/ 150290 h 721392"/>
                  <a:gd name="connsiteX34" fmla="*/ 60089 w 270502"/>
                  <a:gd name="connsiteY34" fmla="*/ 75145 h 721392"/>
                  <a:gd name="connsiteX35" fmla="*/ 135234 w 270502"/>
                  <a:gd name="connsiteY35"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181404 w 270502"/>
                  <a:gd name="connsiteY10" fmla="*/ 691333 h 721392"/>
                  <a:gd name="connsiteX11" fmla="*/ 89097 w 270502"/>
                  <a:gd name="connsiteY11" fmla="*/ 691333 h 721392"/>
                  <a:gd name="connsiteX12" fmla="*/ 96852 w 270502"/>
                  <a:gd name="connsiteY12" fmla="*/ 180349 h 721392"/>
                  <a:gd name="connsiteX13" fmla="*/ 173589 w 270502"/>
                  <a:gd name="connsiteY13" fmla="*/ 180349 h 721392"/>
                  <a:gd name="connsiteX14" fmla="*/ 250238 w 270502"/>
                  <a:gd name="connsiteY14" fmla="*/ 253359 h 721392"/>
                  <a:gd name="connsiteX15" fmla="*/ 270166 w 270502"/>
                  <a:gd name="connsiteY15" fmla="*/ 427937 h 721392"/>
                  <a:gd name="connsiteX16" fmla="*/ 257782 w 270502"/>
                  <a:gd name="connsiteY16" fmla="*/ 467703 h 721392"/>
                  <a:gd name="connsiteX17" fmla="*/ 226913 w 270502"/>
                  <a:gd name="connsiteY17" fmla="*/ 482882 h 721392"/>
                  <a:gd name="connsiteX18" fmla="*/ 210320 w 270502"/>
                  <a:gd name="connsiteY18" fmla="*/ 707475 h 721392"/>
                  <a:gd name="connsiteX19" fmla="*/ 195351 w 270502"/>
                  <a:gd name="connsiteY19" fmla="*/ 721392 h 721392"/>
                  <a:gd name="connsiteX20" fmla="*/ 75119 w 270502"/>
                  <a:gd name="connsiteY20" fmla="*/ 721392 h 721392"/>
                  <a:gd name="connsiteX21" fmla="*/ 60151 w 270502"/>
                  <a:gd name="connsiteY21" fmla="*/ 707475 h 721392"/>
                  <a:gd name="connsiteX22" fmla="*/ 43558 w 270502"/>
                  <a:gd name="connsiteY22" fmla="*/ 482882 h 721392"/>
                  <a:gd name="connsiteX23" fmla="*/ 12689 w 270502"/>
                  <a:gd name="connsiteY23" fmla="*/ 467703 h 721392"/>
                  <a:gd name="connsiteX24" fmla="*/ 335 w 270502"/>
                  <a:gd name="connsiteY24" fmla="*/ 427937 h 721392"/>
                  <a:gd name="connsiteX25" fmla="*/ 20264 w 270502"/>
                  <a:gd name="connsiteY25" fmla="*/ 253359 h 721392"/>
                  <a:gd name="connsiteX26" fmla="*/ 96852 w 270502"/>
                  <a:gd name="connsiteY26" fmla="*/ 180349 h 721392"/>
                  <a:gd name="connsiteX27" fmla="*/ 135235 w 270502"/>
                  <a:gd name="connsiteY27" fmla="*/ 120232 h 721392"/>
                  <a:gd name="connsiteX28" fmla="*/ 135234 w 270502"/>
                  <a:gd name="connsiteY28" fmla="*/ 120232 h 721392"/>
                  <a:gd name="connsiteX29" fmla="*/ 135235 w 270502"/>
                  <a:gd name="connsiteY29" fmla="*/ 120232 h 721392"/>
                  <a:gd name="connsiteX30" fmla="*/ 135234 w 270502"/>
                  <a:gd name="connsiteY30" fmla="*/ 0 h 721392"/>
                  <a:gd name="connsiteX31" fmla="*/ 210379 w 270502"/>
                  <a:gd name="connsiteY31" fmla="*/ 75145 h 721392"/>
                  <a:gd name="connsiteX32" fmla="*/ 135234 w 270502"/>
                  <a:gd name="connsiteY32" fmla="*/ 150290 h 721392"/>
                  <a:gd name="connsiteX33" fmla="*/ 60089 w 270502"/>
                  <a:gd name="connsiteY33" fmla="*/ 75145 h 721392"/>
                  <a:gd name="connsiteX34" fmla="*/ 135234 w 270502"/>
                  <a:gd name="connsiteY34"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235419 w 270502"/>
                  <a:gd name="connsiteY8" fmla="*/ 447684 h 721392"/>
                  <a:gd name="connsiteX9" fmla="*/ 181404 w 270502"/>
                  <a:gd name="connsiteY9" fmla="*/ 691333 h 721392"/>
                  <a:gd name="connsiteX10" fmla="*/ 89097 w 270502"/>
                  <a:gd name="connsiteY10" fmla="*/ 691333 h 721392"/>
                  <a:gd name="connsiteX11" fmla="*/ 96852 w 270502"/>
                  <a:gd name="connsiteY11" fmla="*/ 180349 h 721392"/>
                  <a:gd name="connsiteX12" fmla="*/ 173589 w 270502"/>
                  <a:gd name="connsiteY12" fmla="*/ 180349 h 721392"/>
                  <a:gd name="connsiteX13" fmla="*/ 250238 w 270502"/>
                  <a:gd name="connsiteY13" fmla="*/ 253359 h 721392"/>
                  <a:gd name="connsiteX14" fmla="*/ 270166 w 270502"/>
                  <a:gd name="connsiteY14" fmla="*/ 427937 h 721392"/>
                  <a:gd name="connsiteX15" fmla="*/ 257782 w 270502"/>
                  <a:gd name="connsiteY15" fmla="*/ 467703 h 721392"/>
                  <a:gd name="connsiteX16" fmla="*/ 226913 w 270502"/>
                  <a:gd name="connsiteY16" fmla="*/ 482882 h 721392"/>
                  <a:gd name="connsiteX17" fmla="*/ 210320 w 270502"/>
                  <a:gd name="connsiteY17" fmla="*/ 707475 h 721392"/>
                  <a:gd name="connsiteX18" fmla="*/ 195351 w 270502"/>
                  <a:gd name="connsiteY18" fmla="*/ 721392 h 721392"/>
                  <a:gd name="connsiteX19" fmla="*/ 75119 w 270502"/>
                  <a:gd name="connsiteY19" fmla="*/ 721392 h 721392"/>
                  <a:gd name="connsiteX20" fmla="*/ 60151 w 270502"/>
                  <a:gd name="connsiteY20" fmla="*/ 707475 h 721392"/>
                  <a:gd name="connsiteX21" fmla="*/ 43558 w 270502"/>
                  <a:gd name="connsiteY21" fmla="*/ 482882 h 721392"/>
                  <a:gd name="connsiteX22" fmla="*/ 12689 w 270502"/>
                  <a:gd name="connsiteY22" fmla="*/ 467703 h 721392"/>
                  <a:gd name="connsiteX23" fmla="*/ 335 w 270502"/>
                  <a:gd name="connsiteY23" fmla="*/ 427937 h 721392"/>
                  <a:gd name="connsiteX24" fmla="*/ 20264 w 270502"/>
                  <a:gd name="connsiteY24" fmla="*/ 253359 h 721392"/>
                  <a:gd name="connsiteX25" fmla="*/ 96852 w 270502"/>
                  <a:gd name="connsiteY25" fmla="*/ 180349 h 721392"/>
                  <a:gd name="connsiteX26" fmla="*/ 135235 w 270502"/>
                  <a:gd name="connsiteY26" fmla="*/ 120232 h 721392"/>
                  <a:gd name="connsiteX27" fmla="*/ 135234 w 270502"/>
                  <a:gd name="connsiteY27" fmla="*/ 120232 h 721392"/>
                  <a:gd name="connsiteX28" fmla="*/ 135235 w 270502"/>
                  <a:gd name="connsiteY28" fmla="*/ 120232 h 721392"/>
                  <a:gd name="connsiteX29" fmla="*/ 135234 w 270502"/>
                  <a:gd name="connsiteY29" fmla="*/ 0 h 721392"/>
                  <a:gd name="connsiteX30" fmla="*/ 210379 w 270502"/>
                  <a:gd name="connsiteY30" fmla="*/ 75145 h 721392"/>
                  <a:gd name="connsiteX31" fmla="*/ 135234 w 270502"/>
                  <a:gd name="connsiteY31" fmla="*/ 150290 h 721392"/>
                  <a:gd name="connsiteX32" fmla="*/ 60089 w 270502"/>
                  <a:gd name="connsiteY32" fmla="*/ 75145 h 721392"/>
                  <a:gd name="connsiteX33" fmla="*/ 135234 w 270502"/>
                  <a:gd name="connsiteY33"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181404 w 270502"/>
                  <a:gd name="connsiteY8" fmla="*/ 691333 h 721392"/>
                  <a:gd name="connsiteX9" fmla="*/ 89097 w 270502"/>
                  <a:gd name="connsiteY9" fmla="*/ 691333 h 721392"/>
                  <a:gd name="connsiteX10" fmla="*/ 96852 w 270502"/>
                  <a:gd name="connsiteY10" fmla="*/ 180349 h 721392"/>
                  <a:gd name="connsiteX11" fmla="*/ 173589 w 270502"/>
                  <a:gd name="connsiteY11" fmla="*/ 180349 h 721392"/>
                  <a:gd name="connsiteX12" fmla="*/ 250238 w 270502"/>
                  <a:gd name="connsiteY12" fmla="*/ 253359 h 721392"/>
                  <a:gd name="connsiteX13" fmla="*/ 270166 w 270502"/>
                  <a:gd name="connsiteY13" fmla="*/ 427937 h 721392"/>
                  <a:gd name="connsiteX14" fmla="*/ 257782 w 270502"/>
                  <a:gd name="connsiteY14" fmla="*/ 467703 h 721392"/>
                  <a:gd name="connsiteX15" fmla="*/ 226913 w 270502"/>
                  <a:gd name="connsiteY15" fmla="*/ 482882 h 721392"/>
                  <a:gd name="connsiteX16" fmla="*/ 210320 w 270502"/>
                  <a:gd name="connsiteY16" fmla="*/ 707475 h 721392"/>
                  <a:gd name="connsiteX17" fmla="*/ 195351 w 270502"/>
                  <a:gd name="connsiteY17" fmla="*/ 721392 h 721392"/>
                  <a:gd name="connsiteX18" fmla="*/ 75119 w 270502"/>
                  <a:gd name="connsiteY18" fmla="*/ 721392 h 721392"/>
                  <a:gd name="connsiteX19" fmla="*/ 60151 w 270502"/>
                  <a:gd name="connsiteY19" fmla="*/ 707475 h 721392"/>
                  <a:gd name="connsiteX20" fmla="*/ 43558 w 270502"/>
                  <a:gd name="connsiteY20" fmla="*/ 482882 h 721392"/>
                  <a:gd name="connsiteX21" fmla="*/ 12689 w 270502"/>
                  <a:gd name="connsiteY21" fmla="*/ 467703 h 721392"/>
                  <a:gd name="connsiteX22" fmla="*/ 335 w 270502"/>
                  <a:gd name="connsiteY22" fmla="*/ 427937 h 721392"/>
                  <a:gd name="connsiteX23" fmla="*/ 20264 w 270502"/>
                  <a:gd name="connsiteY23" fmla="*/ 253359 h 721392"/>
                  <a:gd name="connsiteX24" fmla="*/ 96852 w 270502"/>
                  <a:gd name="connsiteY24" fmla="*/ 180349 h 721392"/>
                  <a:gd name="connsiteX25" fmla="*/ 135235 w 270502"/>
                  <a:gd name="connsiteY25" fmla="*/ 120232 h 721392"/>
                  <a:gd name="connsiteX26" fmla="*/ 135234 w 270502"/>
                  <a:gd name="connsiteY26" fmla="*/ 120232 h 721392"/>
                  <a:gd name="connsiteX27" fmla="*/ 135235 w 270502"/>
                  <a:gd name="connsiteY27" fmla="*/ 120232 h 721392"/>
                  <a:gd name="connsiteX28" fmla="*/ 135234 w 270502"/>
                  <a:gd name="connsiteY28" fmla="*/ 0 h 721392"/>
                  <a:gd name="connsiteX29" fmla="*/ 210379 w 270502"/>
                  <a:gd name="connsiteY29" fmla="*/ 75145 h 721392"/>
                  <a:gd name="connsiteX30" fmla="*/ 135234 w 270502"/>
                  <a:gd name="connsiteY30" fmla="*/ 150290 h 721392"/>
                  <a:gd name="connsiteX31" fmla="*/ 60089 w 270502"/>
                  <a:gd name="connsiteY31" fmla="*/ 75145 h 721392"/>
                  <a:gd name="connsiteX32" fmla="*/ 135234 w 270502"/>
                  <a:gd name="connsiteY32"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181404 w 270502"/>
                  <a:gd name="connsiteY7" fmla="*/ 691333 h 721392"/>
                  <a:gd name="connsiteX8" fmla="*/ 89097 w 270502"/>
                  <a:gd name="connsiteY8" fmla="*/ 691333 h 721392"/>
                  <a:gd name="connsiteX9" fmla="*/ 96852 w 270502"/>
                  <a:gd name="connsiteY9" fmla="*/ 180349 h 721392"/>
                  <a:gd name="connsiteX10" fmla="*/ 173589 w 270502"/>
                  <a:gd name="connsiteY10" fmla="*/ 180349 h 721392"/>
                  <a:gd name="connsiteX11" fmla="*/ 250238 w 270502"/>
                  <a:gd name="connsiteY11" fmla="*/ 253359 h 721392"/>
                  <a:gd name="connsiteX12" fmla="*/ 270166 w 270502"/>
                  <a:gd name="connsiteY12" fmla="*/ 427937 h 721392"/>
                  <a:gd name="connsiteX13" fmla="*/ 257782 w 270502"/>
                  <a:gd name="connsiteY13" fmla="*/ 467703 h 721392"/>
                  <a:gd name="connsiteX14" fmla="*/ 226913 w 270502"/>
                  <a:gd name="connsiteY14" fmla="*/ 482882 h 721392"/>
                  <a:gd name="connsiteX15" fmla="*/ 210320 w 270502"/>
                  <a:gd name="connsiteY15" fmla="*/ 707475 h 721392"/>
                  <a:gd name="connsiteX16" fmla="*/ 195351 w 270502"/>
                  <a:gd name="connsiteY16" fmla="*/ 721392 h 721392"/>
                  <a:gd name="connsiteX17" fmla="*/ 75119 w 270502"/>
                  <a:gd name="connsiteY17" fmla="*/ 721392 h 721392"/>
                  <a:gd name="connsiteX18" fmla="*/ 60151 w 270502"/>
                  <a:gd name="connsiteY18" fmla="*/ 707475 h 721392"/>
                  <a:gd name="connsiteX19" fmla="*/ 43558 w 270502"/>
                  <a:gd name="connsiteY19" fmla="*/ 482882 h 721392"/>
                  <a:gd name="connsiteX20" fmla="*/ 12689 w 270502"/>
                  <a:gd name="connsiteY20" fmla="*/ 467703 h 721392"/>
                  <a:gd name="connsiteX21" fmla="*/ 335 w 270502"/>
                  <a:gd name="connsiteY21" fmla="*/ 427937 h 721392"/>
                  <a:gd name="connsiteX22" fmla="*/ 20264 w 270502"/>
                  <a:gd name="connsiteY22" fmla="*/ 253359 h 721392"/>
                  <a:gd name="connsiteX23" fmla="*/ 96852 w 270502"/>
                  <a:gd name="connsiteY23" fmla="*/ 180349 h 721392"/>
                  <a:gd name="connsiteX24" fmla="*/ 135235 w 270502"/>
                  <a:gd name="connsiteY24" fmla="*/ 120232 h 721392"/>
                  <a:gd name="connsiteX25" fmla="*/ 135234 w 270502"/>
                  <a:gd name="connsiteY25" fmla="*/ 120232 h 721392"/>
                  <a:gd name="connsiteX26" fmla="*/ 135235 w 270502"/>
                  <a:gd name="connsiteY26" fmla="*/ 120232 h 721392"/>
                  <a:gd name="connsiteX27" fmla="*/ 135234 w 270502"/>
                  <a:gd name="connsiteY27" fmla="*/ 0 h 721392"/>
                  <a:gd name="connsiteX28" fmla="*/ 210379 w 270502"/>
                  <a:gd name="connsiteY28" fmla="*/ 75145 h 721392"/>
                  <a:gd name="connsiteX29" fmla="*/ 135234 w 270502"/>
                  <a:gd name="connsiteY29" fmla="*/ 150290 h 721392"/>
                  <a:gd name="connsiteX30" fmla="*/ 60089 w 270502"/>
                  <a:gd name="connsiteY30" fmla="*/ 75145 h 721392"/>
                  <a:gd name="connsiteX31" fmla="*/ 135234 w 270502"/>
                  <a:gd name="connsiteY31"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240348 w 270502"/>
                  <a:gd name="connsiteY5" fmla="*/ 431333 h 721392"/>
                  <a:gd name="connsiteX6" fmla="*/ 181404 w 270502"/>
                  <a:gd name="connsiteY6" fmla="*/ 691333 h 721392"/>
                  <a:gd name="connsiteX7" fmla="*/ 89097 w 270502"/>
                  <a:gd name="connsiteY7" fmla="*/ 691333 h 721392"/>
                  <a:gd name="connsiteX8" fmla="*/ 96852 w 270502"/>
                  <a:gd name="connsiteY8" fmla="*/ 180349 h 721392"/>
                  <a:gd name="connsiteX9" fmla="*/ 173589 w 270502"/>
                  <a:gd name="connsiteY9" fmla="*/ 180349 h 721392"/>
                  <a:gd name="connsiteX10" fmla="*/ 250238 w 270502"/>
                  <a:gd name="connsiteY10" fmla="*/ 253359 h 721392"/>
                  <a:gd name="connsiteX11" fmla="*/ 270166 w 270502"/>
                  <a:gd name="connsiteY11" fmla="*/ 427937 h 721392"/>
                  <a:gd name="connsiteX12" fmla="*/ 257782 w 270502"/>
                  <a:gd name="connsiteY12" fmla="*/ 467703 h 721392"/>
                  <a:gd name="connsiteX13" fmla="*/ 226913 w 270502"/>
                  <a:gd name="connsiteY13" fmla="*/ 482882 h 721392"/>
                  <a:gd name="connsiteX14" fmla="*/ 210320 w 270502"/>
                  <a:gd name="connsiteY14" fmla="*/ 707475 h 721392"/>
                  <a:gd name="connsiteX15" fmla="*/ 195351 w 270502"/>
                  <a:gd name="connsiteY15" fmla="*/ 721392 h 721392"/>
                  <a:gd name="connsiteX16" fmla="*/ 75119 w 270502"/>
                  <a:gd name="connsiteY16" fmla="*/ 721392 h 721392"/>
                  <a:gd name="connsiteX17" fmla="*/ 60151 w 270502"/>
                  <a:gd name="connsiteY17" fmla="*/ 707475 h 721392"/>
                  <a:gd name="connsiteX18" fmla="*/ 43558 w 270502"/>
                  <a:gd name="connsiteY18" fmla="*/ 482882 h 721392"/>
                  <a:gd name="connsiteX19" fmla="*/ 12689 w 270502"/>
                  <a:gd name="connsiteY19" fmla="*/ 467703 h 721392"/>
                  <a:gd name="connsiteX20" fmla="*/ 335 w 270502"/>
                  <a:gd name="connsiteY20" fmla="*/ 427937 h 721392"/>
                  <a:gd name="connsiteX21" fmla="*/ 20264 w 270502"/>
                  <a:gd name="connsiteY21" fmla="*/ 253359 h 721392"/>
                  <a:gd name="connsiteX22" fmla="*/ 96852 w 270502"/>
                  <a:gd name="connsiteY22" fmla="*/ 180349 h 721392"/>
                  <a:gd name="connsiteX23" fmla="*/ 135235 w 270502"/>
                  <a:gd name="connsiteY23" fmla="*/ 120232 h 721392"/>
                  <a:gd name="connsiteX24" fmla="*/ 135234 w 270502"/>
                  <a:gd name="connsiteY24" fmla="*/ 120232 h 721392"/>
                  <a:gd name="connsiteX25" fmla="*/ 135235 w 270502"/>
                  <a:gd name="connsiteY25" fmla="*/ 120232 h 721392"/>
                  <a:gd name="connsiteX26" fmla="*/ 135234 w 270502"/>
                  <a:gd name="connsiteY26" fmla="*/ 0 h 721392"/>
                  <a:gd name="connsiteX27" fmla="*/ 210379 w 270502"/>
                  <a:gd name="connsiteY27" fmla="*/ 75145 h 721392"/>
                  <a:gd name="connsiteX28" fmla="*/ 135234 w 270502"/>
                  <a:gd name="connsiteY28" fmla="*/ 150290 h 721392"/>
                  <a:gd name="connsiteX29" fmla="*/ 60089 w 270502"/>
                  <a:gd name="connsiteY29" fmla="*/ 75145 h 721392"/>
                  <a:gd name="connsiteX30" fmla="*/ 135234 w 270502"/>
                  <a:gd name="connsiteY30"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181404 w 270502"/>
                  <a:gd name="connsiteY5" fmla="*/ 691333 h 721392"/>
                  <a:gd name="connsiteX6" fmla="*/ 89097 w 270502"/>
                  <a:gd name="connsiteY6" fmla="*/ 691333 h 721392"/>
                  <a:gd name="connsiteX7" fmla="*/ 96852 w 270502"/>
                  <a:gd name="connsiteY7" fmla="*/ 180349 h 721392"/>
                  <a:gd name="connsiteX8" fmla="*/ 173589 w 270502"/>
                  <a:gd name="connsiteY8" fmla="*/ 180349 h 721392"/>
                  <a:gd name="connsiteX9" fmla="*/ 250238 w 270502"/>
                  <a:gd name="connsiteY9" fmla="*/ 253359 h 721392"/>
                  <a:gd name="connsiteX10" fmla="*/ 270166 w 270502"/>
                  <a:gd name="connsiteY10" fmla="*/ 427937 h 721392"/>
                  <a:gd name="connsiteX11" fmla="*/ 257782 w 270502"/>
                  <a:gd name="connsiteY11" fmla="*/ 467703 h 721392"/>
                  <a:gd name="connsiteX12" fmla="*/ 226913 w 270502"/>
                  <a:gd name="connsiteY12" fmla="*/ 482882 h 721392"/>
                  <a:gd name="connsiteX13" fmla="*/ 210320 w 270502"/>
                  <a:gd name="connsiteY13" fmla="*/ 707475 h 721392"/>
                  <a:gd name="connsiteX14" fmla="*/ 195351 w 270502"/>
                  <a:gd name="connsiteY14" fmla="*/ 721392 h 721392"/>
                  <a:gd name="connsiteX15" fmla="*/ 75119 w 270502"/>
                  <a:gd name="connsiteY15" fmla="*/ 721392 h 721392"/>
                  <a:gd name="connsiteX16" fmla="*/ 60151 w 270502"/>
                  <a:gd name="connsiteY16" fmla="*/ 707475 h 721392"/>
                  <a:gd name="connsiteX17" fmla="*/ 43558 w 270502"/>
                  <a:gd name="connsiteY17" fmla="*/ 482882 h 721392"/>
                  <a:gd name="connsiteX18" fmla="*/ 12689 w 270502"/>
                  <a:gd name="connsiteY18" fmla="*/ 467703 h 721392"/>
                  <a:gd name="connsiteX19" fmla="*/ 335 w 270502"/>
                  <a:gd name="connsiteY19" fmla="*/ 427937 h 721392"/>
                  <a:gd name="connsiteX20" fmla="*/ 20264 w 270502"/>
                  <a:gd name="connsiteY20" fmla="*/ 253359 h 721392"/>
                  <a:gd name="connsiteX21" fmla="*/ 96852 w 270502"/>
                  <a:gd name="connsiteY21" fmla="*/ 180349 h 721392"/>
                  <a:gd name="connsiteX22" fmla="*/ 135235 w 270502"/>
                  <a:gd name="connsiteY22" fmla="*/ 120232 h 721392"/>
                  <a:gd name="connsiteX23" fmla="*/ 135234 w 270502"/>
                  <a:gd name="connsiteY23" fmla="*/ 120232 h 721392"/>
                  <a:gd name="connsiteX24" fmla="*/ 135235 w 270502"/>
                  <a:gd name="connsiteY24" fmla="*/ 120232 h 721392"/>
                  <a:gd name="connsiteX25" fmla="*/ 135234 w 270502"/>
                  <a:gd name="connsiteY25" fmla="*/ 0 h 721392"/>
                  <a:gd name="connsiteX26" fmla="*/ 210379 w 270502"/>
                  <a:gd name="connsiteY26" fmla="*/ 75145 h 721392"/>
                  <a:gd name="connsiteX27" fmla="*/ 135234 w 270502"/>
                  <a:gd name="connsiteY27" fmla="*/ 150290 h 721392"/>
                  <a:gd name="connsiteX28" fmla="*/ 60089 w 270502"/>
                  <a:gd name="connsiteY28" fmla="*/ 75145 h 721392"/>
                  <a:gd name="connsiteX29" fmla="*/ 135234 w 270502"/>
                  <a:gd name="connsiteY29"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181404 w 270502"/>
                  <a:gd name="connsiteY4" fmla="*/ 691333 h 721392"/>
                  <a:gd name="connsiteX5" fmla="*/ 89097 w 270502"/>
                  <a:gd name="connsiteY5" fmla="*/ 691333 h 721392"/>
                  <a:gd name="connsiteX6" fmla="*/ 96852 w 270502"/>
                  <a:gd name="connsiteY6" fmla="*/ 180349 h 721392"/>
                  <a:gd name="connsiteX7" fmla="*/ 173589 w 270502"/>
                  <a:gd name="connsiteY7" fmla="*/ 180349 h 721392"/>
                  <a:gd name="connsiteX8" fmla="*/ 250238 w 270502"/>
                  <a:gd name="connsiteY8" fmla="*/ 253359 h 721392"/>
                  <a:gd name="connsiteX9" fmla="*/ 270166 w 270502"/>
                  <a:gd name="connsiteY9" fmla="*/ 427937 h 721392"/>
                  <a:gd name="connsiteX10" fmla="*/ 257782 w 270502"/>
                  <a:gd name="connsiteY10" fmla="*/ 467703 h 721392"/>
                  <a:gd name="connsiteX11" fmla="*/ 226913 w 270502"/>
                  <a:gd name="connsiteY11" fmla="*/ 482882 h 721392"/>
                  <a:gd name="connsiteX12" fmla="*/ 210320 w 270502"/>
                  <a:gd name="connsiteY12" fmla="*/ 707475 h 721392"/>
                  <a:gd name="connsiteX13" fmla="*/ 195351 w 270502"/>
                  <a:gd name="connsiteY13" fmla="*/ 721392 h 721392"/>
                  <a:gd name="connsiteX14" fmla="*/ 75119 w 270502"/>
                  <a:gd name="connsiteY14" fmla="*/ 721392 h 721392"/>
                  <a:gd name="connsiteX15" fmla="*/ 60151 w 270502"/>
                  <a:gd name="connsiteY15" fmla="*/ 707475 h 721392"/>
                  <a:gd name="connsiteX16" fmla="*/ 43558 w 270502"/>
                  <a:gd name="connsiteY16" fmla="*/ 482882 h 721392"/>
                  <a:gd name="connsiteX17" fmla="*/ 12689 w 270502"/>
                  <a:gd name="connsiteY17" fmla="*/ 467703 h 721392"/>
                  <a:gd name="connsiteX18" fmla="*/ 335 w 270502"/>
                  <a:gd name="connsiteY18" fmla="*/ 427937 h 721392"/>
                  <a:gd name="connsiteX19" fmla="*/ 20264 w 270502"/>
                  <a:gd name="connsiteY19" fmla="*/ 253359 h 721392"/>
                  <a:gd name="connsiteX20" fmla="*/ 96852 w 270502"/>
                  <a:gd name="connsiteY20" fmla="*/ 180349 h 721392"/>
                  <a:gd name="connsiteX21" fmla="*/ 135235 w 270502"/>
                  <a:gd name="connsiteY21" fmla="*/ 120232 h 721392"/>
                  <a:gd name="connsiteX22" fmla="*/ 135234 w 270502"/>
                  <a:gd name="connsiteY22" fmla="*/ 120232 h 721392"/>
                  <a:gd name="connsiteX23" fmla="*/ 135235 w 270502"/>
                  <a:gd name="connsiteY23" fmla="*/ 120232 h 721392"/>
                  <a:gd name="connsiteX24" fmla="*/ 135234 w 270502"/>
                  <a:gd name="connsiteY24" fmla="*/ 0 h 721392"/>
                  <a:gd name="connsiteX25" fmla="*/ 210379 w 270502"/>
                  <a:gd name="connsiteY25" fmla="*/ 75145 h 721392"/>
                  <a:gd name="connsiteX26" fmla="*/ 135234 w 270502"/>
                  <a:gd name="connsiteY26" fmla="*/ 150290 h 721392"/>
                  <a:gd name="connsiteX27" fmla="*/ 60089 w 270502"/>
                  <a:gd name="connsiteY27" fmla="*/ 75145 h 721392"/>
                  <a:gd name="connsiteX28" fmla="*/ 135234 w 270502"/>
                  <a:gd name="connsiteY2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81404 w 270502"/>
                  <a:gd name="connsiteY3" fmla="*/ 691333 h 721392"/>
                  <a:gd name="connsiteX4" fmla="*/ 89097 w 270502"/>
                  <a:gd name="connsiteY4" fmla="*/ 691333 h 721392"/>
                  <a:gd name="connsiteX5" fmla="*/ 96852 w 270502"/>
                  <a:gd name="connsiteY5" fmla="*/ 180349 h 721392"/>
                  <a:gd name="connsiteX6" fmla="*/ 173589 w 270502"/>
                  <a:gd name="connsiteY6" fmla="*/ 180349 h 721392"/>
                  <a:gd name="connsiteX7" fmla="*/ 250238 w 270502"/>
                  <a:gd name="connsiteY7" fmla="*/ 253359 h 721392"/>
                  <a:gd name="connsiteX8" fmla="*/ 270166 w 270502"/>
                  <a:gd name="connsiteY8" fmla="*/ 427937 h 721392"/>
                  <a:gd name="connsiteX9" fmla="*/ 257782 w 270502"/>
                  <a:gd name="connsiteY9" fmla="*/ 467703 h 721392"/>
                  <a:gd name="connsiteX10" fmla="*/ 226913 w 270502"/>
                  <a:gd name="connsiteY10" fmla="*/ 482882 h 721392"/>
                  <a:gd name="connsiteX11" fmla="*/ 210320 w 270502"/>
                  <a:gd name="connsiteY11" fmla="*/ 707475 h 721392"/>
                  <a:gd name="connsiteX12" fmla="*/ 195351 w 270502"/>
                  <a:gd name="connsiteY12" fmla="*/ 721392 h 721392"/>
                  <a:gd name="connsiteX13" fmla="*/ 75119 w 270502"/>
                  <a:gd name="connsiteY13" fmla="*/ 721392 h 721392"/>
                  <a:gd name="connsiteX14" fmla="*/ 60151 w 270502"/>
                  <a:gd name="connsiteY14" fmla="*/ 707475 h 721392"/>
                  <a:gd name="connsiteX15" fmla="*/ 43558 w 270502"/>
                  <a:gd name="connsiteY15" fmla="*/ 482882 h 721392"/>
                  <a:gd name="connsiteX16" fmla="*/ 12689 w 270502"/>
                  <a:gd name="connsiteY16" fmla="*/ 467703 h 721392"/>
                  <a:gd name="connsiteX17" fmla="*/ 335 w 270502"/>
                  <a:gd name="connsiteY17" fmla="*/ 427937 h 721392"/>
                  <a:gd name="connsiteX18" fmla="*/ 20264 w 270502"/>
                  <a:gd name="connsiteY18" fmla="*/ 253359 h 721392"/>
                  <a:gd name="connsiteX19" fmla="*/ 96852 w 270502"/>
                  <a:gd name="connsiteY19" fmla="*/ 180349 h 721392"/>
                  <a:gd name="connsiteX20" fmla="*/ 135235 w 270502"/>
                  <a:gd name="connsiteY20" fmla="*/ 120232 h 721392"/>
                  <a:gd name="connsiteX21" fmla="*/ 135234 w 270502"/>
                  <a:gd name="connsiteY21" fmla="*/ 120232 h 721392"/>
                  <a:gd name="connsiteX22" fmla="*/ 135235 w 270502"/>
                  <a:gd name="connsiteY22" fmla="*/ 120232 h 721392"/>
                  <a:gd name="connsiteX23" fmla="*/ 135234 w 270502"/>
                  <a:gd name="connsiteY23" fmla="*/ 0 h 721392"/>
                  <a:gd name="connsiteX24" fmla="*/ 210379 w 270502"/>
                  <a:gd name="connsiteY24" fmla="*/ 75145 h 721392"/>
                  <a:gd name="connsiteX25" fmla="*/ 135234 w 270502"/>
                  <a:gd name="connsiteY25" fmla="*/ 150290 h 721392"/>
                  <a:gd name="connsiteX26" fmla="*/ 60089 w 270502"/>
                  <a:gd name="connsiteY26" fmla="*/ 75145 h 721392"/>
                  <a:gd name="connsiteX27" fmla="*/ 135234 w 270502"/>
                  <a:gd name="connsiteY2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89097 w 270502"/>
                  <a:gd name="connsiteY3" fmla="*/ 691333 h 721392"/>
                  <a:gd name="connsiteX4" fmla="*/ 96852 w 270502"/>
                  <a:gd name="connsiteY4" fmla="*/ 180349 h 721392"/>
                  <a:gd name="connsiteX5" fmla="*/ 173589 w 270502"/>
                  <a:gd name="connsiteY5" fmla="*/ 180349 h 721392"/>
                  <a:gd name="connsiteX6" fmla="*/ 250238 w 270502"/>
                  <a:gd name="connsiteY6" fmla="*/ 253359 h 721392"/>
                  <a:gd name="connsiteX7" fmla="*/ 270166 w 270502"/>
                  <a:gd name="connsiteY7" fmla="*/ 427937 h 721392"/>
                  <a:gd name="connsiteX8" fmla="*/ 257782 w 270502"/>
                  <a:gd name="connsiteY8" fmla="*/ 467703 h 721392"/>
                  <a:gd name="connsiteX9" fmla="*/ 226913 w 270502"/>
                  <a:gd name="connsiteY9" fmla="*/ 482882 h 721392"/>
                  <a:gd name="connsiteX10" fmla="*/ 210320 w 270502"/>
                  <a:gd name="connsiteY10" fmla="*/ 707475 h 721392"/>
                  <a:gd name="connsiteX11" fmla="*/ 195351 w 270502"/>
                  <a:gd name="connsiteY11" fmla="*/ 721392 h 721392"/>
                  <a:gd name="connsiteX12" fmla="*/ 75119 w 270502"/>
                  <a:gd name="connsiteY12" fmla="*/ 721392 h 721392"/>
                  <a:gd name="connsiteX13" fmla="*/ 60151 w 270502"/>
                  <a:gd name="connsiteY13" fmla="*/ 707475 h 721392"/>
                  <a:gd name="connsiteX14" fmla="*/ 43558 w 270502"/>
                  <a:gd name="connsiteY14" fmla="*/ 482882 h 721392"/>
                  <a:gd name="connsiteX15" fmla="*/ 12689 w 270502"/>
                  <a:gd name="connsiteY15" fmla="*/ 467703 h 721392"/>
                  <a:gd name="connsiteX16" fmla="*/ 335 w 270502"/>
                  <a:gd name="connsiteY16" fmla="*/ 427937 h 721392"/>
                  <a:gd name="connsiteX17" fmla="*/ 20264 w 270502"/>
                  <a:gd name="connsiteY17" fmla="*/ 253359 h 721392"/>
                  <a:gd name="connsiteX18" fmla="*/ 96852 w 270502"/>
                  <a:gd name="connsiteY18" fmla="*/ 180349 h 721392"/>
                  <a:gd name="connsiteX19" fmla="*/ 135235 w 270502"/>
                  <a:gd name="connsiteY19" fmla="*/ 120232 h 721392"/>
                  <a:gd name="connsiteX20" fmla="*/ 135234 w 270502"/>
                  <a:gd name="connsiteY20" fmla="*/ 120232 h 721392"/>
                  <a:gd name="connsiteX21" fmla="*/ 135235 w 270502"/>
                  <a:gd name="connsiteY21" fmla="*/ 120232 h 721392"/>
                  <a:gd name="connsiteX22" fmla="*/ 135234 w 270502"/>
                  <a:gd name="connsiteY22" fmla="*/ 0 h 721392"/>
                  <a:gd name="connsiteX23" fmla="*/ 210379 w 270502"/>
                  <a:gd name="connsiteY23" fmla="*/ 75145 h 721392"/>
                  <a:gd name="connsiteX24" fmla="*/ 135234 w 270502"/>
                  <a:gd name="connsiteY24" fmla="*/ 150290 h 721392"/>
                  <a:gd name="connsiteX25" fmla="*/ 60089 w 270502"/>
                  <a:gd name="connsiteY25" fmla="*/ 75145 h 721392"/>
                  <a:gd name="connsiteX26" fmla="*/ 135234 w 270502"/>
                  <a:gd name="connsiteY26" fmla="*/ 0 h 721392"/>
                  <a:gd name="connsiteX0" fmla="*/ 89097 w 270502"/>
                  <a:gd name="connsiteY0" fmla="*/ 691333 h 721392"/>
                  <a:gd name="connsiteX1" fmla="*/ 89097 w 270502"/>
                  <a:gd name="connsiteY1" fmla="*/ 691334 h 721392"/>
                  <a:gd name="connsiteX2" fmla="*/ 89097 w 270502"/>
                  <a:gd name="connsiteY2" fmla="*/ 691333 h 721392"/>
                  <a:gd name="connsiteX3" fmla="*/ 96852 w 270502"/>
                  <a:gd name="connsiteY3" fmla="*/ 180349 h 721392"/>
                  <a:gd name="connsiteX4" fmla="*/ 173589 w 270502"/>
                  <a:gd name="connsiteY4" fmla="*/ 180349 h 721392"/>
                  <a:gd name="connsiteX5" fmla="*/ 250238 w 270502"/>
                  <a:gd name="connsiteY5" fmla="*/ 253359 h 721392"/>
                  <a:gd name="connsiteX6" fmla="*/ 270166 w 270502"/>
                  <a:gd name="connsiteY6" fmla="*/ 427937 h 721392"/>
                  <a:gd name="connsiteX7" fmla="*/ 257782 w 270502"/>
                  <a:gd name="connsiteY7" fmla="*/ 467703 h 721392"/>
                  <a:gd name="connsiteX8" fmla="*/ 226913 w 270502"/>
                  <a:gd name="connsiteY8" fmla="*/ 482882 h 721392"/>
                  <a:gd name="connsiteX9" fmla="*/ 210320 w 270502"/>
                  <a:gd name="connsiteY9" fmla="*/ 707475 h 721392"/>
                  <a:gd name="connsiteX10" fmla="*/ 195351 w 270502"/>
                  <a:gd name="connsiteY10" fmla="*/ 721392 h 721392"/>
                  <a:gd name="connsiteX11" fmla="*/ 75119 w 270502"/>
                  <a:gd name="connsiteY11" fmla="*/ 721392 h 721392"/>
                  <a:gd name="connsiteX12" fmla="*/ 60151 w 270502"/>
                  <a:gd name="connsiteY12" fmla="*/ 707475 h 721392"/>
                  <a:gd name="connsiteX13" fmla="*/ 43558 w 270502"/>
                  <a:gd name="connsiteY13" fmla="*/ 482882 h 721392"/>
                  <a:gd name="connsiteX14" fmla="*/ 12689 w 270502"/>
                  <a:gd name="connsiteY14" fmla="*/ 467703 h 721392"/>
                  <a:gd name="connsiteX15" fmla="*/ 335 w 270502"/>
                  <a:gd name="connsiteY15" fmla="*/ 427937 h 721392"/>
                  <a:gd name="connsiteX16" fmla="*/ 20264 w 270502"/>
                  <a:gd name="connsiteY16" fmla="*/ 253359 h 721392"/>
                  <a:gd name="connsiteX17" fmla="*/ 96852 w 270502"/>
                  <a:gd name="connsiteY17" fmla="*/ 180349 h 721392"/>
                  <a:gd name="connsiteX18" fmla="*/ 135235 w 270502"/>
                  <a:gd name="connsiteY18" fmla="*/ 120232 h 721392"/>
                  <a:gd name="connsiteX19" fmla="*/ 135234 w 270502"/>
                  <a:gd name="connsiteY19" fmla="*/ 120232 h 721392"/>
                  <a:gd name="connsiteX20" fmla="*/ 135235 w 270502"/>
                  <a:gd name="connsiteY20" fmla="*/ 120232 h 721392"/>
                  <a:gd name="connsiteX21" fmla="*/ 135234 w 270502"/>
                  <a:gd name="connsiteY21" fmla="*/ 0 h 721392"/>
                  <a:gd name="connsiteX22" fmla="*/ 210379 w 270502"/>
                  <a:gd name="connsiteY22" fmla="*/ 75145 h 721392"/>
                  <a:gd name="connsiteX23" fmla="*/ 135234 w 270502"/>
                  <a:gd name="connsiteY23" fmla="*/ 150290 h 721392"/>
                  <a:gd name="connsiteX24" fmla="*/ 60089 w 270502"/>
                  <a:gd name="connsiteY24" fmla="*/ 75145 h 721392"/>
                  <a:gd name="connsiteX25" fmla="*/ 135234 w 270502"/>
                  <a:gd name="connsiteY25"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5 w 270502"/>
                  <a:gd name="connsiteY15" fmla="*/ 120232 h 721392"/>
                  <a:gd name="connsiteX16" fmla="*/ 135234 w 270502"/>
                  <a:gd name="connsiteY16" fmla="*/ 120232 h 721392"/>
                  <a:gd name="connsiteX17" fmla="*/ 135235 w 270502"/>
                  <a:gd name="connsiteY17" fmla="*/ 120232 h 721392"/>
                  <a:gd name="connsiteX18" fmla="*/ 135234 w 270502"/>
                  <a:gd name="connsiteY18" fmla="*/ 0 h 721392"/>
                  <a:gd name="connsiteX19" fmla="*/ 210379 w 270502"/>
                  <a:gd name="connsiteY19" fmla="*/ 75145 h 721392"/>
                  <a:gd name="connsiteX20" fmla="*/ 135234 w 270502"/>
                  <a:gd name="connsiteY20" fmla="*/ 150290 h 721392"/>
                  <a:gd name="connsiteX21" fmla="*/ 60089 w 270502"/>
                  <a:gd name="connsiteY21" fmla="*/ 75145 h 721392"/>
                  <a:gd name="connsiteX22" fmla="*/ 135234 w 270502"/>
                  <a:gd name="connsiteY22"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4 w 270502"/>
                  <a:gd name="connsiteY15" fmla="*/ 0 h 721392"/>
                  <a:gd name="connsiteX16" fmla="*/ 210379 w 270502"/>
                  <a:gd name="connsiteY16" fmla="*/ 75145 h 721392"/>
                  <a:gd name="connsiteX17" fmla="*/ 135234 w 270502"/>
                  <a:gd name="connsiteY17" fmla="*/ 150290 h 721392"/>
                  <a:gd name="connsiteX18" fmla="*/ 60089 w 270502"/>
                  <a:gd name="connsiteY18" fmla="*/ 75145 h 721392"/>
                  <a:gd name="connsiteX19" fmla="*/ 135234 w 270502"/>
                  <a:gd name="connsiteY19" fmla="*/ 0 h 72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0502" h="721392">
                    <a:moveTo>
                      <a:pt x="96852" y="180349"/>
                    </a:moveTo>
                    <a:lnTo>
                      <a:pt x="173589" y="180349"/>
                    </a:lnTo>
                    <a:cubicBezTo>
                      <a:pt x="212545" y="180349"/>
                      <a:pt x="245518" y="211730"/>
                      <a:pt x="250238" y="253359"/>
                    </a:cubicBezTo>
                    <a:lnTo>
                      <a:pt x="270166" y="427937"/>
                    </a:lnTo>
                    <a:cubicBezTo>
                      <a:pt x="271819" y="442545"/>
                      <a:pt x="267341" y="457033"/>
                      <a:pt x="257782" y="467703"/>
                    </a:cubicBezTo>
                    <a:cubicBezTo>
                      <a:pt x="249576" y="476901"/>
                      <a:pt x="238695" y="482221"/>
                      <a:pt x="226913" y="482882"/>
                    </a:cubicBezTo>
                    <a:lnTo>
                      <a:pt x="210320" y="707475"/>
                    </a:lnTo>
                    <a:cubicBezTo>
                      <a:pt x="209779" y="715320"/>
                      <a:pt x="203227" y="721392"/>
                      <a:pt x="195351" y="721392"/>
                    </a:cubicBezTo>
                    <a:lnTo>
                      <a:pt x="75119" y="721392"/>
                    </a:lnTo>
                    <a:cubicBezTo>
                      <a:pt x="67274" y="721392"/>
                      <a:pt x="60722" y="715320"/>
                      <a:pt x="60151" y="707475"/>
                    </a:cubicBezTo>
                    <a:lnTo>
                      <a:pt x="43558" y="482882"/>
                    </a:lnTo>
                    <a:cubicBezTo>
                      <a:pt x="31746" y="482221"/>
                      <a:pt x="20895" y="476870"/>
                      <a:pt x="12689" y="467703"/>
                    </a:cubicBezTo>
                    <a:cubicBezTo>
                      <a:pt x="3191" y="457062"/>
                      <a:pt x="-1318" y="442545"/>
                      <a:pt x="335" y="427937"/>
                    </a:cubicBezTo>
                    <a:lnTo>
                      <a:pt x="20264" y="253359"/>
                    </a:lnTo>
                    <a:cubicBezTo>
                      <a:pt x="25013" y="211730"/>
                      <a:pt x="57957" y="180349"/>
                      <a:pt x="96852" y="180349"/>
                    </a:cubicBezTo>
                    <a:close/>
                    <a:moveTo>
                      <a:pt x="135234" y="0"/>
                    </a:moveTo>
                    <a:cubicBezTo>
                      <a:pt x="176684" y="0"/>
                      <a:pt x="210379" y="33725"/>
                      <a:pt x="210379" y="75145"/>
                    </a:cubicBezTo>
                    <a:cubicBezTo>
                      <a:pt x="210379" y="116565"/>
                      <a:pt x="176655" y="150290"/>
                      <a:pt x="135234" y="150290"/>
                    </a:cubicBezTo>
                    <a:cubicBezTo>
                      <a:pt x="93814" y="150290"/>
                      <a:pt x="60089" y="116565"/>
                      <a:pt x="60089" y="75145"/>
                    </a:cubicBezTo>
                    <a:cubicBezTo>
                      <a:pt x="60089" y="33725"/>
                      <a:pt x="93814" y="0"/>
                      <a:pt x="135234" y="0"/>
                    </a:cubicBezTo>
                    <a:close/>
                  </a:path>
                </a:pathLst>
              </a:cu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3" name="Freeform 10">
                <a:extLst>
                  <a:ext uri="{FF2B5EF4-FFF2-40B4-BE49-F238E27FC236}">
                    <a16:creationId xmlns:a16="http://schemas.microsoft.com/office/drawing/2014/main" id="{2B2179AE-2C54-2265-DCCF-8577F907BD31}"/>
                  </a:ext>
                </a:extLst>
              </p:cNvPr>
              <p:cNvSpPr/>
              <p:nvPr/>
            </p:nvSpPr>
            <p:spPr>
              <a:xfrm>
                <a:off x="8749857" y="455490"/>
                <a:ext cx="254484" cy="678673"/>
              </a:xfrm>
              <a:custGeom>
                <a:avLst/>
                <a:gdLst>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4 w 270502"/>
                  <a:gd name="connsiteY39" fmla="*/ 30058 h 721392"/>
                  <a:gd name="connsiteX40" fmla="*/ 90148 w 270502"/>
                  <a:gd name="connsiteY40" fmla="*/ 75145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90149 w 270502"/>
                  <a:gd name="connsiteY44" fmla="*/ 75145 h 721392"/>
                  <a:gd name="connsiteX45" fmla="*/ 103382 w 270502"/>
                  <a:gd name="connsiteY45" fmla="*/ 43280 h 721392"/>
                  <a:gd name="connsiteX46" fmla="*/ 135235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90149 w 270502"/>
                  <a:gd name="connsiteY45" fmla="*/ 75145 h 721392"/>
                  <a:gd name="connsiteX46" fmla="*/ 135235 w 270502"/>
                  <a:gd name="connsiteY46" fmla="*/ 30058 h 721392"/>
                  <a:gd name="connsiteX47" fmla="*/ 135234 w 270502"/>
                  <a:gd name="connsiteY47" fmla="*/ 30058 h 721392"/>
                  <a:gd name="connsiteX48" fmla="*/ 135234 w 270502"/>
                  <a:gd name="connsiteY48" fmla="*/ 0 h 721392"/>
                  <a:gd name="connsiteX49" fmla="*/ 210379 w 270502"/>
                  <a:gd name="connsiteY49" fmla="*/ 75145 h 721392"/>
                  <a:gd name="connsiteX50" fmla="*/ 135234 w 270502"/>
                  <a:gd name="connsiteY50" fmla="*/ 150290 h 721392"/>
                  <a:gd name="connsiteX51" fmla="*/ 60089 w 270502"/>
                  <a:gd name="connsiteY51" fmla="*/ 75145 h 721392"/>
                  <a:gd name="connsiteX52" fmla="*/ 135234 w 270502"/>
                  <a:gd name="connsiteY52"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0 h 721392"/>
                  <a:gd name="connsiteX47" fmla="*/ 210379 w 270502"/>
                  <a:gd name="connsiteY47" fmla="*/ 75145 h 721392"/>
                  <a:gd name="connsiteX48" fmla="*/ 135234 w 270502"/>
                  <a:gd name="connsiteY48" fmla="*/ 150290 h 721392"/>
                  <a:gd name="connsiteX49" fmla="*/ 60089 w 270502"/>
                  <a:gd name="connsiteY49" fmla="*/ 75145 h 721392"/>
                  <a:gd name="connsiteX50" fmla="*/ 135234 w 270502"/>
                  <a:gd name="connsiteY50"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5 w 270502"/>
                  <a:gd name="connsiteY44" fmla="*/ 30058 h 721392"/>
                  <a:gd name="connsiteX45" fmla="*/ 135234 w 270502"/>
                  <a:gd name="connsiteY45" fmla="*/ 0 h 721392"/>
                  <a:gd name="connsiteX46" fmla="*/ 210379 w 270502"/>
                  <a:gd name="connsiteY46" fmla="*/ 75145 h 721392"/>
                  <a:gd name="connsiteX47" fmla="*/ 135234 w 270502"/>
                  <a:gd name="connsiteY47" fmla="*/ 150290 h 721392"/>
                  <a:gd name="connsiteX48" fmla="*/ 60089 w 270502"/>
                  <a:gd name="connsiteY48" fmla="*/ 75145 h 721392"/>
                  <a:gd name="connsiteX49" fmla="*/ 135234 w 270502"/>
                  <a:gd name="connsiteY49"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03371 w 270502"/>
                  <a:gd name="connsiteY40" fmla="*/ 107010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4 w 270502"/>
                  <a:gd name="connsiteY44" fmla="*/ 0 h 721392"/>
                  <a:gd name="connsiteX45" fmla="*/ 210379 w 270502"/>
                  <a:gd name="connsiteY45" fmla="*/ 75145 h 721392"/>
                  <a:gd name="connsiteX46" fmla="*/ 135234 w 270502"/>
                  <a:gd name="connsiteY46" fmla="*/ 150290 h 721392"/>
                  <a:gd name="connsiteX47" fmla="*/ 60089 w 270502"/>
                  <a:gd name="connsiteY47" fmla="*/ 75145 h 721392"/>
                  <a:gd name="connsiteX48" fmla="*/ 135234 w 270502"/>
                  <a:gd name="connsiteY48"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120232 h 721392"/>
                  <a:gd name="connsiteX41" fmla="*/ 135234 w 270502"/>
                  <a:gd name="connsiteY41" fmla="*/ 120232 h 721392"/>
                  <a:gd name="connsiteX42" fmla="*/ 135235 w 270502"/>
                  <a:gd name="connsiteY42" fmla="*/ 120232 h 721392"/>
                  <a:gd name="connsiteX43" fmla="*/ 135234 w 270502"/>
                  <a:gd name="connsiteY43" fmla="*/ 0 h 721392"/>
                  <a:gd name="connsiteX44" fmla="*/ 210379 w 270502"/>
                  <a:gd name="connsiteY44" fmla="*/ 75145 h 721392"/>
                  <a:gd name="connsiteX45" fmla="*/ 135234 w 270502"/>
                  <a:gd name="connsiteY45" fmla="*/ 150290 h 721392"/>
                  <a:gd name="connsiteX46" fmla="*/ 60089 w 270502"/>
                  <a:gd name="connsiteY46" fmla="*/ 75145 h 721392"/>
                  <a:gd name="connsiteX47" fmla="*/ 135234 w 270502"/>
                  <a:gd name="connsiteY47" fmla="*/ 0 h 721392"/>
                  <a:gd name="connsiteX0" fmla="*/ 35142 w 270502"/>
                  <a:gd name="connsiteY0" fmla="*/ 447684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5 w 270502"/>
                  <a:gd name="connsiteY39" fmla="*/ 120232 h 721392"/>
                  <a:gd name="connsiteX40" fmla="*/ 135234 w 270502"/>
                  <a:gd name="connsiteY40" fmla="*/ 120232 h 721392"/>
                  <a:gd name="connsiteX41" fmla="*/ 135235 w 270502"/>
                  <a:gd name="connsiteY41" fmla="*/ 120232 h 721392"/>
                  <a:gd name="connsiteX42" fmla="*/ 135234 w 270502"/>
                  <a:gd name="connsiteY42" fmla="*/ 0 h 721392"/>
                  <a:gd name="connsiteX43" fmla="*/ 210379 w 270502"/>
                  <a:gd name="connsiteY43" fmla="*/ 75145 h 721392"/>
                  <a:gd name="connsiteX44" fmla="*/ 135234 w 270502"/>
                  <a:gd name="connsiteY44" fmla="*/ 150290 h 721392"/>
                  <a:gd name="connsiteX45" fmla="*/ 60089 w 270502"/>
                  <a:gd name="connsiteY45" fmla="*/ 75145 h 721392"/>
                  <a:gd name="connsiteX46" fmla="*/ 135234 w 270502"/>
                  <a:gd name="connsiteY46" fmla="*/ 0 h 721392"/>
                  <a:gd name="connsiteX0" fmla="*/ 35142 w 270502"/>
                  <a:gd name="connsiteY0" fmla="*/ 447684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35142 w 270502"/>
                  <a:gd name="connsiteY22" fmla="*/ 447684 h 721392"/>
                  <a:gd name="connsiteX23" fmla="*/ 96852 w 270502"/>
                  <a:gd name="connsiteY23" fmla="*/ 180349 h 721392"/>
                  <a:gd name="connsiteX24" fmla="*/ 173589 w 270502"/>
                  <a:gd name="connsiteY24" fmla="*/ 180349 h 721392"/>
                  <a:gd name="connsiteX25" fmla="*/ 250238 w 270502"/>
                  <a:gd name="connsiteY25" fmla="*/ 253359 h 721392"/>
                  <a:gd name="connsiteX26" fmla="*/ 270166 w 270502"/>
                  <a:gd name="connsiteY26" fmla="*/ 427937 h 721392"/>
                  <a:gd name="connsiteX27" fmla="*/ 257782 w 270502"/>
                  <a:gd name="connsiteY27" fmla="*/ 467703 h 721392"/>
                  <a:gd name="connsiteX28" fmla="*/ 226913 w 270502"/>
                  <a:gd name="connsiteY28" fmla="*/ 482882 h 721392"/>
                  <a:gd name="connsiteX29" fmla="*/ 210320 w 270502"/>
                  <a:gd name="connsiteY29" fmla="*/ 707475 h 721392"/>
                  <a:gd name="connsiteX30" fmla="*/ 195351 w 270502"/>
                  <a:gd name="connsiteY30" fmla="*/ 721392 h 721392"/>
                  <a:gd name="connsiteX31" fmla="*/ 75119 w 270502"/>
                  <a:gd name="connsiteY31" fmla="*/ 721392 h 721392"/>
                  <a:gd name="connsiteX32" fmla="*/ 60151 w 270502"/>
                  <a:gd name="connsiteY32" fmla="*/ 707475 h 721392"/>
                  <a:gd name="connsiteX33" fmla="*/ 43558 w 270502"/>
                  <a:gd name="connsiteY33" fmla="*/ 482882 h 721392"/>
                  <a:gd name="connsiteX34" fmla="*/ 12689 w 270502"/>
                  <a:gd name="connsiteY34" fmla="*/ 467703 h 721392"/>
                  <a:gd name="connsiteX35" fmla="*/ 335 w 270502"/>
                  <a:gd name="connsiteY35" fmla="*/ 427937 h 721392"/>
                  <a:gd name="connsiteX36" fmla="*/ 20264 w 270502"/>
                  <a:gd name="connsiteY36" fmla="*/ 253359 h 721392"/>
                  <a:gd name="connsiteX37" fmla="*/ 96852 w 270502"/>
                  <a:gd name="connsiteY37" fmla="*/ 180349 h 721392"/>
                  <a:gd name="connsiteX38" fmla="*/ 135235 w 270502"/>
                  <a:gd name="connsiteY38" fmla="*/ 120232 h 721392"/>
                  <a:gd name="connsiteX39" fmla="*/ 135234 w 270502"/>
                  <a:gd name="connsiteY39" fmla="*/ 120232 h 721392"/>
                  <a:gd name="connsiteX40" fmla="*/ 135235 w 270502"/>
                  <a:gd name="connsiteY40" fmla="*/ 120232 h 721392"/>
                  <a:gd name="connsiteX41" fmla="*/ 135234 w 270502"/>
                  <a:gd name="connsiteY41" fmla="*/ 0 h 721392"/>
                  <a:gd name="connsiteX42" fmla="*/ 210379 w 270502"/>
                  <a:gd name="connsiteY42" fmla="*/ 75145 h 721392"/>
                  <a:gd name="connsiteX43" fmla="*/ 135234 w 270502"/>
                  <a:gd name="connsiteY43" fmla="*/ 150290 h 721392"/>
                  <a:gd name="connsiteX44" fmla="*/ 60089 w 270502"/>
                  <a:gd name="connsiteY44" fmla="*/ 75145 h 721392"/>
                  <a:gd name="connsiteX45" fmla="*/ 135234 w 270502"/>
                  <a:gd name="connsiteY45" fmla="*/ 0 h 721392"/>
                  <a:gd name="connsiteX0" fmla="*/ 46144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96852 w 270502"/>
                  <a:gd name="connsiteY22" fmla="*/ 180349 h 721392"/>
                  <a:gd name="connsiteX23" fmla="*/ 173589 w 270502"/>
                  <a:gd name="connsiteY23" fmla="*/ 180349 h 721392"/>
                  <a:gd name="connsiteX24" fmla="*/ 250238 w 270502"/>
                  <a:gd name="connsiteY24" fmla="*/ 253359 h 721392"/>
                  <a:gd name="connsiteX25" fmla="*/ 270166 w 270502"/>
                  <a:gd name="connsiteY25" fmla="*/ 427937 h 721392"/>
                  <a:gd name="connsiteX26" fmla="*/ 257782 w 270502"/>
                  <a:gd name="connsiteY26" fmla="*/ 467703 h 721392"/>
                  <a:gd name="connsiteX27" fmla="*/ 226913 w 270502"/>
                  <a:gd name="connsiteY27" fmla="*/ 482882 h 721392"/>
                  <a:gd name="connsiteX28" fmla="*/ 210320 w 270502"/>
                  <a:gd name="connsiteY28" fmla="*/ 707475 h 721392"/>
                  <a:gd name="connsiteX29" fmla="*/ 195351 w 270502"/>
                  <a:gd name="connsiteY29" fmla="*/ 721392 h 721392"/>
                  <a:gd name="connsiteX30" fmla="*/ 75119 w 270502"/>
                  <a:gd name="connsiteY30" fmla="*/ 721392 h 721392"/>
                  <a:gd name="connsiteX31" fmla="*/ 60151 w 270502"/>
                  <a:gd name="connsiteY31" fmla="*/ 707475 h 721392"/>
                  <a:gd name="connsiteX32" fmla="*/ 43558 w 270502"/>
                  <a:gd name="connsiteY32" fmla="*/ 482882 h 721392"/>
                  <a:gd name="connsiteX33" fmla="*/ 12689 w 270502"/>
                  <a:gd name="connsiteY33" fmla="*/ 467703 h 721392"/>
                  <a:gd name="connsiteX34" fmla="*/ 335 w 270502"/>
                  <a:gd name="connsiteY34" fmla="*/ 427937 h 721392"/>
                  <a:gd name="connsiteX35" fmla="*/ 20264 w 270502"/>
                  <a:gd name="connsiteY35" fmla="*/ 253359 h 721392"/>
                  <a:gd name="connsiteX36" fmla="*/ 96852 w 270502"/>
                  <a:gd name="connsiteY36" fmla="*/ 180349 h 721392"/>
                  <a:gd name="connsiteX37" fmla="*/ 135235 w 270502"/>
                  <a:gd name="connsiteY37" fmla="*/ 120232 h 721392"/>
                  <a:gd name="connsiteX38" fmla="*/ 135234 w 270502"/>
                  <a:gd name="connsiteY38" fmla="*/ 120232 h 721392"/>
                  <a:gd name="connsiteX39" fmla="*/ 135235 w 270502"/>
                  <a:gd name="connsiteY39" fmla="*/ 120232 h 721392"/>
                  <a:gd name="connsiteX40" fmla="*/ 135234 w 270502"/>
                  <a:gd name="connsiteY40" fmla="*/ 0 h 721392"/>
                  <a:gd name="connsiteX41" fmla="*/ 210379 w 270502"/>
                  <a:gd name="connsiteY41" fmla="*/ 75145 h 721392"/>
                  <a:gd name="connsiteX42" fmla="*/ 135234 w 270502"/>
                  <a:gd name="connsiteY42" fmla="*/ 150290 h 721392"/>
                  <a:gd name="connsiteX43" fmla="*/ 60089 w 270502"/>
                  <a:gd name="connsiteY43" fmla="*/ 75145 h 721392"/>
                  <a:gd name="connsiteX44" fmla="*/ 135234 w 270502"/>
                  <a:gd name="connsiteY44" fmla="*/ 0 h 721392"/>
                  <a:gd name="connsiteX0" fmla="*/ 57565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96852 w 270502"/>
                  <a:gd name="connsiteY21" fmla="*/ 180349 h 721392"/>
                  <a:gd name="connsiteX22" fmla="*/ 173589 w 270502"/>
                  <a:gd name="connsiteY22" fmla="*/ 180349 h 721392"/>
                  <a:gd name="connsiteX23" fmla="*/ 250238 w 270502"/>
                  <a:gd name="connsiteY23" fmla="*/ 253359 h 721392"/>
                  <a:gd name="connsiteX24" fmla="*/ 270166 w 270502"/>
                  <a:gd name="connsiteY24" fmla="*/ 427937 h 721392"/>
                  <a:gd name="connsiteX25" fmla="*/ 257782 w 270502"/>
                  <a:gd name="connsiteY25" fmla="*/ 467703 h 721392"/>
                  <a:gd name="connsiteX26" fmla="*/ 226913 w 270502"/>
                  <a:gd name="connsiteY26" fmla="*/ 482882 h 721392"/>
                  <a:gd name="connsiteX27" fmla="*/ 210320 w 270502"/>
                  <a:gd name="connsiteY27" fmla="*/ 707475 h 721392"/>
                  <a:gd name="connsiteX28" fmla="*/ 195351 w 270502"/>
                  <a:gd name="connsiteY28" fmla="*/ 721392 h 721392"/>
                  <a:gd name="connsiteX29" fmla="*/ 75119 w 270502"/>
                  <a:gd name="connsiteY29" fmla="*/ 721392 h 721392"/>
                  <a:gd name="connsiteX30" fmla="*/ 60151 w 270502"/>
                  <a:gd name="connsiteY30" fmla="*/ 707475 h 721392"/>
                  <a:gd name="connsiteX31" fmla="*/ 43558 w 270502"/>
                  <a:gd name="connsiteY31" fmla="*/ 482882 h 721392"/>
                  <a:gd name="connsiteX32" fmla="*/ 12689 w 270502"/>
                  <a:gd name="connsiteY32" fmla="*/ 467703 h 721392"/>
                  <a:gd name="connsiteX33" fmla="*/ 335 w 270502"/>
                  <a:gd name="connsiteY33" fmla="*/ 427937 h 721392"/>
                  <a:gd name="connsiteX34" fmla="*/ 20264 w 270502"/>
                  <a:gd name="connsiteY34" fmla="*/ 253359 h 721392"/>
                  <a:gd name="connsiteX35" fmla="*/ 96852 w 270502"/>
                  <a:gd name="connsiteY35" fmla="*/ 180349 h 721392"/>
                  <a:gd name="connsiteX36" fmla="*/ 135235 w 270502"/>
                  <a:gd name="connsiteY36" fmla="*/ 120232 h 721392"/>
                  <a:gd name="connsiteX37" fmla="*/ 135234 w 270502"/>
                  <a:gd name="connsiteY37" fmla="*/ 120232 h 721392"/>
                  <a:gd name="connsiteX38" fmla="*/ 135235 w 270502"/>
                  <a:gd name="connsiteY38" fmla="*/ 120232 h 721392"/>
                  <a:gd name="connsiteX39" fmla="*/ 135234 w 270502"/>
                  <a:gd name="connsiteY39" fmla="*/ 0 h 721392"/>
                  <a:gd name="connsiteX40" fmla="*/ 210379 w 270502"/>
                  <a:gd name="connsiteY40" fmla="*/ 75145 h 721392"/>
                  <a:gd name="connsiteX41" fmla="*/ 135234 w 270502"/>
                  <a:gd name="connsiteY41" fmla="*/ 150290 h 721392"/>
                  <a:gd name="connsiteX42" fmla="*/ 60089 w 270502"/>
                  <a:gd name="connsiteY42" fmla="*/ 75145 h 721392"/>
                  <a:gd name="connsiteX43" fmla="*/ 135234 w 270502"/>
                  <a:gd name="connsiteY43" fmla="*/ 0 h 721392"/>
                  <a:gd name="connsiteX0" fmla="*/ 72565 w 270502"/>
                  <a:gd name="connsiteY0" fmla="*/ 466800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96852 w 270502"/>
                  <a:gd name="connsiteY20" fmla="*/ 180349 h 721392"/>
                  <a:gd name="connsiteX21" fmla="*/ 173589 w 270502"/>
                  <a:gd name="connsiteY21" fmla="*/ 180349 h 721392"/>
                  <a:gd name="connsiteX22" fmla="*/ 250238 w 270502"/>
                  <a:gd name="connsiteY22" fmla="*/ 253359 h 721392"/>
                  <a:gd name="connsiteX23" fmla="*/ 270166 w 270502"/>
                  <a:gd name="connsiteY23" fmla="*/ 427937 h 721392"/>
                  <a:gd name="connsiteX24" fmla="*/ 257782 w 270502"/>
                  <a:gd name="connsiteY24" fmla="*/ 467703 h 721392"/>
                  <a:gd name="connsiteX25" fmla="*/ 226913 w 270502"/>
                  <a:gd name="connsiteY25" fmla="*/ 482882 h 721392"/>
                  <a:gd name="connsiteX26" fmla="*/ 210320 w 270502"/>
                  <a:gd name="connsiteY26" fmla="*/ 707475 h 721392"/>
                  <a:gd name="connsiteX27" fmla="*/ 195351 w 270502"/>
                  <a:gd name="connsiteY27" fmla="*/ 721392 h 721392"/>
                  <a:gd name="connsiteX28" fmla="*/ 75119 w 270502"/>
                  <a:gd name="connsiteY28" fmla="*/ 721392 h 721392"/>
                  <a:gd name="connsiteX29" fmla="*/ 60151 w 270502"/>
                  <a:gd name="connsiteY29" fmla="*/ 707475 h 721392"/>
                  <a:gd name="connsiteX30" fmla="*/ 43558 w 270502"/>
                  <a:gd name="connsiteY30" fmla="*/ 482882 h 721392"/>
                  <a:gd name="connsiteX31" fmla="*/ 12689 w 270502"/>
                  <a:gd name="connsiteY31" fmla="*/ 467703 h 721392"/>
                  <a:gd name="connsiteX32" fmla="*/ 335 w 270502"/>
                  <a:gd name="connsiteY32" fmla="*/ 427937 h 721392"/>
                  <a:gd name="connsiteX33" fmla="*/ 20264 w 270502"/>
                  <a:gd name="connsiteY33" fmla="*/ 253359 h 721392"/>
                  <a:gd name="connsiteX34" fmla="*/ 96852 w 270502"/>
                  <a:gd name="connsiteY34" fmla="*/ 180349 h 721392"/>
                  <a:gd name="connsiteX35" fmla="*/ 135235 w 270502"/>
                  <a:gd name="connsiteY35" fmla="*/ 120232 h 721392"/>
                  <a:gd name="connsiteX36" fmla="*/ 135234 w 270502"/>
                  <a:gd name="connsiteY36" fmla="*/ 120232 h 721392"/>
                  <a:gd name="connsiteX37" fmla="*/ 135235 w 270502"/>
                  <a:gd name="connsiteY37" fmla="*/ 120232 h 721392"/>
                  <a:gd name="connsiteX38" fmla="*/ 135234 w 270502"/>
                  <a:gd name="connsiteY38" fmla="*/ 0 h 721392"/>
                  <a:gd name="connsiteX39" fmla="*/ 210379 w 270502"/>
                  <a:gd name="connsiteY39" fmla="*/ 75145 h 721392"/>
                  <a:gd name="connsiteX40" fmla="*/ 135234 w 270502"/>
                  <a:gd name="connsiteY40" fmla="*/ 150290 h 721392"/>
                  <a:gd name="connsiteX41" fmla="*/ 60089 w 270502"/>
                  <a:gd name="connsiteY41" fmla="*/ 75145 h 721392"/>
                  <a:gd name="connsiteX42" fmla="*/ 135234 w 270502"/>
                  <a:gd name="connsiteY42" fmla="*/ 0 h 721392"/>
                  <a:gd name="connsiteX0" fmla="*/ 72565 w 270502"/>
                  <a:gd name="connsiteY0" fmla="*/ 466800 h 721392"/>
                  <a:gd name="connsiteX1" fmla="*/ 35142 w 270502"/>
                  <a:gd name="connsiteY1" fmla="*/ 447685 h 721392"/>
                  <a:gd name="connsiteX2" fmla="*/ 57565 w 270502"/>
                  <a:gd name="connsiteY2" fmla="*/ 452884 h 721392"/>
                  <a:gd name="connsiteX3" fmla="*/ 72565 w 270502"/>
                  <a:gd name="connsiteY3" fmla="*/ 466801 h 721392"/>
                  <a:gd name="connsiteX4" fmla="*/ 89097 w 270502"/>
                  <a:gd name="connsiteY4" fmla="*/ 691334 h 721392"/>
                  <a:gd name="connsiteX5" fmla="*/ 181404 w 270502"/>
                  <a:gd name="connsiteY5" fmla="*/ 691334 h 721392"/>
                  <a:gd name="connsiteX6" fmla="*/ 197967 w 270502"/>
                  <a:gd name="connsiteY6" fmla="*/ 466801 h 721392"/>
                  <a:gd name="connsiteX7" fmla="*/ 212965 w 270502"/>
                  <a:gd name="connsiteY7" fmla="*/ 452884 h 721392"/>
                  <a:gd name="connsiteX8" fmla="*/ 224418 w 270502"/>
                  <a:gd name="connsiteY8" fmla="*/ 452884 h 721392"/>
                  <a:gd name="connsiteX9" fmla="*/ 235419 w 270502"/>
                  <a:gd name="connsiteY9" fmla="*/ 447685 h 721392"/>
                  <a:gd name="connsiteX10" fmla="*/ 240348 w 270502"/>
                  <a:gd name="connsiteY10" fmla="*/ 431333 h 721392"/>
                  <a:gd name="connsiteX11" fmla="*/ 240348 w 270502"/>
                  <a:gd name="connsiteY11" fmla="*/ 431332 h 721392"/>
                  <a:gd name="connsiteX12" fmla="*/ 235419 w 270502"/>
                  <a:gd name="connsiteY12" fmla="*/ 447684 h 721392"/>
                  <a:gd name="connsiteX13" fmla="*/ 224418 w 270502"/>
                  <a:gd name="connsiteY13" fmla="*/ 452883 h 721392"/>
                  <a:gd name="connsiteX14" fmla="*/ 212965 w 270502"/>
                  <a:gd name="connsiteY14" fmla="*/ 452883 h 721392"/>
                  <a:gd name="connsiteX15" fmla="*/ 197967 w 270502"/>
                  <a:gd name="connsiteY15" fmla="*/ 466800 h 721392"/>
                  <a:gd name="connsiteX16" fmla="*/ 181404 w 270502"/>
                  <a:gd name="connsiteY16" fmla="*/ 691333 h 721392"/>
                  <a:gd name="connsiteX17" fmla="*/ 89097 w 270502"/>
                  <a:gd name="connsiteY17" fmla="*/ 691333 h 721392"/>
                  <a:gd name="connsiteX18" fmla="*/ 72565 w 270502"/>
                  <a:gd name="connsiteY18" fmla="*/ 466800 h 721392"/>
                  <a:gd name="connsiteX19" fmla="*/ 96852 w 270502"/>
                  <a:gd name="connsiteY19" fmla="*/ 180349 h 721392"/>
                  <a:gd name="connsiteX20" fmla="*/ 173589 w 270502"/>
                  <a:gd name="connsiteY20" fmla="*/ 180349 h 721392"/>
                  <a:gd name="connsiteX21" fmla="*/ 250238 w 270502"/>
                  <a:gd name="connsiteY21" fmla="*/ 253359 h 721392"/>
                  <a:gd name="connsiteX22" fmla="*/ 270166 w 270502"/>
                  <a:gd name="connsiteY22" fmla="*/ 427937 h 721392"/>
                  <a:gd name="connsiteX23" fmla="*/ 257782 w 270502"/>
                  <a:gd name="connsiteY23" fmla="*/ 467703 h 721392"/>
                  <a:gd name="connsiteX24" fmla="*/ 226913 w 270502"/>
                  <a:gd name="connsiteY24" fmla="*/ 482882 h 721392"/>
                  <a:gd name="connsiteX25" fmla="*/ 210320 w 270502"/>
                  <a:gd name="connsiteY25" fmla="*/ 707475 h 721392"/>
                  <a:gd name="connsiteX26" fmla="*/ 195351 w 270502"/>
                  <a:gd name="connsiteY26" fmla="*/ 721392 h 721392"/>
                  <a:gd name="connsiteX27" fmla="*/ 75119 w 270502"/>
                  <a:gd name="connsiteY27" fmla="*/ 721392 h 721392"/>
                  <a:gd name="connsiteX28" fmla="*/ 60151 w 270502"/>
                  <a:gd name="connsiteY28" fmla="*/ 707475 h 721392"/>
                  <a:gd name="connsiteX29" fmla="*/ 43558 w 270502"/>
                  <a:gd name="connsiteY29" fmla="*/ 482882 h 721392"/>
                  <a:gd name="connsiteX30" fmla="*/ 12689 w 270502"/>
                  <a:gd name="connsiteY30" fmla="*/ 467703 h 721392"/>
                  <a:gd name="connsiteX31" fmla="*/ 335 w 270502"/>
                  <a:gd name="connsiteY31" fmla="*/ 427937 h 721392"/>
                  <a:gd name="connsiteX32" fmla="*/ 20264 w 270502"/>
                  <a:gd name="connsiteY32" fmla="*/ 253359 h 721392"/>
                  <a:gd name="connsiteX33" fmla="*/ 96852 w 270502"/>
                  <a:gd name="connsiteY33" fmla="*/ 180349 h 721392"/>
                  <a:gd name="connsiteX34" fmla="*/ 135235 w 270502"/>
                  <a:gd name="connsiteY34" fmla="*/ 120232 h 721392"/>
                  <a:gd name="connsiteX35" fmla="*/ 135234 w 270502"/>
                  <a:gd name="connsiteY35" fmla="*/ 120232 h 721392"/>
                  <a:gd name="connsiteX36" fmla="*/ 135235 w 270502"/>
                  <a:gd name="connsiteY36" fmla="*/ 120232 h 721392"/>
                  <a:gd name="connsiteX37" fmla="*/ 135234 w 270502"/>
                  <a:gd name="connsiteY37" fmla="*/ 0 h 721392"/>
                  <a:gd name="connsiteX38" fmla="*/ 210379 w 270502"/>
                  <a:gd name="connsiteY38" fmla="*/ 75145 h 721392"/>
                  <a:gd name="connsiteX39" fmla="*/ 135234 w 270502"/>
                  <a:gd name="connsiteY39" fmla="*/ 150290 h 721392"/>
                  <a:gd name="connsiteX40" fmla="*/ 60089 w 270502"/>
                  <a:gd name="connsiteY40" fmla="*/ 75145 h 721392"/>
                  <a:gd name="connsiteX41" fmla="*/ 135234 w 270502"/>
                  <a:gd name="connsiteY41" fmla="*/ 0 h 721392"/>
                  <a:gd name="connsiteX0" fmla="*/ 72565 w 270502"/>
                  <a:gd name="connsiteY0" fmla="*/ 466800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72565 w 270502"/>
                  <a:gd name="connsiteY17" fmla="*/ 466800 h 721392"/>
                  <a:gd name="connsiteX18" fmla="*/ 96852 w 270502"/>
                  <a:gd name="connsiteY18" fmla="*/ 180349 h 721392"/>
                  <a:gd name="connsiteX19" fmla="*/ 173589 w 270502"/>
                  <a:gd name="connsiteY19" fmla="*/ 180349 h 721392"/>
                  <a:gd name="connsiteX20" fmla="*/ 250238 w 270502"/>
                  <a:gd name="connsiteY20" fmla="*/ 253359 h 721392"/>
                  <a:gd name="connsiteX21" fmla="*/ 270166 w 270502"/>
                  <a:gd name="connsiteY21" fmla="*/ 427937 h 721392"/>
                  <a:gd name="connsiteX22" fmla="*/ 257782 w 270502"/>
                  <a:gd name="connsiteY22" fmla="*/ 467703 h 721392"/>
                  <a:gd name="connsiteX23" fmla="*/ 226913 w 270502"/>
                  <a:gd name="connsiteY23" fmla="*/ 482882 h 721392"/>
                  <a:gd name="connsiteX24" fmla="*/ 210320 w 270502"/>
                  <a:gd name="connsiteY24" fmla="*/ 707475 h 721392"/>
                  <a:gd name="connsiteX25" fmla="*/ 195351 w 270502"/>
                  <a:gd name="connsiteY25" fmla="*/ 721392 h 721392"/>
                  <a:gd name="connsiteX26" fmla="*/ 75119 w 270502"/>
                  <a:gd name="connsiteY26" fmla="*/ 721392 h 721392"/>
                  <a:gd name="connsiteX27" fmla="*/ 60151 w 270502"/>
                  <a:gd name="connsiteY27" fmla="*/ 707475 h 721392"/>
                  <a:gd name="connsiteX28" fmla="*/ 43558 w 270502"/>
                  <a:gd name="connsiteY28" fmla="*/ 482882 h 721392"/>
                  <a:gd name="connsiteX29" fmla="*/ 12689 w 270502"/>
                  <a:gd name="connsiteY29" fmla="*/ 467703 h 721392"/>
                  <a:gd name="connsiteX30" fmla="*/ 335 w 270502"/>
                  <a:gd name="connsiteY30" fmla="*/ 427937 h 721392"/>
                  <a:gd name="connsiteX31" fmla="*/ 20264 w 270502"/>
                  <a:gd name="connsiteY31" fmla="*/ 253359 h 721392"/>
                  <a:gd name="connsiteX32" fmla="*/ 96852 w 270502"/>
                  <a:gd name="connsiteY32" fmla="*/ 180349 h 721392"/>
                  <a:gd name="connsiteX33" fmla="*/ 135235 w 270502"/>
                  <a:gd name="connsiteY33" fmla="*/ 120232 h 721392"/>
                  <a:gd name="connsiteX34" fmla="*/ 135234 w 270502"/>
                  <a:gd name="connsiteY34" fmla="*/ 120232 h 721392"/>
                  <a:gd name="connsiteX35" fmla="*/ 135235 w 270502"/>
                  <a:gd name="connsiteY35" fmla="*/ 120232 h 721392"/>
                  <a:gd name="connsiteX36" fmla="*/ 135234 w 270502"/>
                  <a:gd name="connsiteY36" fmla="*/ 0 h 721392"/>
                  <a:gd name="connsiteX37" fmla="*/ 210379 w 270502"/>
                  <a:gd name="connsiteY37" fmla="*/ 75145 h 721392"/>
                  <a:gd name="connsiteX38" fmla="*/ 135234 w 270502"/>
                  <a:gd name="connsiteY38" fmla="*/ 150290 h 721392"/>
                  <a:gd name="connsiteX39" fmla="*/ 60089 w 270502"/>
                  <a:gd name="connsiteY39" fmla="*/ 75145 h 721392"/>
                  <a:gd name="connsiteX40" fmla="*/ 135234 w 270502"/>
                  <a:gd name="connsiteY40" fmla="*/ 0 h 721392"/>
                  <a:gd name="connsiteX0" fmla="*/ 89097 w 270502"/>
                  <a:gd name="connsiteY0" fmla="*/ 691333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96852 w 270502"/>
                  <a:gd name="connsiteY17" fmla="*/ 180349 h 721392"/>
                  <a:gd name="connsiteX18" fmla="*/ 173589 w 270502"/>
                  <a:gd name="connsiteY18" fmla="*/ 180349 h 721392"/>
                  <a:gd name="connsiteX19" fmla="*/ 250238 w 270502"/>
                  <a:gd name="connsiteY19" fmla="*/ 253359 h 721392"/>
                  <a:gd name="connsiteX20" fmla="*/ 270166 w 270502"/>
                  <a:gd name="connsiteY20" fmla="*/ 427937 h 721392"/>
                  <a:gd name="connsiteX21" fmla="*/ 257782 w 270502"/>
                  <a:gd name="connsiteY21" fmla="*/ 467703 h 721392"/>
                  <a:gd name="connsiteX22" fmla="*/ 226913 w 270502"/>
                  <a:gd name="connsiteY22" fmla="*/ 482882 h 721392"/>
                  <a:gd name="connsiteX23" fmla="*/ 210320 w 270502"/>
                  <a:gd name="connsiteY23" fmla="*/ 707475 h 721392"/>
                  <a:gd name="connsiteX24" fmla="*/ 195351 w 270502"/>
                  <a:gd name="connsiteY24" fmla="*/ 721392 h 721392"/>
                  <a:gd name="connsiteX25" fmla="*/ 75119 w 270502"/>
                  <a:gd name="connsiteY25" fmla="*/ 721392 h 721392"/>
                  <a:gd name="connsiteX26" fmla="*/ 60151 w 270502"/>
                  <a:gd name="connsiteY26" fmla="*/ 707475 h 721392"/>
                  <a:gd name="connsiteX27" fmla="*/ 43558 w 270502"/>
                  <a:gd name="connsiteY27" fmla="*/ 482882 h 721392"/>
                  <a:gd name="connsiteX28" fmla="*/ 12689 w 270502"/>
                  <a:gd name="connsiteY28" fmla="*/ 467703 h 721392"/>
                  <a:gd name="connsiteX29" fmla="*/ 335 w 270502"/>
                  <a:gd name="connsiteY29" fmla="*/ 427937 h 721392"/>
                  <a:gd name="connsiteX30" fmla="*/ 20264 w 270502"/>
                  <a:gd name="connsiteY30" fmla="*/ 253359 h 721392"/>
                  <a:gd name="connsiteX31" fmla="*/ 96852 w 270502"/>
                  <a:gd name="connsiteY31" fmla="*/ 180349 h 721392"/>
                  <a:gd name="connsiteX32" fmla="*/ 135235 w 270502"/>
                  <a:gd name="connsiteY32" fmla="*/ 120232 h 721392"/>
                  <a:gd name="connsiteX33" fmla="*/ 135234 w 270502"/>
                  <a:gd name="connsiteY33" fmla="*/ 120232 h 721392"/>
                  <a:gd name="connsiteX34" fmla="*/ 135235 w 270502"/>
                  <a:gd name="connsiteY34" fmla="*/ 120232 h 721392"/>
                  <a:gd name="connsiteX35" fmla="*/ 135234 w 270502"/>
                  <a:gd name="connsiteY35" fmla="*/ 0 h 721392"/>
                  <a:gd name="connsiteX36" fmla="*/ 210379 w 270502"/>
                  <a:gd name="connsiteY36" fmla="*/ 75145 h 721392"/>
                  <a:gd name="connsiteX37" fmla="*/ 135234 w 270502"/>
                  <a:gd name="connsiteY37" fmla="*/ 150290 h 721392"/>
                  <a:gd name="connsiteX38" fmla="*/ 60089 w 270502"/>
                  <a:gd name="connsiteY38" fmla="*/ 75145 h 721392"/>
                  <a:gd name="connsiteX39" fmla="*/ 135234 w 270502"/>
                  <a:gd name="connsiteY39" fmla="*/ 0 h 721392"/>
                  <a:gd name="connsiteX0" fmla="*/ 89097 w 270502"/>
                  <a:gd name="connsiteY0" fmla="*/ 691333 h 721392"/>
                  <a:gd name="connsiteX1" fmla="*/ 57565 w 270502"/>
                  <a:gd name="connsiteY1" fmla="*/ 452884 h 721392"/>
                  <a:gd name="connsiteX2" fmla="*/ 89097 w 270502"/>
                  <a:gd name="connsiteY2" fmla="*/ 691334 h 721392"/>
                  <a:gd name="connsiteX3" fmla="*/ 181404 w 270502"/>
                  <a:gd name="connsiteY3" fmla="*/ 691334 h 721392"/>
                  <a:gd name="connsiteX4" fmla="*/ 197967 w 270502"/>
                  <a:gd name="connsiteY4" fmla="*/ 466801 h 721392"/>
                  <a:gd name="connsiteX5" fmla="*/ 212965 w 270502"/>
                  <a:gd name="connsiteY5" fmla="*/ 452884 h 721392"/>
                  <a:gd name="connsiteX6" fmla="*/ 224418 w 270502"/>
                  <a:gd name="connsiteY6" fmla="*/ 452884 h 721392"/>
                  <a:gd name="connsiteX7" fmla="*/ 235419 w 270502"/>
                  <a:gd name="connsiteY7" fmla="*/ 447685 h 721392"/>
                  <a:gd name="connsiteX8" fmla="*/ 240348 w 270502"/>
                  <a:gd name="connsiteY8" fmla="*/ 431333 h 721392"/>
                  <a:gd name="connsiteX9" fmla="*/ 240348 w 270502"/>
                  <a:gd name="connsiteY9" fmla="*/ 431332 h 721392"/>
                  <a:gd name="connsiteX10" fmla="*/ 235419 w 270502"/>
                  <a:gd name="connsiteY10" fmla="*/ 447684 h 721392"/>
                  <a:gd name="connsiteX11" fmla="*/ 224418 w 270502"/>
                  <a:gd name="connsiteY11" fmla="*/ 452883 h 721392"/>
                  <a:gd name="connsiteX12" fmla="*/ 212965 w 270502"/>
                  <a:gd name="connsiteY12" fmla="*/ 452883 h 721392"/>
                  <a:gd name="connsiteX13" fmla="*/ 197967 w 270502"/>
                  <a:gd name="connsiteY13" fmla="*/ 466800 h 721392"/>
                  <a:gd name="connsiteX14" fmla="*/ 181404 w 270502"/>
                  <a:gd name="connsiteY14" fmla="*/ 691333 h 721392"/>
                  <a:gd name="connsiteX15" fmla="*/ 89097 w 270502"/>
                  <a:gd name="connsiteY15" fmla="*/ 691333 h 721392"/>
                  <a:gd name="connsiteX16" fmla="*/ 96852 w 270502"/>
                  <a:gd name="connsiteY16" fmla="*/ 180349 h 721392"/>
                  <a:gd name="connsiteX17" fmla="*/ 173589 w 270502"/>
                  <a:gd name="connsiteY17" fmla="*/ 180349 h 721392"/>
                  <a:gd name="connsiteX18" fmla="*/ 250238 w 270502"/>
                  <a:gd name="connsiteY18" fmla="*/ 253359 h 721392"/>
                  <a:gd name="connsiteX19" fmla="*/ 270166 w 270502"/>
                  <a:gd name="connsiteY19" fmla="*/ 427937 h 721392"/>
                  <a:gd name="connsiteX20" fmla="*/ 257782 w 270502"/>
                  <a:gd name="connsiteY20" fmla="*/ 467703 h 721392"/>
                  <a:gd name="connsiteX21" fmla="*/ 226913 w 270502"/>
                  <a:gd name="connsiteY21" fmla="*/ 482882 h 721392"/>
                  <a:gd name="connsiteX22" fmla="*/ 210320 w 270502"/>
                  <a:gd name="connsiteY22" fmla="*/ 707475 h 721392"/>
                  <a:gd name="connsiteX23" fmla="*/ 195351 w 270502"/>
                  <a:gd name="connsiteY23" fmla="*/ 721392 h 721392"/>
                  <a:gd name="connsiteX24" fmla="*/ 75119 w 270502"/>
                  <a:gd name="connsiteY24" fmla="*/ 721392 h 721392"/>
                  <a:gd name="connsiteX25" fmla="*/ 60151 w 270502"/>
                  <a:gd name="connsiteY25" fmla="*/ 707475 h 721392"/>
                  <a:gd name="connsiteX26" fmla="*/ 43558 w 270502"/>
                  <a:gd name="connsiteY26" fmla="*/ 482882 h 721392"/>
                  <a:gd name="connsiteX27" fmla="*/ 12689 w 270502"/>
                  <a:gd name="connsiteY27" fmla="*/ 467703 h 721392"/>
                  <a:gd name="connsiteX28" fmla="*/ 335 w 270502"/>
                  <a:gd name="connsiteY28" fmla="*/ 427937 h 721392"/>
                  <a:gd name="connsiteX29" fmla="*/ 20264 w 270502"/>
                  <a:gd name="connsiteY29" fmla="*/ 253359 h 721392"/>
                  <a:gd name="connsiteX30" fmla="*/ 96852 w 270502"/>
                  <a:gd name="connsiteY30" fmla="*/ 180349 h 721392"/>
                  <a:gd name="connsiteX31" fmla="*/ 135235 w 270502"/>
                  <a:gd name="connsiteY31" fmla="*/ 120232 h 721392"/>
                  <a:gd name="connsiteX32" fmla="*/ 135234 w 270502"/>
                  <a:gd name="connsiteY32" fmla="*/ 120232 h 721392"/>
                  <a:gd name="connsiteX33" fmla="*/ 135235 w 270502"/>
                  <a:gd name="connsiteY33" fmla="*/ 120232 h 721392"/>
                  <a:gd name="connsiteX34" fmla="*/ 135234 w 270502"/>
                  <a:gd name="connsiteY34" fmla="*/ 0 h 721392"/>
                  <a:gd name="connsiteX35" fmla="*/ 210379 w 270502"/>
                  <a:gd name="connsiteY35" fmla="*/ 75145 h 721392"/>
                  <a:gd name="connsiteX36" fmla="*/ 135234 w 270502"/>
                  <a:gd name="connsiteY36" fmla="*/ 150290 h 721392"/>
                  <a:gd name="connsiteX37" fmla="*/ 60089 w 270502"/>
                  <a:gd name="connsiteY37" fmla="*/ 75145 h 721392"/>
                  <a:gd name="connsiteX38" fmla="*/ 135234 w 270502"/>
                  <a:gd name="connsiteY3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97967 w 270502"/>
                  <a:gd name="connsiteY12" fmla="*/ 466800 h 721392"/>
                  <a:gd name="connsiteX13" fmla="*/ 181404 w 270502"/>
                  <a:gd name="connsiteY13" fmla="*/ 691333 h 721392"/>
                  <a:gd name="connsiteX14" fmla="*/ 89097 w 270502"/>
                  <a:gd name="connsiteY14" fmla="*/ 691333 h 721392"/>
                  <a:gd name="connsiteX15" fmla="*/ 96852 w 270502"/>
                  <a:gd name="connsiteY15" fmla="*/ 180349 h 721392"/>
                  <a:gd name="connsiteX16" fmla="*/ 173589 w 270502"/>
                  <a:gd name="connsiteY16" fmla="*/ 180349 h 721392"/>
                  <a:gd name="connsiteX17" fmla="*/ 250238 w 270502"/>
                  <a:gd name="connsiteY17" fmla="*/ 253359 h 721392"/>
                  <a:gd name="connsiteX18" fmla="*/ 270166 w 270502"/>
                  <a:gd name="connsiteY18" fmla="*/ 427937 h 721392"/>
                  <a:gd name="connsiteX19" fmla="*/ 257782 w 270502"/>
                  <a:gd name="connsiteY19" fmla="*/ 467703 h 721392"/>
                  <a:gd name="connsiteX20" fmla="*/ 226913 w 270502"/>
                  <a:gd name="connsiteY20" fmla="*/ 482882 h 721392"/>
                  <a:gd name="connsiteX21" fmla="*/ 210320 w 270502"/>
                  <a:gd name="connsiteY21" fmla="*/ 707475 h 721392"/>
                  <a:gd name="connsiteX22" fmla="*/ 195351 w 270502"/>
                  <a:gd name="connsiteY22" fmla="*/ 721392 h 721392"/>
                  <a:gd name="connsiteX23" fmla="*/ 75119 w 270502"/>
                  <a:gd name="connsiteY23" fmla="*/ 721392 h 721392"/>
                  <a:gd name="connsiteX24" fmla="*/ 60151 w 270502"/>
                  <a:gd name="connsiteY24" fmla="*/ 707475 h 721392"/>
                  <a:gd name="connsiteX25" fmla="*/ 43558 w 270502"/>
                  <a:gd name="connsiteY25" fmla="*/ 482882 h 721392"/>
                  <a:gd name="connsiteX26" fmla="*/ 12689 w 270502"/>
                  <a:gd name="connsiteY26" fmla="*/ 467703 h 721392"/>
                  <a:gd name="connsiteX27" fmla="*/ 335 w 270502"/>
                  <a:gd name="connsiteY27" fmla="*/ 427937 h 721392"/>
                  <a:gd name="connsiteX28" fmla="*/ 20264 w 270502"/>
                  <a:gd name="connsiteY28" fmla="*/ 253359 h 721392"/>
                  <a:gd name="connsiteX29" fmla="*/ 96852 w 270502"/>
                  <a:gd name="connsiteY29" fmla="*/ 180349 h 721392"/>
                  <a:gd name="connsiteX30" fmla="*/ 135235 w 270502"/>
                  <a:gd name="connsiteY30" fmla="*/ 120232 h 721392"/>
                  <a:gd name="connsiteX31" fmla="*/ 135234 w 270502"/>
                  <a:gd name="connsiteY31" fmla="*/ 120232 h 721392"/>
                  <a:gd name="connsiteX32" fmla="*/ 135235 w 270502"/>
                  <a:gd name="connsiteY32" fmla="*/ 120232 h 721392"/>
                  <a:gd name="connsiteX33" fmla="*/ 135234 w 270502"/>
                  <a:gd name="connsiteY33" fmla="*/ 0 h 721392"/>
                  <a:gd name="connsiteX34" fmla="*/ 210379 w 270502"/>
                  <a:gd name="connsiteY34" fmla="*/ 75145 h 721392"/>
                  <a:gd name="connsiteX35" fmla="*/ 135234 w 270502"/>
                  <a:gd name="connsiteY35" fmla="*/ 150290 h 721392"/>
                  <a:gd name="connsiteX36" fmla="*/ 60089 w 270502"/>
                  <a:gd name="connsiteY36" fmla="*/ 75145 h 721392"/>
                  <a:gd name="connsiteX37" fmla="*/ 135234 w 270502"/>
                  <a:gd name="connsiteY3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81404 w 270502"/>
                  <a:gd name="connsiteY12" fmla="*/ 691333 h 721392"/>
                  <a:gd name="connsiteX13" fmla="*/ 89097 w 270502"/>
                  <a:gd name="connsiteY13" fmla="*/ 691333 h 721392"/>
                  <a:gd name="connsiteX14" fmla="*/ 96852 w 270502"/>
                  <a:gd name="connsiteY14" fmla="*/ 180349 h 721392"/>
                  <a:gd name="connsiteX15" fmla="*/ 173589 w 270502"/>
                  <a:gd name="connsiteY15" fmla="*/ 180349 h 721392"/>
                  <a:gd name="connsiteX16" fmla="*/ 250238 w 270502"/>
                  <a:gd name="connsiteY16" fmla="*/ 253359 h 721392"/>
                  <a:gd name="connsiteX17" fmla="*/ 270166 w 270502"/>
                  <a:gd name="connsiteY17" fmla="*/ 427937 h 721392"/>
                  <a:gd name="connsiteX18" fmla="*/ 257782 w 270502"/>
                  <a:gd name="connsiteY18" fmla="*/ 467703 h 721392"/>
                  <a:gd name="connsiteX19" fmla="*/ 226913 w 270502"/>
                  <a:gd name="connsiteY19" fmla="*/ 482882 h 721392"/>
                  <a:gd name="connsiteX20" fmla="*/ 210320 w 270502"/>
                  <a:gd name="connsiteY20" fmla="*/ 707475 h 721392"/>
                  <a:gd name="connsiteX21" fmla="*/ 195351 w 270502"/>
                  <a:gd name="connsiteY21" fmla="*/ 721392 h 721392"/>
                  <a:gd name="connsiteX22" fmla="*/ 75119 w 270502"/>
                  <a:gd name="connsiteY22" fmla="*/ 721392 h 721392"/>
                  <a:gd name="connsiteX23" fmla="*/ 60151 w 270502"/>
                  <a:gd name="connsiteY23" fmla="*/ 707475 h 721392"/>
                  <a:gd name="connsiteX24" fmla="*/ 43558 w 270502"/>
                  <a:gd name="connsiteY24" fmla="*/ 482882 h 721392"/>
                  <a:gd name="connsiteX25" fmla="*/ 12689 w 270502"/>
                  <a:gd name="connsiteY25" fmla="*/ 467703 h 721392"/>
                  <a:gd name="connsiteX26" fmla="*/ 335 w 270502"/>
                  <a:gd name="connsiteY26" fmla="*/ 427937 h 721392"/>
                  <a:gd name="connsiteX27" fmla="*/ 20264 w 270502"/>
                  <a:gd name="connsiteY27" fmla="*/ 253359 h 721392"/>
                  <a:gd name="connsiteX28" fmla="*/ 96852 w 270502"/>
                  <a:gd name="connsiteY28" fmla="*/ 180349 h 721392"/>
                  <a:gd name="connsiteX29" fmla="*/ 135235 w 270502"/>
                  <a:gd name="connsiteY29" fmla="*/ 120232 h 721392"/>
                  <a:gd name="connsiteX30" fmla="*/ 135234 w 270502"/>
                  <a:gd name="connsiteY30" fmla="*/ 120232 h 721392"/>
                  <a:gd name="connsiteX31" fmla="*/ 135235 w 270502"/>
                  <a:gd name="connsiteY31" fmla="*/ 120232 h 721392"/>
                  <a:gd name="connsiteX32" fmla="*/ 135234 w 270502"/>
                  <a:gd name="connsiteY32" fmla="*/ 0 h 721392"/>
                  <a:gd name="connsiteX33" fmla="*/ 210379 w 270502"/>
                  <a:gd name="connsiteY33" fmla="*/ 75145 h 721392"/>
                  <a:gd name="connsiteX34" fmla="*/ 135234 w 270502"/>
                  <a:gd name="connsiteY34" fmla="*/ 150290 h 721392"/>
                  <a:gd name="connsiteX35" fmla="*/ 60089 w 270502"/>
                  <a:gd name="connsiteY35" fmla="*/ 75145 h 721392"/>
                  <a:gd name="connsiteX36" fmla="*/ 135234 w 270502"/>
                  <a:gd name="connsiteY36"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181404 w 270502"/>
                  <a:gd name="connsiteY11" fmla="*/ 691333 h 721392"/>
                  <a:gd name="connsiteX12" fmla="*/ 89097 w 270502"/>
                  <a:gd name="connsiteY12" fmla="*/ 691333 h 721392"/>
                  <a:gd name="connsiteX13" fmla="*/ 96852 w 270502"/>
                  <a:gd name="connsiteY13" fmla="*/ 180349 h 721392"/>
                  <a:gd name="connsiteX14" fmla="*/ 173589 w 270502"/>
                  <a:gd name="connsiteY14" fmla="*/ 180349 h 721392"/>
                  <a:gd name="connsiteX15" fmla="*/ 250238 w 270502"/>
                  <a:gd name="connsiteY15" fmla="*/ 253359 h 721392"/>
                  <a:gd name="connsiteX16" fmla="*/ 270166 w 270502"/>
                  <a:gd name="connsiteY16" fmla="*/ 427937 h 721392"/>
                  <a:gd name="connsiteX17" fmla="*/ 257782 w 270502"/>
                  <a:gd name="connsiteY17" fmla="*/ 467703 h 721392"/>
                  <a:gd name="connsiteX18" fmla="*/ 226913 w 270502"/>
                  <a:gd name="connsiteY18" fmla="*/ 482882 h 721392"/>
                  <a:gd name="connsiteX19" fmla="*/ 210320 w 270502"/>
                  <a:gd name="connsiteY19" fmla="*/ 707475 h 721392"/>
                  <a:gd name="connsiteX20" fmla="*/ 195351 w 270502"/>
                  <a:gd name="connsiteY20" fmla="*/ 721392 h 721392"/>
                  <a:gd name="connsiteX21" fmla="*/ 75119 w 270502"/>
                  <a:gd name="connsiteY21" fmla="*/ 721392 h 721392"/>
                  <a:gd name="connsiteX22" fmla="*/ 60151 w 270502"/>
                  <a:gd name="connsiteY22" fmla="*/ 707475 h 721392"/>
                  <a:gd name="connsiteX23" fmla="*/ 43558 w 270502"/>
                  <a:gd name="connsiteY23" fmla="*/ 482882 h 721392"/>
                  <a:gd name="connsiteX24" fmla="*/ 12689 w 270502"/>
                  <a:gd name="connsiteY24" fmla="*/ 467703 h 721392"/>
                  <a:gd name="connsiteX25" fmla="*/ 335 w 270502"/>
                  <a:gd name="connsiteY25" fmla="*/ 427937 h 721392"/>
                  <a:gd name="connsiteX26" fmla="*/ 20264 w 270502"/>
                  <a:gd name="connsiteY26" fmla="*/ 253359 h 721392"/>
                  <a:gd name="connsiteX27" fmla="*/ 96852 w 270502"/>
                  <a:gd name="connsiteY27" fmla="*/ 180349 h 721392"/>
                  <a:gd name="connsiteX28" fmla="*/ 135235 w 270502"/>
                  <a:gd name="connsiteY28" fmla="*/ 120232 h 721392"/>
                  <a:gd name="connsiteX29" fmla="*/ 135234 w 270502"/>
                  <a:gd name="connsiteY29" fmla="*/ 120232 h 721392"/>
                  <a:gd name="connsiteX30" fmla="*/ 135235 w 270502"/>
                  <a:gd name="connsiteY30" fmla="*/ 120232 h 721392"/>
                  <a:gd name="connsiteX31" fmla="*/ 135234 w 270502"/>
                  <a:gd name="connsiteY31" fmla="*/ 0 h 721392"/>
                  <a:gd name="connsiteX32" fmla="*/ 210379 w 270502"/>
                  <a:gd name="connsiteY32" fmla="*/ 75145 h 721392"/>
                  <a:gd name="connsiteX33" fmla="*/ 135234 w 270502"/>
                  <a:gd name="connsiteY33" fmla="*/ 150290 h 721392"/>
                  <a:gd name="connsiteX34" fmla="*/ 60089 w 270502"/>
                  <a:gd name="connsiteY34" fmla="*/ 75145 h 721392"/>
                  <a:gd name="connsiteX35" fmla="*/ 135234 w 270502"/>
                  <a:gd name="connsiteY35"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181404 w 270502"/>
                  <a:gd name="connsiteY10" fmla="*/ 691333 h 721392"/>
                  <a:gd name="connsiteX11" fmla="*/ 89097 w 270502"/>
                  <a:gd name="connsiteY11" fmla="*/ 691333 h 721392"/>
                  <a:gd name="connsiteX12" fmla="*/ 96852 w 270502"/>
                  <a:gd name="connsiteY12" fmla="*/ 180349 h 721392"/>
                  <a:gd name="connsiteX13" fmla="*/ 173589 w 270502"/>
                  <a:gd name="connsiteY13" fmla="*/ 180349 h 721392"/>
                  <a:gd name="connsiteX14" fmla="*/ 250238 w 270502"/>
                  <a:gd name="connsiteY14" fmla="*/ 253359 h 721392"/>
                  <a:gd name="connsiteX15" fmla="*/ 270166 w 270502"/>
                  <a:gd name="connsiteY15" fmla="*/ 427937 h 721392"/>
                  <a:gd name="connsiteX16" fmla="*/ 257782 w 270502"/>
                  <a:gd name="connsiteY16" fmla="*/ 467703 h 721392"/>
                  <a:gd name="connsiteX17" fmla="*/ 226913 w 270502"/>
                  <a:gd name="connsiteY17" fmla="*/ 482882 h 721392"/>
                  <a:gd name="connsiteX18" fmla="*/ 210320 w 270502"/>
                  <a:gd name="connsiteY18" fmla="*/ 707475 h 721392"/>
                  <a:gd name="connsiteX19" fmla="*/ 195351 w 270502"/>
                  <a:gd name="connsiteY19" fmla="*/ 721392 h 721392"/>
                  <a:gd name="connsiteX20" fmla="*/ 75119 w 270502"/>
                  <a:gd name="connsiteY20" fmla="*/ 721392 h 721392"/>
                  <a:gd name="connsiteX21" fmla="*/ 60151 w 270502"/>
                  <a:gd name="connsiteY21" fmla="*/ 707475 h 721392"/>
                  <a:gd name="connsiteX22" fmla="*/ 43558 w 270502"/>
                  <a:gd name="connsiteY22" fmla="*/ 482882 h 721392"/>
                  <a:gd name="connsiteX23" fmla="*/ 12689 w 270502"/>
                  <a:gd name="connsiteY23" fmla="*/ 467703 h 721392"/>
                  <a:gd name="connsiteX24" fmla="*/ 335 w 270502"/>
                  <a:gd name="connsiteY24" fmla="*/ 427937 h 721392"/>
                  <a:gd name="connsiteX25" fmla="*/ 20264 w 270502"/>
                  <a:gd name="connsiteY25" fmla="*/ 253359 h 721392"/>
                  <a:gd name="connsiteX26" fmla="*/ 96852 w 270502"/>
                  <a:gd name="connsiteY26" fmla="*/ 180349 h 721392"/>
                  <a:gd name="connsiteX27" fmla="*/ 135235 w 270502"/>
                  <a:gd name="connsiteY27" fmla="*/ 120232 h 721392"/>
                  <a:gd name="connsiteX28" fmla="*/ 135234 w 270502"/>
                  <a:gd name="connsiteY28" fmla="*/ 120232 h 721392"/>
                  <a:gd name="connsiteX29" fmla="*/ 135235 w 270502"/>
                  <a:gd name="connsiteY29" fmla="*/ 120232 h 721392"/>
                  <a:gd name="connsiteX30" fmla="*/ 135234 w 270502"/>
                  <a:gd name="connsiteY30" fmla="*/ 0 h 721392"/>
                  <a:gd name="connsiteX31" fmla="*/ 210379 w 270502"/>
                  <a:gd name="connsiteY31" fmla="*/ 75145 h 721392"/>
                  <a:gd name="connsiteX32" fmla="*/ 135234 w 270502"/>
                  <a:gd name="connsiteY32" fmla="*/ 150290 h 721392"/>
                  <a:gd name="connsiteX33" fmla="*/ 60089 w 270502"/>
                  <a:gd name="connsiteY33" fmla="*/ 75145 h 721392"/>
                  <a:gd name="connsiteX34" fmla="*/ 135234 w 270502"/>
                  <a:gd name="connsiteY34"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235419 w 270502"/>
                  <a:gd name="connsiteY8" fmla="*/ 447684 h 721392"/>
                  <a:gd name="connsiteX9" fmla="*/ 181404 w 270502"/>
                  <a:gd name="connsiteY9" fmla="*/ 691333 h 721392"/>
                  <a:gd name="connsiteX10" fmla="*/ 89097 w 270502"/>
                  <a:gd name="connsiteY10" fmla="*/ 691333 h 721392"/>
                  <a:gd name="connsiteX11" fmla="*/ 96852 w 270502"/>
                  <a:gd name="connsiteY11" fmla="*/ 180349 h 721392"/>
                  <a:gd name="connsiteX12" fmla="*/ 173589 w 270502"/>
                  <a:gd name="connsiteY12" fmla="*/ 180349 h 721392"/>
                  <a:gd name="connsiteX13" fmla="*/ 250238 w 270502"/>
                  <a:gd name="connsiteY13" fmla="*/ 253359 h 721392"/>
                  <a:gd name="connsiteX14" fmla="*/ 270166 w 270502"/>
                  <a:gd name="connsiteY14" fmla="*/ 427937 h 721392"/>
                  <a:gd name="connsiteX15" fmla="*/ 257782 w 270502"/>
                  <a:gd name="connsiteY15" fmla="*/ 467703 h 721392"/>
                  <a:gd name="connsiteX16" fmla="*/ 226913 w 270502"/>
                  <a:gd name="connsiteY16" fmla="*/ 482882 h 721392"/>
                  <a:gd name="connsiteX17" fmla="*/ 210320 w 270502"/>
                  <a:gd name="connsiteY17" fmla="*/ 707475 h 721392"/>
                  <a:gd name="connsiteX18" fmla="*/ 195351 w 270502"/>
                  <a:gd name="connsiteY18" fmla="*/ 721392 h 721392"/>
                  <a:gd name="connsiteX19" fmla="*/ 75119 w 270502"/>
                  <a:gd name="connsiteY19" fmla="*/ 721392 h 721392"/>
                  <a:gd name="connsiteX20" fmla="*/ 60151 w 270502"/>
                  <a:gd name="connsiteY20" fmla="*/ 707475 h 721392"/>
                  <a:gd name="connsiteX21" fmla="*/ 43558 w 270502"/>
                  <a:gd name="connsiteY21" fmla="*/ 482882 h 721392"/>
                  <a:gd name="connsiteX22" fmla="*/ 12689 w 270502"/>
                  <a:gd name="connsiteY22" fmla="*/ 467703 h 721392"/>
                  <a:gd name="connsiteX23" fmla="*/ 335 w 270502"/>
                  <a:gd name="connsiteY23" fmla="*/ 427937 h 721392"/>
                  <a:gd name="connsiteX24" fmla="*/ 20264 w 270502"/>
                  <a:gd name="connsiteY24" fmla="*/ 253359 h 721392"/>
                  <a:gd name="connsiteX25" fmla="*/ 96852 w 270502"/>
                  <a:gd name="connsiteY25" fmla="*/ 180349 h 721392"/>
                  <a:gd name="connsiteX26" fmla="*/ 135235 w 270502"/>
                  <a:gd name="connsiteY26" fmla="*/ 120232 h 721392"/>
                  <a:gd name="connsiteX27" fmla="*/ 135234 w 270502"/>
                  <a:gd name="connsiteY27" fmla="*/ 120232 h 721392"/>
                  <a:gd name="connsiteX28" fmla="*/ 135235 w 270502"/>
                  <a:gd name="connsiteY28" fmla="*/ 120232 h 721392"/>
                  <a:gd name="connsiteX29" fmla="*/ 135234 w 270502"/>
                  <a:gd name="connsiteY29" fmla="*/ 0 h 721392"/>
                  <a:gd name="connsiteX30" fmla="*/ 210379 w 270502"/>
                  <a:gd name="connsiteY30" fmla="*/ 75145 h 721392"/>
                  <a:gd name="connsiteX31" fmla="*/ 135234 w 270502"/>
                  <a:gd name="connsiteY31" fmla="*/ 150290 h 721392"/>
                  <a:gd name="connsiteX32" fmla="*/ 60089 w 270502"/>
                  <a:gd name="connsiteY32" fmla="*/ 75145 h 721392"/>
                  <a:gd name="connsiteX33" fmla="*/ 135234 w 270502"/>
                  <a:gd name="connsiteY33"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181404 w 270502"/>
                  <a:gd name="connsiteY8" fmla="*/ 691333 h 721392"/>
                  <a:gd name="connsiteX9" fmla="*/ 89097 w 270502"/>
                  <a:gd name="connsiteY9" fmla="*/ 691333 h 721392"/>
                  <a:gd name="connsiteX10" fmla="*/ 96852 w 270502"/>
                  <a:gd name="connsiteY10" fmla="*/ 180349 h 721392"/>
                  <a:gd name="connsiteX11" fmla="*/ 173589 w 270502"/>
                  <a:gd name="connsiteY11" fmla="*/ 180349 h 721392"/>
                  <a:gd name="connsiteX12" fmla="*/ 250238 w 270502"/>
                  <a:gd name="connsiteY12" fmla="*/ 253359 h 721392"/>
                  <a:gd name="connsiteX13" fmla="*/ 270166 w 270502"/>
                  <a:gd name="connsiteY13" fmla="*/ 427937 h 721392"/>
                  <a:gd name="connsiteX14" fmla="*/ 257782 w 270502"/>
                  <a:gd name="connsiteY14" fmla="*/ 467703 h 721392"/>
                  <a:gd name="connsiteX15" fmla="*/ 226913 w 270502"/>
                  <a:gd name="connsiteY15" fmla="*/ 482882 h 721392"/>
                  <a:gd name="connsiteX16" fmla="*/ 210320 w 270502"/>
                  <a:gd name="connsiteY16" fmla="*/ 707475 h 721392"/>
                  <a:gd name="connsiteX17" fmla="*/ 195351 w 270502"/>
                  <a:gd name="connsiteY17" fmla="*/ 721392 h 721392"/>
                  <a:gd name="connsiteX18" fmla="*/ 75119 w 270502"/>
                  <a:gd name="connsiteY18" fmla="*/ 721392 h 721392"/>
                  <a:gd name="connsiteX19" fmla="*/ 60151 w 270502"/>
                  <a:gd name="connsiteY19" fmla="*/ 707475 h 721392"/>
                  <a:gd name="connsiteX20" fmla="*/ 43558 w 270502"/>
                  <a:gd name="connsiteY20" fmla="*/ 482882 h 721392"/>
                  <a:gd name="connsiteX21" fmla="*/ 12689 w 270502"/>
                  <a:gd name="connsiteY21" fmla="*/ 467703 h 721392"/>
                  <a:gd name="connsiteX22" fmla="*/ 335 w 270502"/>
                  <a:gd name="connsiteY22" fmla="*/ 427937 h 721392"/>
                  <a:gd name="connsiteX23" fmla="*/ 20264 w 270502"/>
                  <a:gd name="connsiteY23" fmla="*/ 253359 h 721392"/>
                  <a:gd name="connsiteX24" fmla="*/ 96852 w 270502"/>
                  <a:gd name="connsiteY24" fmla="*/ 180349 h 721392"/>
                  <a:gd name="connsiteX25" fmla="*/ 135235 w 270502"/>
                  <a:gd name="connsiteY25" fmla="*/ 120232 h 721392"/>
                  <a:gd name="connsiteX26" fmla="*/ 135234 w 270502"/>
                  <a:gd name="connsiteY26" fmla="*/ 120232 h 721392"/>
                  <a:gd name="connsiteX27" fmla="*/ 135235 w 270502"/>
                  <a:gd name="connsiteY27" fmla="*/ 120232 h 721392"/>
                  <a:gd name="connsiteX28" fmla="*/ 135234 w 270502"/>
                  <a:gd name="connsiteY28" fmla="*/ 0 h 721392"/>
                  <a:gd name="connsiteX29" fmla="*/ 210379 w 270502"/>
                  <a:gd name="connsiteY29" fmla="*/ 75145 h 721392"/>
                  <a:gd name="connsiteX30" fmla="*/ 135234 w 270502"/>
                  <a:gd name="connsiteY30" fmla="*/ 150290 h 721392"/>
                  <a:gd name="connsiteX31" fmla="*/ 60089 w 270502"/>
                  <a:gd name="connsiteY31" fmla="*/ 75145 h 721392"/>
                  <a:gd name="connsiteX32" fmla="*/ 135234 w 270502"/>
                  <a:gd name="connsiteY32"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181404 w 270502"/>
                  <a:gd name="connsiteY7" fmla="*/ 691333 h 721392"/>
                  <a:gd name="connsiteX8" fmla="*/ 89097 w 270502"/>
                  <a:gd name="connsiteY8" fmla="*/ 691333 h 721392"/>
                  <a:gd name="connsiteX9" fmla="*/ 96852 w 270502"/>
                  <a:gd name="connsiteY9" fmla="*/ 180349 h 721392"/>
                  <a:gd name="connsiteX10" fmla="*/ 173589 w 270502"/>
                  <a:gd name="connsiteY10" fmla="*/ 180349 h 721392"/>
                  <a:gd name="connsiteX11" fmla="*/ 250238 w 270502"/>
                  <a:gd name="connsiteY11" fmla="*/ 253359 h 721392"/>
                  <a:gd name="connsiteX12" fmla="*/ 270166 w 270502"/>
                  <a:gd name="connsiteY12" fmla="*/ 427937 h 721392"/>
                  <a:gd name="connsiteX13" fmla="*/ 257782 w 270502"/>
                  <a:gd name="connsiteY13" fmla="*/ 467703 h 721392"/>
                  <a:gd name="connsiteX14" fmla="*/ 226913 w 270502"/>
                  <a:gd name="connsiteY14" fmla="*/ 482882 h 721392"/>
                  <a:gd name="connsiteX15" fmla="*/ 210320 w 270502"/>
                  <a:gd name="connsiteY15" fmla="*/ 707475 h 721392"/>
                  <a:gd name="connsiteX16" fmla="*/ 195351 w 270502"/>
                  <a:gd name="connsiteY16" fmla="*/ 721392 h 721392"/>
                  <a:gd name="connsiteX17" fmla="*/ 75119 w 270502"/>
                  <a:gd name="connsiteY17" fmla="*/ 721392 h 721392"/>
                  <a:gd name="connsiteX18" fmla="*/ 60151 w 270502"/>
                  <a:gd name="connsiteY18" fmla="*/ 707475 h 721392"/>
                  <a:gd name="connsiteX19" fmla="*/ 43558 w 270502"/>
                  <a:gd name="connsiteY19" fmla="*/ 482882 h 721392"/>
                  <a:gd name="connsiteX20" fmla="*/ 12689 w 270502"/>
                  <a:gd name="connsiteY20" fmla="*/ 467703 h 721392"/>
                  <a:gd name="connsiteX21" fmla="*/ 335 w 270502"/>
                  <a:gd name="connsiteY21" fmla="*/ 427937 h 721392"/>
                  <a:gd name="connsiteX22" fmla="*/ 20264 w 270502"/>
                  <a:gd name="connsiteY22" fmla="*/ 253359 h 721392"/>
                  <a:gd name="connsiteX23" fmla="*/ 96852 w 270502"/>
                  <a:gd name="connsiteY23" fmla="*/ 180349 h 721392"/>
                  <a:gd name="connsiteX24" fmla="*/ 135235 w 270502"/>
                  <a:gd name="connsiteY24" fmla="*/ 120232 h 721392"/>
                  <a:gd name="connsiteX25" fmla="*/ 135234 w 270502"/>
                  <a:gd name="connsiteY25" fmla="*/ 120232 h 721392"/>
                  <a:gd name="connsiteX26" fmla="*/ 135235 w 270502"/>
                  <a:gd name="connsiteY26" fmla="*/ 120232 h 721392"/>
                  <a:gd name="connsiteX27" fmla="*/ 135234 w 270502"/>
                  <a:gd name="connsiteY27" fmla="*/ 0 h 721392"/>
                  <a:gd name="connsiteX28" fmla="*/ 210379 w 270502"/>
                  <a:gd name="connsiteY28" fmla="*/ 75145 h 721392"/>
                  <a:gd name="connsiteX29" fmla="*/ 135234 w 270502"/>
                  <a:gd name="connsiteY29" fmla="*/ 150290 h 721392"/>
                  <a:gd name="connsiteX30" fmla="*/ 60089 w 270502"/>
                  <a:gd name="connsiteY30" fmla="*/ 75145 h 721392"/>
                  <a:gd name="connsiteX31" fmla="*/ 135234 w 270502"/>
                  <a:gd name="connsiteY31"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240348 w 270502"/>
                  <a:gd name="connsiteY5" fmla="*/ 431333 h 721392"/>
                  <a:gd name="connsiteX6" fmla="*/ 181404 w 270502"/>
                  <a:gd name="connsiteY6" fmla="*/ 691333 h 721392"/>
                  <a:gd name="connsiteX7" fmla="*/ 89097 w 270502"/>
                  <a:gd name="connsiteY7" fmla="*/ 691333 h 721392"/>
                  <a:gd name="connsiteX8" fmla="*/ 96852 w 270502"/>
                  <a:gd name="connsiteY8" fmla="*/ 180349 h 721392"/>
                  <a:gd name="connsiteX9" fmla="*/ 173589 w 270502"/>
                  <a:gd name="connsiteY9" fmla="*/ 180349 h 721392"/>
                  <a:gd name="connsiteX10" fmla="*/ 250238 w 270502"/>
                  <a:gd name="connsiteY10" fmla="*/ 253359 h 721392"/>
                  <a:gd name="connsiteX11" fmla="*/ 270166 w 270502"/>
                  <a:gd name="connsiteY11" fmla="*/ 427937 h 721392"/>
                  <a:gd name="connsiteX12" fmla="*/ 257782 w 270502"/>
                  <a:gd name="connsiteY12" fmla="*/ 467703 h 721392"/>
                  <a:gd name="connsiteX13" fmla="*/ 226913 w 270502"/>
                  <a:gd name="connsiteY13" fmla="*/ 482882 h 721392"/>
                  <a:gd name="connsiteX14" fmla="*/ 210320 w 270502"/>
                  <a:gd name="connsiteY14" fmla="*/ 707475 h 721392"/>
                  <a:gd name="connsiteX15" fmla="*/ 195351 w 270502"/>
                  <a:gd name="connsiteY15" fmla="*/ 721392 h 721392"/>
                  <a:gd name="connsiteX16" fmla="*/ 75119 w 270502"/>
                  <a:gd name="connsiteY16" fmla="*/ 721392 h 721392"/>
                  <a:gd name="connsiteX17" fmla="*/ 60151 w 270502"/>
                  <a:gd name="connsiteY17" fmla="*/ 707475 h 721392"/>
                  <a:gd name="connsiteX18" fmla="*/ 43558 w 270502"/>
                  <a:gd name="connsiteY18" fmla="*/ 482882 h 721392"/>
                  <a:gd name="connsiteX19" fmla="*/ 12689 w 270502"/>
                  <a:gd name="connsiteY19" fmla="*/ 467703 h 721392"/>
                  <a:gd name="connsiteX20" fmla="*/ 335 w 270502"/>
                  <a:gd name="connsiteY20" fmla="*/ 427937 h 721392"/>
                  <a:gd name="connsiteX21" fmla="*/ 20264 w 270502"/>
                  <a:gd name="connsiteY21" fmla="*/ 253359 h 721392"/>
                  <a:gd name="connsiteX22" fmla="*/ 96852 w 270502"/>
                  <a:gd name="connsiteY22" fmla="*/ 180349 h 721392"/>
                  <a:gd name="connsiteX23" fmla="*/ 135235 w 270502"/>
                  <a:gd name="connsiteY23" fmla="*/ 120232 h 721392"/>
                  <a:gd name="connsiteX24" fmla="*/ 135234 w 270502"/>
                  <a:gd name="connsiteY24" fmla="*/ 120232 h 721392"/>
                  <a:gd name="connsiteX25" fmla="*/ 135235 w 270502"/>
                  <a:gd name="connsiteY25" fmla="*/ 120232 h 721392"/>
                  <a:gd name="connsiteX26" fmla="*/ 135234 w 270502"/>
                  <a:gd name="connsiteY26" fmla="*/ 0 h 721392"/>
                  <a:gd name="connsiteX27" fmla="*/ 210379 w 270502"/>
                  <a:gd name="connsiteY27" fmla="*/ 75145 h 721392"/>
                  <a:gd name="connsiteX28" fmla="*/ 135234 w 270502"/>
                  <a:gd name="connsiteY28" fmla="*/ 150290 h 721392"/>
                  <a:gd name="connsiteX29" fmla="*/ 60089 w 270502"/>
                  <a:gd name="connsiteY29" fmla="*/ 75145 h 721392"/>
                  <a:gd name="connsiteX30" fmla="*/ 135234 w 270502"/>
                  <a:gd name="connsiteY30"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181404 w 270502"/>
                  <a:gd name="connsiteY5" fmla="*/ 691333 h 721392"/>
                  <a:gd name="connsiteX6" fmla="*/ 89097 w 270502"/>
                  <a:gd name="connsiteY6" fmla="*/ 691333 h 721392"/>
                  <a:gd name="connsiteX7" fmla="*/ 96852 w 270502"/>
                  <a:gd name="connsiteY7" fmla="*/ 180349 h 721392"/>
                  <a:gd name="connsiteX8" fmla="*/ 173589 w 270502"/>
                  <a:gd name="connsiteY8" fmla="*/ 180349 h 721392"/>
                  <a:gd name="connsiteX9" fmla="*/ 250238 w 270502"/>
                  <a:gd name="connsiteY9" fmla="*/ 253359 h 721392"/>
                  <a:gd name="connsiteX10" fmla="*/ 270166 w 270502"/>
                  <a:gd name="connsiteY10" fmla="*/ 427937 h 721392"/>
                  <a:gd name="connsiteX11" fmla="*/ 257782 w 270502"/>
                  <a:gd name="connsiteY11" fmla="*/ 467703 h 721392"/>
                  <a:gd name="connsiteX12" fmla="*/ 226913 w 270502"/>
                  <a:gd name="connsiteY12" fmla="*/ 482882 h 721392"/>
                  <a:gd name="connsiteX13" fmla="*/ 210320 w 270502"/>
                  <a:gd name="connsiteY13" fmla="*/ 707475 h 721392"/>
                  <a:gd name="connsiteX14" fmla="*/ 195351 w 270502"/>
                  <a:gd name="connsiteY14" fmla="*/ 721392 h 721392"/>
                  <a:gd name="connsiteX15" fmla="*/ 75119 w 270502"/>
                  <a:gd name="connsiteY15" fmla="*/ 721392 h 721392"/>
                  <a:gd name="connsiteX16" fmla="*/ 60151 w 270502"/>
                  <a:gd name="connsiteY16" fmla="*/ 707475 h 721392"/>
                  <a:gd name="connsiteX17" fmla="*/ 43558 w 270502"/>
                  <a:gd name="connsiteY17" fmla="*/ 482882 h 721392"/>
                  <a:gd name="connsiteX18" fmla="*/ 12689 w 270502"/>
                  <a:gd name="connsiteY18" fmla="*/ 467703 h 721392"/>
                  <a:gd name="connsiteX19" fmla="*/ 335 w 270502"/>
                  <a:gd name="connsiteY19" fmla="*/ 427937 h 721392"/>
                  <a:gd name="connsiteX20" fmla="*/ 20264 w 270502"/>
                  <a:gd name="connsiteY20" fmla="*/ 253359 h 721392"/>
                  <a:gd name="connsiteX21" fmla="*/ 96852 w 270502"/>
                  <a:gd name="connsiteY21" fmla="*/ 180349 h 721392"/>
                  <a:gd name="connsiteX22" fmla="*/ 135235 w 270502"/>
                  <a:gd name="connsiteY22" fmla="*/ 120232 h 721392"/>
                  <a:gd name="connsiteX23" fmla="*/ 135234 w 270502"/>
                  <a:gd name="connsiteY23" fmla="*/ 120232 h 721392"/>
                  <a:gd name="connsiteX24" fmla="*/ 135235 w 270502"/>
                  <a:gd name="connsiteY24" fmla="*/ 120232 h 721392"/>
                  <a:gd name="connsiteX25" fmla="*/ 135234 w 270502"/>
                  <a:gd name="connsiteY25" fmla="*/ 0 h 721392"/>
                  <a:gd name="connsiteX26" fmla="*/ 210379 w 270502"/>
                  <a:gd name="connsiteY26" fmla="*/ 75145 h 721392"/>
                  <a:gd name="connsiteX27" fmla="*/ 135234 w 270502"/>
                  <a:gd name="connsiteY27" fmla="*/ 150290 h 721392"/>
                  <a:gd name="connsiteX28" fmla="*/ 60089 w 270502"/>
                  <a:gd name="connsiteY28" fmla="*/ 75145 h 721392"/>
                  <a:gd name="connsiteX29" fmla="*/ 135234 w 270502"/>
                  <a:gd name="connsiteY29"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181404 w 270502"/>
                  <a:gd name="connsiteY4" fmla="*/ 691333 h 721392"/>
                  <a:gd name="connsiteX5" fmla="*/ 89097 w 270502"/>
                  <a:gd name="connsiteY5" fmla="*/ 691333 h 721392"/>
                  <a:gd name="connsiteX6" fmla="*/ 96852 w 270502"/>
                  <a:gd name="connsiteY6" fmla="*/ 180349 h 721392"/>
                  <a:gd name="connsiteX7" fmla="*/ 173589 w 270502"/>
                  <a:gd name="connsiteY7" fmla="*/ 180349 h 721392"/>
                  <a:gd name="connsiteX8" fmla="*/ 250238 w 270502"/>
                  <a:gd name="connsiteY8" fmla="*/ 253359 h 721392"/>
                  <a:gd name="connsiteX9" fmla="*/ 270166 w 270502"/>
                  <a:gd name="connsiteY9" fmla="*/ 427937 h 721392"/>
                  <a:gd name="connsiteX10" fmla="*/ 257782 w 270502"/>
                  <a:gd name="connsiteY10" fmla="*/ 467703 h 721392"/>
                  <a:gd name="connsiteX11" fmla="*/ 226913 w 270502"/>
                  <a:gd name="connsiteY11" fmla="*/ 482882 h 721392"/>
                  <a:gd name="connsiteX12" fmla="*/ 210320 w 270502"/>
                  <a:gd name="connsiteY12" fmla="*/ 707475 h 721392"/>
                  <a:gd name="connsiteX13" fmla="*/ 195351 w 270502"/>
                  <a:gd name="connsiteY13" fmla="*/ 721392 h 721392"/>
                  <a:gd name="connsiteX14" fmla="*/ 75119 w 270502"/>
                  <a:gd name="connsiteY14" fmla="*/ 721392 h 721392"/>
                  <a:gd name="connsiteX15" fmla="*/ 60151 w 270502"/>
                  <a:gd name="connsiteY15" fmla="*/ 707475 h 721392"/>
                  <a:gd name="connsiteX16" fmla="*/ 43558 w 270502"/>
                  <a:gd name="connsiteY16" fmla="*/ 482882 h 721392"/>
                  <a:gd name="connsiteX17" fmla="*/ 12689 w 270502"/>
                  <a:gd name="connsiteY17" fmla="*/ 467703 h 721392"/>
                  <a:gd name="connsiteX18" fmla="*/ 335 w 270502"/>
                  <a:gd name="connsiteY18" fmla="*/ 427937 h 721392"/>
                  <a:gd name="connsiteX19" fmla="*/ 20264 w 270502"/>
                  <a:gd name="connsiteY19" fmla="*/ 253359 h 721392"/>
                  <a:gd name="connsiteX20" fmla="*/ 96852 w 270502"/>
                  <a:gd name="connsiteY20" fmla="*/ 180349 h 721392"/>
                  <a:gd name="connsiteX21" fmla="*/ 135235 w 270502"/>
                  <a:gd name="connsiteY21" fmla="*/ 120232 h 721392"/>
                  <a:gd name="connsiteX22" fmla="*/ 135234 w 270502"/>
                  <a:gd name="connsiteY22" fmla="*/ 120232 h 721392"/>
                  <a:gd name="connsiteX23" fmla="*/ 135235 w 270502"/>
                  <a:gd name="connsiteY23" fmla="*/ 120232 h 721392"/>
                  <a:gd name="connsiteX24" fmla="*/ 135234 w 270502"/>
                  <a:gd name="connsiteY24" fmla="*/ 0 h 721392"/>
                  <a:gd name="connsiteX25" fmla="*/ 210379 w 270502"/>
                  <a:gd name="connsiteY25" fmla="*/ 75145 h 721392"/>
                  <a:gd name="connsiteX26" fmla="*/ 135234 w 270502"/>
                  <a:gd name="connsiteY26" fmla="*/ 150290 h 721392"/>
                  <a:gd name="connsiteX27" fmla="*/ 60089 w 270502"/>
                  <a:gd name="connsiteY27" fmla="*/ 75145 h 721392"/>
                  <a:gd name="connsiteX28" fmla="*/ 135234 w 270502"/>
                  <a:gd name="connsiteY2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81404 w 270502"/>
                  <a:gd name="connsiteY3" fmla="*/ 691333 h 721392"/>
                  <a:gd name="connsiteX4" fmla="*/ 89097 w 270502"/>
                  <a:gd name="connsiteY4" fmla="*/ 691333 h 721392"/>
                  <a:gd name="connsiteX5" fmla="*/ 96852 w 270502"/>
                  <a:gd name="connsiteY5" fmla="*/ 180349 h 721392"/>
                  <a:gd name="connsiteX6" fmla="*/ 173589 w 270502"/>
                  <a:gd name="connsiteY6" fmla="*/ 180349 h 721392"/>
                  <a:gd name="connsiteX7" fmla="*/ 250238 w 270502"/>
                  <a:gd name="connsiteY7" fmla="*/ 253359 h 721392"/>
                  <a:gd name="connsiteX8" fmla="*/ 270166 w 270502"/>
                  <a:gd name="connsiteY8" fmla="*/ 427937 h 721392"/>
                  <a:gd name="connsiteX9" fmla="*/ 257782 w 270502"/>
                  <a:gd name="connsiteY9" fmla="*/ 467703 h 721392"/>
                  <a:gd name="connsiteX10" fmla="*/ 226913 w 270502"/>
                  <a:gd name="connsiteY10" fmla="*/ 482882 h 721392"/>
                  <a:gd name="connsiteX11" fmla="*/ 210320 w 270502"/>
                  <a:gd name="connsiteY11" fmla="*/ 707475 h 721392"/>
                  <a:gd name="connsiteX12" fmla="*/ 195351 w 270502"/>
                  <a:gd name="connsiteY12" fmla="*/ 721392 h 721392"/>
                  <a:gd name="connsiteX13" fmla="*/ 75119 w 270502"/>
                  <a:gd name="connsiteY13" fmla="*/ 721392 h 721392"/>
                  <a:gd name="connsiteX14" fmla="*/ 60151 w 270502"/>
                  <a:gd name="connsiteY14" fmla="*/ 707475 h 721392"/>
                  <a:gd name="connsiteX15" fmla="*/ 43558 w 270502"/>
                  <a:gd name="connsiteY15" fmla="*/ 482882 h 721392"/>
                  <a:gd name="connsiteX16" fmla="*/ 12689 w 270502"/>
                  <a:gd name="connsiteY16" fmla="*/ 467703 h 721392"/>
                  <a:gd name="connsiteX17" fmla="*/ 335 w 270502"/>
                  <a:gd name="connsiteY17" fmla="*/ 427937 h 721392"/>
                  <a:gd name="connsiteX18" fmla="*/ 20264 w 270502"/>
                  <a:gd name="connsiteY18" fmla="*/ 253359 h 721392"/>
                  <a:gd name="connsiteX19" fmla="*/ 96852 w 270502"/>
                  <a:gd name="connsiteY19" fmla="*/ 180349 h 721392"/>
                  <a:gd name="connsiteX20" fmla="*/ 135235 w 270502"/>
                  <a:gd name="connsiteY20" fmla="*/ 120232 h 721392"/>
                  <a:gd name="connsiteX21" fmla="*/ 135234 w 270502"/>
                  <a:gd name="connsiteY21" fmla="*/ 120232 h 721392"/>
                  <a:gd name="connsiteX22" fmla="*/ 135235 w 270502"/>
                  <a:gd name="connsiteY22" fmla="*/ 120232 h 721392"/>
                  <a:gd name="connsiteX23" fmla="*/ 135234 w 270502"/>
                  <a:gd name="connsiteY23" fmla="*/ 0 h 721392"/>
                  <a:gd name="connsiteX24" fmla="*/ 210379 w 270502"/>
                  <a:gd name="connsiteY24" fmla="*/ 75145 h 721392"/>
                  <a:gd name="connsiteX25" fmla="*/ 135234 w 270502"/>
                  <a:gd name="connsiteY25" fmla="*/ 150290 h 721392"/>
                  <a:gd name="connsiteX26" fmla="*/ 60089 w 270502"/>
                  <a:gd name="connsiteY26" fmla="*/ 75145 h 721392"/>
                  <a:gd name="connsiteX27" fmla="*/ 135234 w 270502"/>
                  <a:gd name="connsiteY2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89097 w 270502"/>
                  <a:gd name="connsiteY3" fmla="*/ 691333 h 721392"/>
                  <a:gd name="connsiteX4" fmla="*/ 96852 w 270502"/>
                  <a:gd name="connsiteY4" fmla="*/ 180349 h 721392"/>
                  <a:gd name="connsiteX5" fmla="*/ 173589 w 270502"/>
                  <a:gd name="connsiteY5" fmla="*/ 180349 h 721392"/>
                  <a:gd name="connsiteX6" fmla="*/ 250238 w 270502"/>
                  <a:gd name="connsiteY6" fmla="*/ 253359 h 721392"/>
                  <a:gd name="connsiteX7" fmla="*/ 270166 w 270502"/>
                  <a:gd name="connsiteY7" fmla="*/ 427937 h 721392"/>
                  <a:gd name="connsiteX8" fmla="*/ 257782 w 270502"/>
                  <a:gd name="connsiteY8" fmla="*/ 467703 h 721392"/>
                  <a:gd name="connsiteX9" fmla="*/ 226913 w 270502"/>
                  <a:gd name="connsiteY9" fmla="*/ 482882 h 721392"/>
                  <a:gd name="connsiteX10" fmla="*/ 210320 w 270502"/>
                  <a:gd name="connsiteY10" fmla="*/ 707475 h 721392"/>
                  <a:gd name="connsiteX11" fmla="*/ 195351 w 270502"/>
                  <a:gd name="connsiteY11" fmla="*/ 721392 h 721392"/>
                  <a:gd name="connsiteX12" fmla="*/ 75119 w 270502"/>
                  <a:gd name="connsiteY12" fmla="*/ 721392 h 721392"/>
                  <a:gd name="connsiteX13" fmla="*/ 60151 w 270502"/>
                  <a:gd name="connsiteY13" fmla="*/ 707475 h 721392"/>
                  <a:gd name="connsiteX14" fmla="*/ 43558 w 270502"/>
                  <a:gd name="connsiteY14" fmla="*/ 482882 h 721392"/>
                  <a:gd name="connsiteX15" fmla="*/ 12689 w 270502"/>
                  <a:gd name="connsiteY15" fmla="*/ 467703 h 721392"/>
                  <a:gd name="connsiteX16" fmla="*/ 335 w 270502"/>
                  <a:gd name="connsiteY16" fmla="*/ 427937 h 721392"/>
                  <a:gd name="connsiteX17" fmla="*/ 20264 w 270502"/>
                  <a:gd name="connsiteY17" fmla="*/ 253359 h 721392"/>
                  <a:gd name="connsiteX18" fmla="*/ 96852 w 270502"/>
                  <a:gd name="connsiteY18" fmla="*/ 180349 h 721392"/>
                  <a:gd name="connsiteX19" fmla="*/ 135235 w 270502"/>
                  <a:gd name="connsiteY19" fmla="*/ 120232 h 721392"/>
                  <a:gd name="connsiteX20" fmla="*/ 135234 w 270502"/>
                  <a:gd name="connsiteY20" fmla="*/ 120232 h 721392"/>
                  <a:gd name="connsiteX21" fmla="*/ 135235 w 270502"/>
                  <a:gd name="connsiteY21" fmla="*/ 120232 h 721392"/>
                  <a:gd name="connsiteX22" fmla="*/ 135234 w 270502"/>
                  <a:gd name="connsiteY22" fmla="*/ 0 h 721392"/>
                  <a:gd name="connsiteX23" fmla="*/ 210379 w 270502"/>
                  <a:gd name="connsiteY23" fmla="*/ 75145 h 721392"/>
                  <a:gd name="connsiteX24" fmla="*/ 135234 w 270502"/>
                  <a:gd name="connsiteY24" fmla="*/ 150290 h 721392"/>
                  <a:gd name="connsiteX25" fmla="*/ 60089 w 270502"/>
                  <a:gd name="connsiteY25" fmla="*/ 75145 h 721392"/>
                  <a:gd name="connsiteX26" fmla="*/ 135234 w 270502"/>
                  <a:gd name="connsiteY26" fmla="*/ 0 h 721392"/>
                  <a:gd name="connsiteX0" fmla="*/ 89097 w 270502"/>
                  <a:gd name="connsiteY0" fmla="*/ 691333 h 721392"/>
                  <a:gd name="connsiteX1" fmla="*/ 89097 w 270502"/>
                  <a:gd name="connsiteY1" fmla="*/ 691334 h 721392"/>
                  <a:gd name="connsiteX2" fmla="*/ 89097 w 270502"/>
                  <a:gd name="connsiteY2" fmla="*/ 691333 h 721392"/>
                  <a:gd name="connsiteX3" fmla="*/ 96852 w 270502"/>
                  <a:gd name="connsiteY3" fmla="*/ 180349 h 721392"/>
                  <a:gd name="connsiteX4" fmla="*/ 173589 w 270502"/>
                  <a:gd name="connsiteY4" fmla="*/ 180349 h 721392"/>
                  <a:gd name="connsiteX5" fmla="*/ 250238 w 270502"/>
                  <a:gd name="connsiteY5" fmla="*/ 253359 h 721392"/>
                  <a:gd name="connsiteX6" fmla="*/ 270166 w 270502"/>
                  <a:gd name="connsiteY6" fmla="*/ 427937 h 721392"/>
                  <a:gd name="connsiteX7" fmla="*/ 257782 w 270502"/>
                  <a:gd name="connsiteY7" fmla="*/ 467703 h 721392"/>
                  <a:gd name="connsiteX8" fmla="*/ 226913 w 270502"/>
                  <a:gd name="connsiteY8" fmla="*/ 482882 h 721392"/>
                  <a:gd name="connsiteX9" fmla="*/ 210320 w 270502"/>
                  <a:gd name="connsiteY9" fmla="*/ 707475 h 721392"/>
                  <a:gd name="connsiteX10" fmla="*/ 195351 w 270502"/>
                  <a:gd name="connsiteY10" fmla="*/ 721392 h 721392"/>
                  <a:gd name="connsiteX11" fmla="*/ 75119 w 270502"/>
                  <a:gd name="connsiteY11" fmla="*/ 721392 h 721392"/>
                  <a:gd name="connsiteX12" fmla="*/ 60151 w 270502"/>
                  <a:gd name="connsiteY12" fmla="*/ 707475 h 721392"/>
                  <a:gd name="connsiteX13" fmla="*/ 43558 w 270502"/>
                  <a:gd name="connsiteY13" fmla="*/ 482882 h 721392"/>
                  <a:gd name="connsiteX14" fmla="*/ 12689 w 270502"/>
                  <a:gd name="connsiteY14" fmla="*/ 467703 h 721392"/>
                  <a:gd name="connsiteX15" fmla="*/ 335 w 270502"/>
                  <a:gd name="connsiteY15" fmla="*/ 427937 h 721392"/>
                  <a:gd name="connsiteX16" fmla="*/ 20264 w 270502"/>
                  <a:gd name="connsiteY16" fmla="*/ 253359 h 721392"/>
                  <a:gd name="connsiteX17" fmla="*/ 96852 w 270502"/>
                  <a:gd name="connsiteY17" fmla="*/ 180349 h 721392"/>
                  <a:gd name="connsiteX18" fmla="*/ 135235 w 270502"/>
                  <a:gd name="connsiteY18" fmla="*/ 120232 h 721392"/>
                  <a:gd name="connsiteX19" fmla="*/ 135234 w 270502"/>
                  <a:gd name="connsiteY19" fmla="*/ 120232 h 721392"/>
                  <a:gd name="connsiteX20" fmla="*/ 135235 w 270502"/>
                  <a:gd name="connsiteY20" fmla="*/ 120232 h 721392"/>
                  <a:gd name="connsiteX21" fmla="*/ 135234 w 270502"/>
                  <a:gd name="connsiteY21" fmla="*/ 0 h 721392"/>
                  <a:gd name="connsiteX22" fmla="*/ 210379 w 270502"/>
                  <a:gd name="connsiteY22" fmla="*/ 75145 h 721392"/>
                  <a:gd name="connsiteX23" fmla="*/ 135234 w 270502"/>
                  <a:gd name="connsiteY23" fmla="*/ 150290 h 721392"/>
                  <a:gd name="connsiteX24" fmla="*/ 60089 w 270502"/>
                  <a:gd name="connsiteY24" fmla="*/ 75145 h 721392"/>
                  <a:gd name="connsiteX25" fmla="*/ 135234 w 270502"/>
                  <a:gd name="connsiteY25"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5 w 270502"/>
                  <a:gd name="connsiteY15" fmla="*/ 120232 h 721392"/>
                  <a:gd name="connsiteX16" fmla="*/ 135234 w 270502"/>
                  <a:gd name="connsiteY16" fmla="*/ 120232 h 721392"/>
                  <a:gd name="connsiteX17" fmla="*/ 135235 w 270502"/>
                  <a:gd name="connsiteY17" fmla="*/ 120232 h 721392"/>
                  <a:gd name="connsiteX18" fmla="*/ 135234 w 270502"/>
                  <a:gd name="connsiteY18" fmla="*/ 0 h 721392"/>
                  <a:gd name="connsiteX19" fmla="*/ 210379 w 270502"/>
                  <a:gd name="connsiteY19" fmla="*/ 75145 h 721392"/>
                  <a:gd name="connsiteX20" fmla="*/ 135234 w 270502"/>
                  <a:gd name="connsiteY20" fmla="*/ 150290 h 721392"/>
                  <a:gd name="connsiteX21" fmla="*/ 60089 w 270502"/>
                  <a:gd name="connsiteY21" fmla="*/ 75145 h 721392"/>
                  <a:gd name="connsiteX22" fmla="*/ 135234 w 270502"/>
                  <a:gd name="connsiteY22"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4 w 270502"/>
                  <a:gd name="connsiteY15" fmla="*/ 0 h 721392"/>
                  <a:gd name="connsiteX16" fmla="*/ 210379 w 270502"/>
                  <a:gd name="connsiteY16" fmla="*/ 75145 h 721392"/>
                  <a:gd name="connsiteX17" fmla="*/ 135234 w 270502"/>
                  <a:gd name="connsiteY17" fmla="*/ 150290 h 721392"/>
                  <a:gd name="connsiteX18" fmla="*/ 60089 w 270502"/>
                  <a:gd name="connsiteY18" fmla="*/ 75145 h 721392"/>
                  <a:gd name="connsiteX19" fmla="*/ 135234 w 270502"/>
                  <a:gd name="connsiteY19" fmla="*/ 0 h 72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0502" h="721392">
                    <a:moveTo>
                      <a:pt x="96852" y="180349"/>
                    </a:moveTo>
                    <a:lnTo>
                      <a:pt x="173589" y="180349"/>
                    </a:lnTo>
                    <a:cubicBezTo>
                      <a:pt x="212545" y="180349"/>
                      <a:pt x="245518" y="211730"/>
                      <a:pt x="250238" y="253359"/>
                    </a:cubicBezTo>
                    <a:lnTo>
                      <a:pt x="270166" y="427937"/>
                    </a:lnTo>
                    <a:cubicBezTo>
                      <a:pt x="271819" y="442545"/>
                      <a:pt x="267341" y="457033"/>
                      <a:pt x="257782" y="467703"/>
                    </a:cubicBezTo>
                    <a:cubicBezTo>
                      <a:pt x="249576" y="476901"/>
                      <a:pt x="238695" y="482221"/>
                      <a:pt x="226913" y="482882"/>
                    </a:cubicBezTo>
                    <a:lnTo>
                      <a:pt x="210320" y="707475"/>
                    </a:lnTo>
                    <a:cubicBezTo>
                      <a:pt x="209779" y="715320"/>
                      <a:pt x="203227" y="721392"/>
                      <a:pt x="195351" y="721392"/>
                    </a:cubicBezTo>
                    <a:lnTo>
                      <a:pt x="75119" y="721392"/>
                    </a:lnTo>
                    <a:cubicBezTo>
                      <a:pt x="67274" y="721392"/>
                      <a:pt x="60722" y="715320"/>
                      <a:pt x="60151" y="707475"/>
                    </a:cubicBezTo>
                    <a:lnTo>
                      <a:pt x="43558" y="482882"/>
                    </a:lnTo>
                    <a:cubicBezTo>
                      <a:pt x="31746" y="482221"/>
                      <a:pt x="20895" y="476870"/>
                      <a:pt x="12689" y="467703"/>
                    </a:cubicBezTo>
                    <a:cubicBezTo>
                      <a:pt x="3191" y="457062"/>
                      <a:pt x="-1318" y="442545"/>
                      <a:pt x="335" y="427937"/>
                    </a:cubicBezTo>
                    <a:lnTo>
                      <a:pt x="20264" y="253359"/>
                    </a:lnTo>
                    <a:cubicBezTo>
                      <a:pt x="25013" y="211730"/>
                      <a:pt x="57957" y="180349"/>
                      <a:pt x="96852" y="180349"/>
                    </a:cubicBezTo>
                    <a:close/>
                    <a:moveTo>
                      <a:pt x="135234" y="0"/>
                    </a:moveTo>
                    <a:cubicBezTo>
                      <a:pt x="176684" y="0"/>
                      <a:pt x="210379" y="33725"/>
                      <a:pt x="210379" y="75145"/>
                    </a:cubicBezTo>
                    <a:cubicBezTo>
                      <a:pt x="210379" y="116565"/>
                      <a:pt x="176655" y="150290"/>
                      <a:pt x="135234" y="150290"/>
                    </a:cubicBezTo>
                    <a:cubicBezTo>
                      <a:pt x="93814" y="150290"/>
                      <a:pt x="60089" y="116565"/>
                      <a:pt x="60089" y="75145"/>
                    </a:cubicBezTo>
                    <a:cubicBezTo>
                      <a:pt x="60089" y="33725"/>
                      <a:pt x="93814" y="0"/>
                      <a:pt x="135234" y="0"/>
                    </a:cubicBezTo>
                    <a:close/>
                  </a:path>
                </a:pathLst>
              </a:custGeom>
              <a:solidFill>
                <a:schemeClr val="bg2">
                  <a:lumMod val="90000"/>
                  <a:alpha val="7960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24" name="Group 23">
                <a:extLst>
                  <a:ext uri="{FF2B5EF4-FFF2-40B4-BE49-F238E27FC236}">
                    <a16:creationId xmlns:a16="http://schemas.microsoft.com/office/drawing/2014/main" id="{C932B64E-F8BB-0EBD-FCE3-699614AEB250}"/>
                  </a:ext>
                </a:extLst>
              </p:cNvPr>
              <p:cNvGrpSpPr/>
              <p:nvPr/>
            </p:nvGrpSpPr>
            <p:grpSpPr>
              <a:xfrm>
                <a:off x="8749519" y="450850"/>
                <a:ext cx="214113" cy="681980"/>
                <a:chOff x="9734746" y="1287565"/>
                <a:chExt cx="226487" cy="721393"/>
              </a:xfrm>
            </p:grpSpPr>
            <p:sp>
              <p:nvSpPr>
                <p:cNvPr id="28" name="Freeform 25">
                  <a:extLst>
                    <a:ext uri="{FF2B5EF4-FFF2-40B4-BE49-F238E27FC236}">
                      <a16:creationId xmlns:a16="http://schemas.microsoft.com/office/drawing/2014/main" id="{01279451-8D5D-0384-BA0B-3F6A0EB0F900}"/>
                    </a:ext>
                  </a:extLst>
                </p:cNvPr>
                <p:cNvSpPr/>
                <p:nvPr/>
              </p:nvSpPr>
              <p:spPr>
                <a:xfrm>
                  <a:off x="9794832" y="1287565"/>
                  <a:ext cx="150290" cy="150290"/>
                </a:xfrm>
                <a:custGeom>
                  <a:avLst/>
                  <a:gdLst>
                    <a:gd name="connsiteX0" fmla="*/ 75145 w 150290"/>
                    <a:gd name="connsiteY0" fmla="*/ 0 h 150290"/>
                    <a:gd name="connsiteX1" fmla="*/ 150290 w 150290"/>
                    <a:gd name="connsiteY1" fmla="*/ 75145 h 150290"/>
                    <a:gd name="connsiteX2" fmla="*/ 75145 w 150290"/>
                    <a:gd name="connsiteY2" fmla="*/ 150290 h 150290"/>
                    <a:gd name="connsiteX3" fmla="*/ 0 w 150290"/>
                    <a:gd name="connsiteY3" fmla="*/ 75145 h 150290"/>
                    <a:gd name="connsiteX4" fmla="*/ 75145 w 150290"/>
                    <a:gd name="connsiteY4" fmla="*/ 0 h 150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90" h="150290">
                      <a:moveTo>
                        <a:pt x="75145" y="0"/>
                      </a:moveTo>
                      <a:cubicBezTo>
                        <a:pt x="116595" y="0"/>
                        <a:pt x="150290" y="33725"/>
                        <a:pt x="150290" y="75145"/>
                      </a:cubicBezTo>
                      <a:cubicBezTo>
                        <a:pt x="150290" y="116565"/>
                        <a:pt x="116566" y="150290"/>
                        <a:pt x="75145" y="150290"/>
                      </a:cubicBezTo>
                      <a:cubicBezTo>
                        <a:pt x="33725" y="150290"/>
                        <a:pt x="0" y="116565"/>
                        <a:pt x="0" y="75145"/>
                      </a:cubicBezTo>
                      <a:cubicBezTo>
                        <a:pt x="0" y="33725"/>
                        <a:pt x="33725" y="0"/>
                        <a:pt x="75145" y="0"/>
                      </a:cubicBez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9" name="Freeform 26">
                  <a:extLst>
                    <a:ext uri="{FF2B5EF4-FFF2-40B4-BE49-F238E27FC236}">
                      <a16:creationId xmlns:a16="http://schemas.microsoft.com/office/drawing/2014/main" id="{311345F7-6659-B088-6939-0CCF0C935D24}"/>
                    </a:ext>
                  </a:extLst>
                </p:cNvPr>
                <p:cNvSpPr/>
                <p:nvPr/>
              </p:nvSpPr>
              <p:spPr>
                <a:xfrm>
                  <a:off x="9734746" y="1467915"/>
                  <a:ext cx="226487" cy="541043"/>
                </a:xfrm>
                <a:custGeom>
                  <a:avLst/>
                  <a:gdLst>
                    <a:gd name="connsiteX0" fmla="*/ 96852 w 226487"/>
                    <a:gd name="connsiteY0" fmla="*/ 0 h 541043"/>
                    <a:gd name="connsiteX1" fmla="*/ 173589 w 226487"/>
                    <a:gd name="connsiteY1" fmla="*/ 0 h 541043"/>
                    <a:gd name="connsiteX2" fmla="*/ 224752 w 226487"/>
                    <a:gd name="connsiteY2" fmla="*/ 20894 h 541043"/>
                    <a:gd name="connsiteX3" fmla="*/ 226487 w 226487"/>
                    <a:gd name="connsiteY3" fmla="*/ 23257 h 541043"/>
                    <a:gd name="connsiteX4" fmla="*/ 211234 w 226487"/>
                    <a:gd name="connsiteY4" fmla="*/ 44040 h 541043"/>
                    <a:gd name="connsiteX5" fmla="*/ 202733 w 226487"/>
                    <a:gd name="connsiteY5" fmla="*/ 73010 h 541043"/>
                    <a:gd name="connsiteX6" fmla="*/ 182804 w 226487"/>
                    <a:gd name="connsiteY6" fmla="*/ 247588 h 541043"/>
                    <a:gd name="connsiteX7" fmla="*/ 195158 w 226487"/>
                    <a:gd name="connsiteY7" fmla="*/ 287354 h 541043"/>
                    <a:gd name="connsiteX8" fmla="*/ 226027 w 226487"/>
                    <a:gd name="connsiteY8" fmla="*/ 302533 h 541043"/>
                    <a:gd name="connsiteX9" fmla="*/ 226470 w 226487"/>
                    <a:gd name="connsiteY9" fmla="*/ 308529 h 541043"/>
                    <a:gd name="connsiteX10" fmla="*/ 210320 w 226487"/>
                    <a:gd name="connsiteY10" fmla="*/ 527126 h 541043"/>
                    <a:gd name="connsiteX11" fmla="*/ 195351 w 226487"/>
                    <a:gd name="connsiteY11" fmla="*/ 541043 h 541043"/>
                    <a:gd name="connsiteX12" fmla="*/ 75119 w 226487"/>
                    <a:gd name="connsiteY12" fmla="*/ 541043 h 541043"/>
                    <a:gd name="connsiteX13" fmla="*/ 60151 w 226487"/>
                    <a:gd name="connsiteY13" fmla="*/ 527126 h 541043"/>
                    <a:gd name="connsiteX14" fmla="*/ 43558 w 226487"/>
                    <a:gd name="connsiteY14" fmla="*/ 302533 h 541043"/>
                    <a:gd name="connsiteX15" fmla="*/ 12689 w 226487"/>
                    <a:gd name="connsiteY15" fmla="*/ 287354 h 541043"/>
                    <a:gd name="connsiteX16" fmla="*/ 335 w 226487"/>
                    <a:gd name="connsiteY16" fmla="*/ 247588 h 541043"/>
                    <a:gd name="connsiteX17" fmla="*/ 20264 w 226487"/>
                    <a:gd name="connsiteY17" fmla="*/ 73010 h 541043"/>
                    <a:gd name="connsiteX18" fmla="*/ 96852 w 226487"/>
                    <a:gd name="connsiteY18" fmla="*/ 0 h 541043"/>
                    <a:gd name="connsiteX0" fmla="*/ 211234 w 233407"/>
                    <a:gd name="connsiteY0" fmla="*/ 44040 h 541043"/>
                    <a:gd name="connsiteX1" fmla="*/ 202733 w 233407"/>
                    <a:gd name="connsiteY1" fmla="*/ 73010 h 541043"/>
                    <a:gd name="connsiteX2" fmla="*/ 182804 w 233407"/>
                    <a:gd name="connsiteY2" fmla="*/ 247588 h 541043"/>
                    <a:gd name="connsiteX3" fmla="*/ 195158 w 233407"/>
                    <a:gd name="connsiteY3" fmla="*/ 287354 h 541043"/>
                    <a:gd name="connsiteX4" fmla="*/ 226027 w 233407"/>
                    <a:gd name="connsiteY4" fmla="*/ 302533 h 541043"/>
                    <a:gd name="connsiteX5" fmla="*/ 226470 w 233407"/>
                    <a:gd name="connsiteY5" fmla="*/ 308529 h 541043"/>
                    <a:gd name="connsiteX6" fmla="*/ 210320 w 233407"/>
                    <a:gd name="connsiteY6" fmla="*/ 527126 h 541043"/>
                    <a:gd name="connsiteX7" fmla="*/ 195351 w 233407"/>
                    <a:gd name="connsiteY7" fmla="*/ 541043 h 541043"/>
                    <a:gd name="connsiteX8" fmla="*/ 75119 w 233407"/>
                    <a:gd name="connsiteY8" fmla="*/ 541043 h 541043"/>
                    <a:gd name="connsiteX9" fmla="*/ 60151 w 233407"/>
                    <a:gd name="connsiteY9" fmla="*/ 527126 h 541043"/>
                    <a:gd name="connsiteX10" fmla="*/ 43558 w 233407"/>
                    <a:gd name="connsiteY10" fmla="*/ 302533 h 541043"/>
                    <a:gd name="connsiteX11" fmla="*/ 12689 w 233407"/>
                    <a:gd name="connsiteY11" fmla="*/ 287354 h 541043"/>
                    <a:gd name="connsiteX12" fmla="*/ 335 w 233407"/>
                    <a:gd name="connsiteY12" fmla="*/ 247588 h 541043"/>
                    <a:gd name="connsiteX13" fmla="*/ 20264 w 233407"/>
                    <a:gd name="connsiteY13" fmla="*/ 73010 h 541043"/>
                    <a:gd name="connsiteX14" fmla="*/ 96852 w 233407"/>
                    <a:gd name="connsiteY14" fmla="*/ 0 h 541043"/>
                    <a:gd name="connsiteX15" fmla="*/ 173589 w 233407"/>
                    <a:gd name="connsiteY15" fmla="*/ 0 h 541043"/>
                    <a:gd name="connsiteX16" fmla="*/ 224752 w 233407"/>
                    <a:gd name="connsiteY16" fmla="*/ 20894 h 541043"/>
                    <a:gd name="connsiteX17" fmla="*/ 226487 w 233407"/>
                    <a:gd name="connsiteY17" fmla="*/ 23257 h 541043"/>
                    <a:gd name="connsiteX18" fmla="*/ 233407 w 233407"/>
                    <a:gd name="connsiteY18" fmla="*/ 66213 h 541043"/>
                    <a:gd name="connsiteX0" fmla="*/ 211234 w 226487"/>
                    <a:gd name="connsiteY0" fmla="*/ 44040 h 541043"/>
                    <a:gd name="connsiteX1" fmla="*/ 202733 w 226487"/>
                    <a:gd name="connsiteY1" fmla="*/ 73010 h 541043"/>
                    <a:gd name="connsiteX2" fmla="*/ 182804 w 226487"/>
                    <a:gd name="connsiteY2" fmla="*/ 247588 h 541043"/>
                    <a:gd name="connsiteX3" fmla="*/ 195158 w 226487"/>
                    <a:gd name="connsiteY3" fmla="*/ 287354 h 541043"/>
                    <a:gd name="connsiteX4" fmla="*/ 226027 w 226487"/>
                    <a:gd name="connsiteY4" fmla="*/ 302533 h 541043"/>
                    <a:gd name="connsiteX5" fmla="*/ 226470 w 226487"/>
                    <a:gd name="connsiteY5" fmla="*/ 308529 h 541043"/>
                    <a:gd name="connsiteX6" fmla="*/ 210320 w 226487"/>
                    <a:gd name="connsiteY6" fmla="*/ 527126 h 541043"/>
                    <a:gd name="connsiteX7" fmla="*/ 195351 w 226487"/>
                    <a:gd name="connsiteY7" fmla="*/ 541043 h 541043"/>
                    <a:gd name="connsiteX8" fmla="*/ 75119 w 226487"/>
                    <a:gd name="connsiteY8" fmla="*/ 541043 h 541043"/>
                    <a:gd name="connsiteX9" fmla="*/ 60151 w 226487"/>
                    <a:gd name="connsiteY9" fmla="*/ 527126 h 541043"/>
                    <a:gd name="connsiteX10" fmla="*/ 43558 w 226487"/>
                    <a:gd name="connsiteY10" fmla="*/ 302533 h 541043"/>
                    <a:gd name="connsiteX11" fmla="*/ 12689 w 226487"/>
                    <a:gd name="connsiteY11" fmla="*/ 287354 h 541043"/>
                    <a:gd name="connsiteX12" fmla="*/ 335 w 226487"/>
                    <a:gd name="connsiteY12" fmla="*/ 247588 h 541043"/>
                    <a:gd name="connsiteX13" fmla="*/ 20264 w 226487"/>
                    <a:gd name="connsiteY13" fmla="*/ 73010 h 541043"/>
                    <a:gd name="connsiteX14" fmla="*/ 96852 w 226487"/>
                    <a:gd name="connsiteY14" fmla="*/ 0 h 541043"/>
                    <a:gd name="connsiteX15" fmla="*/ 173589 w 226487"/>
                    <a:gd name="connsiteY15" fmla="*/ 0 h 541043"/>
                    <a:gd name="connsiteX16" fmla="*/ 224752 w 226487"/>
                    <a:gd name="connsiteY16" fmla="*/ 20894 h 541043"/>
                    <a:gd name="connsiteX17" fmla="*/ 226487 w 226487"/>
                    <a:gd name="connsiteY17" fmla="*/ 23257 h 541043"/>
                    <a:gd name="connsiteX0" fmla="*/ 202733 w 226487"/>
                    <a:gd name="connsiteY0" fmla="*/ 73010 h 541043"/>
                    <a:gd name="connsiteX1" fmla="*/ 182804 w 226487"/>
                    <a:gd name="connsiteY1" fmla="*/ 247588 h 541043"/>
                    <a:gd name="connsiteX2" fmla="*/ 195158 w 226487"/>
                    <a:gd name="connsiteY2" fmla="*/ 287354 h 541043"/>
                    <a:gd name="connsiteX3" fmla="*/ 226027 w 226487"/>
                    <a:gd name="connsiteY3" fmla="*/ 302533 h 541043"/>
                    <a:gd name="connsiteX4" fmla="*/ 226470 w 226487"/>
                    <a:gd name="connsiteY4" fmla="*/ 308529 h 541043"/>
                    <a:gd name="connsiteX5" fmla="*/ 210320 w 226487"/>
                    <a:gd name="connsiteY5" fmla="*/ 527126 h 541043"/>
                    <a:gd name="connsiteX6" fmla="*/ 195351 w 226487"/>
                    <a:gd name="connsiteY6" fmla="*/ 541043 h 541043"/>
                    <a:gd name="connsiteX7" fmla="*/ 75119 w 226487"/>
                    <a:gd name="connsiteY7" fmla="*/ 541043 h 541043"/>
                    <a:gd name="connsiteX8" fmla="*/ 60151 w 226487"/>
                    <a:gd name="connsiteY8" fmla="*/ 527126 h 541043"/>
                    <a:gd name="connsiteX9" fmla="*/ 43558 w 226487"/>
                    <a:gd name="connsiteY9" fmla="*/ 302533 h 541043"/>
                    <a:gd name="connsiteX10" fmla="*/ 12689 w 226487"/>
                    <a:gd name="connsiteY10" fmla="*/ 287354 h 541043"/>
                    <a:gd name="connsiteX11" fmla="*/ 335 w 226487"/>
                    <a:gd name="connsiteY11" fmla="*/ 247588 h 541043"/>
                    <a:gd name="connsiteX12" fmla="*/ 20264 w 226487"/>
                    <a:gd name="connsiteY12" fmla="*/ 73010 h 541043"/>
                    <a:gd name="connsiteX13" fmla="*/ 96852 w 226487"/>
                    <a:gd name="connsiteY13" fmla="*/ 0 h 541043"/>
                    <a:gd name="connsiteX14" fmla="*/ 173589 w 226487"/>
                    <a:gd name="connsiteY14" fmla="*/ 0 h 541043"/>
                    <a:gd name="connsiteX15" fmla="*/ 224752 w 226487"/>
                    <a:gd name="connsiteY15" fmla="*/ 20894 h 541043"/>
                    <a:gd name="connsiteX16" fmla="*/ 226487 w 226487"/>
                    <a:gd name="connsiteY16" fmla="*/ 23257 h 541043"/>
                    <a:gd name="connsiteX0" fmla="*/ 182804 w 226487"/>
                    <a:gd name="connsiteY0" fmla="*/ 247588 h 541043"/>
                    <a:gd name="connsiteX1" fmla="*/ 195158 w 226487"/>
                    <a:gd name="connsiteY1" fmla="*/ 287354 h 541043"/>
                    <a:gd name="connsiteX2" fmla="*/ 226027 w 226487"/>
                    <a:gd name="connsiteY2" fmla="*/ 302533 h 541043"/>
                    <a:gd name="connsiteX3" fmla="*/ 226470 w 226487"/>
                    <a:gd name="connsiteY3" fmla="*/ 308529 h 541043"/>
                    <a:gd name="connsiteX4" fmla="*/ 210320 w 226487"/>
                    <a:gd name="connsiteY4" fmla="*/ 527126 h 541043"/>
                    <a:gd name="connsiteX5" fmla="*/ 195351 w 226487"/>
                    <a:gd name="connsiteY5" fmla="*/ 541043 h 541043"/>
                    <a:gd name="connsiteX6" fmla="*/ 75119 w 226487"/>
                    <a:gd name="connsiteY6" fmla="*/ 541043 h 541043"/>
                    <a:gd name="connsiteX7" fmla="*/ 60151 w 226487"/>
                    <a:gd name="connsiteY7" fmla="*/ 527126 h 541043"/>
                    <a:gd name="connsiteX8" fmla="*/ 43558 w 226487"/>
                    <a:gd name="connsiteY8" fmla="*/ 302533 h 541043"/>
                    <a:gd name="connsiteX9" fmla="*/ 12689 w 226487"/>
                    <a:gd name="connsiteY9" fmla="*/ 287354 h 541043"/>
                    <a:gd name="connsiteX10" fmla="*/ 335 w 226487"/>
                    <a:gd name="connsiteY10" fmla="*/ 247588 h 541043"/>
                    <a:gd name="connsiteX11" fmla="*/ 20264 w 226487"/>
                    <a:gd name="connsiteY11" fmla="*/ 73010 h 541043"/>
                    <a:gd name="connsiteX12" fmla="*/ 96852 w 226487"/>
                    <a:gd name="connsiteY12" fmla="*/ 0 h 541043"/>
                    <a:gd name="connsiteX13" fmla="*/ 173589 w 226487"/>
                    <a:gd name="connsiteY13" fmla="*/ 0 h 541043"/>
                    <a:gd name="connsiteX14" fmla="*/ 224752 w 226487"/>
                    <a:gd name="connsiteY14" fmla="*/ 20894 h 541043"/>
                    <a:gd name="connsiteX15" fmla="*/ 226487 w 226487"/>
                    <a:gd name="connsiteY15" fmla="*/ 23257 h 541043"/>
                    <a:gd name="connsiteX0" fmla="*/ 195158 w 226487"/>
                    <a:gd name="connsiteY0" fmla="*/ 287354 h 541043"/>
                    <a:gd name="connsiteX1" fmla="*/ 226027 w 226487"/>
                    <a:gd name="connsiteY1" fmla="*/ 302533 h 541043"/>
                    <a:gd name="connsiteX2" fmla="*/ 226470 w 226487"/>
                    <a:gd name="connsiteY2" fmla="*/ 308529 h 541043"/>
                    <a:gd name="connsiteX3" fmla="*/ 210320 w 226487"/>
                    <a:gd name="connsiteY3" fmla="*/ 527126 h 541043"/>
                    <a:gd name="connsiteX4" fmla="*/ 195351 w 226487"/>
                    <a:gd name="connsiteY4" fmla="*/ 541043 h 541043"/>
                    <a:gd name="connsiteX5" fmla="*/ 75119 w 226487"/>
                    <a:gd name="connsiteY5" fmla="*/ 541043 h 541043"/>
                    <a:gd name="connsiteX6" fmla="*/ 60151 w 226487"/>
                    <a:gd name="connsiteY6" fmla="*/ 527126 h 541043"/>
                    <a:gd name="connsiteX7" fmla="*/ 43558 w 226487"/>
                    <a:gd name="connsiteY7" fmla="*/ 302533 h 541043"/>
                    <a:gd name="connsiteX8" fmla="*/ 12689 w 226487"/>
                    <a:gd name="connsiteY8" fmla="*/ 287354 h 541043"/>
                    <a:gd name="connsiteX9" fmla="*/ 335 w 226487"/>
                    <a:gd name="connsiteY9" fmla="*/ 247588 h 541043"/>
                    <a:gd name="connsiteX10" fmla="*/ 20264 w 226487"/>
                    <a:gd name="connsiteY10" fmla="*/ 73010 h 541043"/>
                    <a:gd name="connsiteX11" fmla="*/ 96852 w 226487"/>
                    <a:gd name="connsiteY11" fmla="*/ 0 h 541043"/>
                    <a:gd name="connsiteX12" fmla="*/ 173589 w 226487"/>
                    <a:gd name="connsiteY12" fmla="*/ 0 h 541043"/>
                    <a:gd name="connsiteX13" fmla="*/ 224752 w 226487"/>
                    <a:gd name="connsiteY13" fmla="*/ 20894 h 541043"/>
                    <a:gd name="connsiteX14" fmla="*/ 226487 w 226487"/>
                    <a:gd name="connsiteY14" fmla="*/ 23257 h 541043"/>
                    <a:gd name="connsiteX0" fmla="*/ 226027 w 226487"/>
                    <a:gd name="connsiteY0" fmla="*/ 302533 h 541043"/>
                    <a:gd name="connsiteX1" fmla="*/ 226470 w 226487"/>
                    <a:gd name="connsiteY1" fmla="*/ 308529 h 541043"/>
                    <a:gd name="connsiteX2" fmla="*/ 210320 w 226487"/>
                    <a:gd name="connsiteY2" fmla="*/ 527126 h 541043"/>
                    <a:gd name="connsiteX3" fmla="*/ 195351 w 226487"/>
                    <a:gd name="connsiteY3" fmla="*/ 541043 h 541043"/>
                    <a:gd name="connsiteX4" fmla="*/ 75119 w 226487"/>
                    <a:gd name="connsiteY4" fmla="*/ 541043 h 541043"/>
                    <a:gd name="connsiteX5" fmla="*/ 60151 w 226487"/>
                    <a:gd name="connsiteY5" fmla="*/ 527126 h 541043"/>
                    <a:gd name="connsiteX6" fmla="*/ 43558 w 226487"/>
                    <a:gd name="connsiteY6" fmla="*/ 302533 h 541043"/>
                    <a:gd name="connsiteX7" fmla="*/ 12689 w 226487"/>
                    <a:gd name="connsiteY7" fmla="*/ 287354 h 541043"/>
                    <a:gd name="connsiteX8" fmla="*/ 335 w 226487"/>
                    <a:gd name="connsiteY8" fmla="*/ 247588 h 541043"/>
                    <a:gd name="connsiteX9" fmla="*/ 20264 w 226487"/>
                    <a:gd name="connsiteY9" fmla="*/ 73010 h 541043"/>
                    <a:gd name="connsiteX10" fmla="*/ 96852 w 226487"/>
                    <a:gd name="connsiteY10" fmla="*/ 0 h 541043"/>
                    <a:gd name="connsiteX11" fmla="*/ 173589 w 226487"/>
                    <a:gd name="connsiteY11" fmla="*/ 0 h 541043"/>
                    <a:gd name="connsiteX12" fmla="*/ 224752 w 226487"/>
                    <a:gd name="connsiteY12" fmla="*/ 20894 h 541043"/>
                    <a:gd name="connsiteX13" fmla="*/ 226487 w 226487"/>
                    <a:gd name="connsiteY13" fmla="*/ 23257 h 541043"/>
                    <a:gd name="connsiteX0" fmla="*/ 226470 w 226487"/>
                    <a:gd name="connsiteY0" fmla="*/ 308529 h 541043"/>
                    <a:gd name="connsiteX1" fmla="*/ 210320 w 226487"/>
                    <a:gd name="connsiteY1" fmla="*/ 527126 h 541043"/>
                    <a:gd name="connsiteX2" fmla="*/ 195351 w 226487"/>
                    <a:gd name="connsiteY2" fmla="*/ 541043 h 541043"/>
                    <a:gd name="connsiteX3" fmla="*/ 75119 w 226487"/>
                    <a:gd name="connsiteY3" fmla="*/ 541043 h 541043"/>
                    <a:gd name="connsiteX4" fmla="*/ 60151 w 226487"/>
                    <a:gd name="connsiteY4" fmla="*/ 527126 h 541043"/>
                    <a:gd name="connsiteX5" fmla="*/ 43558 w 226487"/>
                    <a:gd name="connsiteY5" fmla="*/ 302533 h 541043"/>
                    <a:gd name="connsiteX6" fmla="*/ 12689 w 226487"/>
                    <a:gd name="connsiteY6" fmla="*/ 287354 h 541043"/>
                    <a:gd name="connsiteX7" fmla="*/ 335 w 226487"/>
                    <a:gd name="connsiteY7" fmla="*/ 247588 h 541043"/>
                    <a:gd name="connsiteX8" fmla="*/ 20264 w 226487"/>
                    <a:gd name="connsiteY8" fmla="*/ 73010 h 541043"/>
                    <a:gd name="connsiteX9" fmla="*/ 96852 w 226487"/>
                    <a:gd name="connsiteY9" fmla="*/ 0 h 541043"/>
                    <a:gd name="connsiteX10" fmla="*/ 173589 w 226487"/>
                    <a:gd name="connsiteY10" fmla="*/ 0 h 541043"/>
                    <a:gd name="connsiteX11" fmla="*/ 224752 w 226487"/>
                    <a:gd name="connsiteY11" fmla="*/ 20894 h 541043"/>
                    <a:gd name="connsiteX12" fmla="*/ 226487 w 226487"/>
                    <a:gd name="connsiteY12" fmla="*/ 23257 h 54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6487" h="541043">
                      <a:moveTo>
                        <a:pt x="226470" y="308529"/>
                      </a:moveTo>
                      <a:lnTo>
                        <a:pt x="210320" y="527126"/>
                      </a:lnTo>
                      <a:cubicBezTo>
                        <a:pt x="209779" y="534971"/>
                        <a:pt x="203227" y="541043"/>
                        <a:pt x="195351" y="541043"/>
                      </a:cubicBezTo>
                      <a:lnTo>
                        <a:pt x="75119" y="541043"/>
                      </a:lnTo>
                      <a:cubicBezTo>
                        <a:pt x="67274" y="541043"/>
                        <a:pt x="60722" y="534971"/>
                        <a:pt x="60151" y="527126"/>
                      </a:cubicBezTo>
                      <a:lnTo>
                        <a:pt x="43558" y="302533"/>
                      </a:lnTo>
                      <a:cubicBezTo>
                        <a:pt x="31746" y="301872"/>
                        <a:pt x="20895" y="296521"/>
                        <a:pt x="12689" y="287354"/>
                      </a:cubicBezTo>
                      <a:cubicBezTo>
                        <a:pt x="3191" y="276713"/>
                        <a:pt x="-1318" y="262196"/>
                        <a:pt x="335" y="247588"/>
                      </a:cubicBezTo>
                      <a:lnTo>
                        <a:pt x="20264" y="73010"/>
                      </a:lnTo>
                      <a:cubicBezTo>
                        <a:pt x="25013" y="31381"/>
                        <a:pt x="57957" y="0"/>
                        <a:pt x="96852" y="0"/>
                      </a:cubicBezTo>
                      <a:lnTo>
                        <a:pt x="173589" y="0"/>
                      </a:lnTo>
                      <a:cubicBezTo>
                        <a:pt x="193067" y="0"/>
                        <a:pt x="211049" y="7845"/>
                        <a:pt x="224752" y="20894"/>
                      </a:cubicBezTo>
                      <a:lnTo>
                        <a:pt x="226487" y="23257"/>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nvGrpSpPr>
              <p:cNvPr id="25" name="Group 24">
                <a:extLst>
                  <a:ext uri="{FF2B5EF4-FFF2-40B4-BE49-F238E27FC236}">
                    <a16:creationId xmlns:a16="http://schemas.microsoft.com/office/drawing/2014/main" id="{1DD2B7FC-CCB9-7278-ECB3-A6F83BE97135}"/>
                  </a:ext>
                </a:extLst>
              </p:cNvPr>
              <p:cNvGrpSpPr/>
              <p:nvPr/>
            </p:nvGrpSpPr>
            <p:grpSpPr>
              <a:xfrm flipH="1">
                <a:off x="9276483" y="450850"/>
                <a:ext cx="214113" cy="681980"/>
                <a:chOff x="9734746" y="1287565"/>
                <a:chExt cx="226487" cy="721393"/>
              </a:xfrm>
            </p:grpSpPr>
            <p:sp>
              <p:nvSpPr>
                <p:cNvPr id="26" name="Freeform 23">
                  <a:extLst>
                    <a:ext uri="{FF2B5EF4-FFF2-40B4-BE49-F238E27FC236}">
                      <a16:creationId xmlns:a16="http://schemas.microsoft.com/office/drawing/2014/main" id="{8533036D-792B-2E9A-9F83-AF06A47A27BE}"/>
                    </a:ext>
                  </a:extLst>
                </p:cNvPr>
                <p:cNvSpPr/>
                <p:nvPr/>
              </p:nvSpPr>
              <p:spPr>
                <a:xfrm>
                  <a:off x="9794832" y="1287565"/>
                  <a:ext cx="150290" cy="150290"/>
                </a:xfrm>
                <a:custGeom>
                  <a:avLst/>
                  <a:gdLst>
                    <a:gd name="connsiteX0" fmla="*/ 75145 w 150290"/>
                    <a:gd name="connsiteY0" fmla="*/ 0 h 150290"/>
                    <a:gd name="connsiteX1" fmla="*/ 150290 w 150290"/>
                    <a:gd name="connsiteY1" fmla="*/ 75145 h 150290"/>
                    <a:gd name="connsiteX2" fmla="*/ 75145 w 150290"/>
                    <a:gd name="connsiteY2" fmla="*/ 150290 h 150290"/>
                    <a:gd name="connsiteX3" fmla="*/ 0 w 150290"/>
                    <a:gd name="connsiteY3" fmla="*/ 75145 h 150290"/>
                    <a:gd name="connsiteX4" fmla="*/ 75145 w 150290"/>
                    <a:gd name="connsiteY4" fmla="*/ 0 h 150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90" h="150290">
                      <a:moveTo>
                        <a:pt x="75145" y="0"/>
                      </a:moveTo>
                      <a:cubicBezTo>
                        <a:pt x="116595" y="0"/>
                        <a:pt x="150290" y="33725"/>
                        <a:pt x="150290" y="75145"/>
                      </a:cubicBezTo>
                      <a:cubicBezTo>
                        <a:pt x="150290" y="116565"/>
                        <a:pt x="116566" y="150290"/>
                        <a:pt x="75145" y="150290"/>
                      </a:cubicBezTo>
                      <a:cubicBezTo>
                        <a:pt x="33725" y="150290"/>
                        <a:pt x="0" y="116565"/>
                        <a:pt x="0" y="75145"/>
                      </a:cubicBezTo>
                      <a:cubicBezTo>
                        <a:pt x="0" y="33725"/>
                        <a:pt x="33725" y="0"/>
                        <a:pt x="75145" y="0"/>
                      </a:cubicBez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7" name="Freeform 24">
                  <a:extLst>
                    <a:ext uri="{FF2B5EF4-FFF2-40B4-BE49-F238E27FC236}">
                      <a16:creationId xmlns:a16="http://schemas.microsoft.com/office/drawing/2014/main" id="{68515642-FACA-AF7F-EB72-2641D169E849}"/>
                    </a:ext>
                  </a:extLst>
                </p:cNvPr>
                <p:cNvSpPr/>
                <p:nvPr/>
              </p:nvSpPr>
              <p:spPr>
                <a:xfrm>
                  <a:off x="9734746" y="1467915"/>
                  <a:ext cx="226487" cy="541043"/>
                </a:xfrm>
                <a:custGeom>
                  <a:avLst/>
                  <a:gdLst>
                    <a:gd name="connsiteX0" fmla="*/ 96852 w 226487"/>
                    <a:gd name="connsiteY0" fmla="*/ 0 h 541043"/>
                    <a:gd name="connsiteX1" fmla="*/ 173589 w 226487"/>
                    <a:gd name="connsiteY1" fmla="*/ 0 h 541043"/>
                    <a:gd name="connsiteX2" fmla="*/ 224752 w 226487"/>
                    <a:gd name="connsiteY2" fmla="*/ 20894 h 541043"/>
                    <a:gd name="connsiteX3" fmla="*/ 226487 w 226487"/>
                    <a:gd name="connsiteY3" fmla="*/ 23257 h 541043"/>
                    <a:gd name="connsiteX4" fmla="*/ 211234 w 226487"/>
                    <a:gd name="connsiteY4" fmla="*/ 44040 h 541043"/>
                    <a:gd name="connsiteX5" fmla="*/ 202733 w 226487"/>
                    <a:gd name="connsiteY5" fmla="*/ 73010 h 541043"/>
                    <a:gd name="connsiteX6" fmla="*/ 182804 w 226487"/>
                    <a:gd name="connsiteY6" fmla="*/ 247588 h 541043"/>
                    <a:gd name="connsiteX7" fmla="*/ 195158 w 226487"/>
                    <a:gd name="connsiteY7" fmla="*/ 287354 h 541043"/>
                    <a:gd name="connsiteX8" fmla="*/ 226027 w 226487"/>
                    <a:gd name="connsiteY8" fmla="*/ 302533 h 541043"/>
                    <a:gd name="connsiteX9" fmla="*/ 226470 w 226487"/>
                    <a:gd name="connsiteY9" fmla="*/ 308529 h 541043"/>
                    <a:gd name="connsiteX10" fmla="*/ 210320 w 226487"/>
                    <a:gd name="connsiteY10" fmla="*/ 527126 h 541043"/>
                    <a:gd name="connsiteX11" fmla="*/ 195351 w 226487"/>
                    <a:gd name="connsiteY11" fmla="*/ 541043 h 541043"/>
                    <a:gd name="connsiteX12" fmla="*/ 75119 w 226487"/>
                    <a:gd name="connsiteY12" fmla="*/ 541043 h 541043"/>
                    <a:gd name="connsiteX13" fmla="*/ 60151 w 226487"/>
                    <a:gd name="connsiteY13" fmla="*/ 527126 h 541043"/>
                    <a:gd name="connsiteX14" fmla="*/ 43558 w 226487"/>
                    <a:gd name="connsiteY14" fmla="*/ 302533 h 541043"/>
                    <a:gd name="connsiteX15" fmla="*/ 12689 w 226487"/>
                    <a:gd name="connsiteY15" fmla="*/ 287354 h 541043"/>
                    <a:gd name="connsiteX16" fmla="*/ 335 w 226487"/>
                    <a:gd name="connsiteY16" fmla="*/ 247588 h 541043"/>
                    <a:gd name="connsiteX17" fmla="*/ 20264 w 226487"/>
                    <a:gd name="connsiteY17" fmla="*/ 73010 h 541043"/>
                    <a:gd name="connsiteX18" fmla="*/ 96852 w 226487"/>
                    <a:gd name="connsiteY18" fmla="*/ 0 h 541043"/>
                    <a:gd name="connsiteX0" fmla="*/ 211234 w 233407"/>
                    <a:gd name="connsiteY0" fmla="*/ 44040 h 541043"/>
                    <a:gd name="connsiteX1" fmla="*/ 202733 w 233407"/>
                    <a:gd name="connsiteY1" fmla="*/ 73010 h 541043"/>
                    <a:gd name="connsiteX2" fmla="*/ 182804 w 233407"/>
                    <a:gd name="connsiteY2" fmla="*/ 247588 h 541043"/>
                    <a:gd name="connsiteX3" fmla="*/ 195158 w 233407"/>
                    <a:gd name="connsiteY3" fmla="*/ 287354 h 541043"/>
                    <a:gd name="connsiteX4" fmla="*/ 226027 w 233407"/>
                    <a:gd name="connsiteY4" fmla="*/ 302533 h 541043"/>
                    <a:gd name="connsiteX5" fmla="*/ 226470 w 233407"/>
                    <a:gd name="connsiteY5" fmla="*/ 308529 h 541043"/>
                    <a:gd name="connsiteX6" fmla="*/ 210320 w 233407"/>
                    <a:gd name="connsiteY6" fmla="*/ 527126 h 541043"/>
                    <a:gd name="connsiteX7" fmla="*/ 195351 w 233407"/>
                    <a:gd name="connsiteY7" fmla="*/ 541043 h 541043"/>
                    <a:gd name="connsiteX8" fmla="*/ 75119 w 233407"/>
                    <a:gd name="connsiteY8" fmla="*/ 541043 h 541043"/>
                    <a:gd name="connsiteX9" fmla="*/ 60151 w 233407"/>
                    <a:gd name="connsiteY9" fmla="*/ 527126 h 541043"/>
                    <a:gd name="connsiteX10" fmla="*/ 43558 w 233407"/>
                    <a:gd name="connsiteY10" fmla="*/ 302533 h 541043"/>
                    <a:gd name="connsiteX11" fmla="*/ 12689 w 233407"/>
                    <a:gd name="connsiteY11" fmla="*/ 287354 h 541043"/>
                    <a:gd name="connsiteX12" fmla="*/ 335 w 233407"/>
                    <a:gd name="connsiteY12" fmla="*/ 247588 h 541043"/>
                    <a:gd name="connsiteX13" fmla="*/ 20264 w 233407"/>
                    <a:gd name="connsiteY13" fmla="*/ 73010 h 541043"/>
                    <a:gd name="connsiteX14" fmla="*/ 96852 w 233407"/>
                    <a:gd name="connsiteY14" fmla="*/ 0 h 541043"/>
                    <a:gd name="connsiteX15" fmla="*/ 173589 w 233407"/>
                    <a:gd name="connsiteY15" fmla="*/ 0 h 541043"/>
                    <a:gd name="connsiteX16" fmla="*/ 224752 w 233407"/>
                    <a:gd name="connsiteY16" fmla="*/ 20894 h 541043"/>
                    <a:gd name="connsiteX17" fmla="*/ 226487 w 233407"/>
                    <a:gd name="connsiteY17" fmla="*/ 23257 h 541043"/>
                    <a:gd name="connsiteX18" fmla="*/ 233407 w 233407"/>
                    <a:gd name="connsiteY18" fmla="*/ 66213 h 541043"/>
                    <a:gd name="connsiteX0" fmla="*/ 211234 w 226487"/>
                    <a:gd name="connsiteY0" fmla="*/ 44040 h 541043"/>
                    <a:gd name="connsiteX1" fmla="*/ 202733 w 226487"/>
                    <a:gd name="connsiteY1" fmla="*/ 73010 h 541043"/>
                    <a:gd name="connsiteX2" fmla="*/ 182804 w 226487"/>
                    <a:gd name="connsiteY2" fmla="*/ 247588 h 541043"/>
                    <a:gd name="connsiteX3" fmla="*/ 195158 w 226487"/>
                    <a:gd name="connsiteY3" fmla="*/ 287354 h 541043"/>
                    <a:gd name="connsiteX4" fmla="*/ 226027 w 226487"/>
                    <a:gd name="connsiteY4" fmla="*/ 302533 h 541043"/>
                    <a:gd name="connsiteX5" fmla="*/ 226470 w 226487"/>
                    <a:gd name="connsiteY5" fmla="*/ 308529 h 541043"/>
                    <a:gd name="connsiteX6" fmla="*/ 210320 w 226487"/>
                    <a:gd name="connsiteY6" fmla="*/ 527126 h 541043"/>
                    <a:gd name="connsiteX7" fmla="*/ 195351 w 226487"/>
                    <a:gd name="connsiteY7" fmla="*/ 541043 h 541043"/>
                    <a:gd name="connsiteX8" fmla="*/ 75119 w 226487"/>
                    <a:gd name="connsiteY8" fmla="*/ 541043 h 541043"/>
                    <a:gd name="connsiteX9" fmla="*/ 60151 w 226487"/>
                    <a:gd name="connsiteY9" fmla="*/ 527126 h 541043"/>
                    <a:gd name="connsiteX10" fmla="*/ 43558 w 226487"/>
                    <a:gd name="connsiteY10" fmla="*/ 302533 h 541043"/>
                    <a:gd name="connsiteX11" fmla="*/ 12689 w 226487"/>
                    <a:gd name="connsiteY11" fmla="*/ 287354 h 541043"/>
                    <a:gd name="connsiteX12" fmla="*/ 335 w 226487"/>
                    <a:gd name="connsiteY12" fmla="*/ 247588 h 541043"/>
                    <a:gd name="connsiteX13" fmla="*/ 20264 w 226487"/>
                    <a:gd name="connsiteY13" fmla="*/ 73010 h 541043"/>
                    <a:gd name="connsiteX14" fmla="*/ 96852 w 226487"/>
                    <a:gd name="connsiteY14" fmla="*/ 0 h 541043"/>
                    <a:gd name="connsiteX15" fmla="*/ 173589 w 226487"/>
                    <a:gd name="connsiteY15" fmla="*/ 0 h 541043"/>
                    <a:gd name="connsiteX16" fmla="*/ 224752 w 226487"/>
                    <a:gd name="connsiteY16" fmla="*/ 20894 h 541043"/>
                    <a:gd name="connsiteX17" fmla="*/ 226487 w 226487"/>
                    <a:gd name="connsiteY17" fmla="*/ 23257 h 541043"/>
                    <a:gd name="connsiteX0" fmla="*/ 202733 w 226487"/>
                    <a:gd name="connsiteY0" fmla="*/ 73010 h 541043"/>
                    <a:gd name="connsiteX1" fmla="*/ 182804 w 226487"/>
                    <a:gd name="connsiteY1" fmla="*/ 247588 h 541043"/>
                    <a:gd name="connsiteX2" fmla="*/ 195158 w 226487"/>
                    <a:gd name="connsiteY2" fmla="*/ 287354 h 541043"/>
                    <a:gd name="connsiteX3" fmla="*/ 226027 w 226487"/>
                    <a:gd name="connsiteY3" fmla="*/ 302533 h 541043"/>
                    <a:gd name="connsiteX4" fmla="*/ 226470 w 226487"/>
                    <a:gd name="connsiteY4" fmla="*/ 308529 h 541043"/>
                    <a:gd name="connsiteX5" fmla="*/ 210320 w 226487"/>
                    <a:gd name="connsiteY5" fmla="*/ 527126 h 541043"/>
                    <a:gd name="connsiteX6" fmla="*/ 195351 w 226487"/>
                    <a:gd name="connsiteY6" fmla="*/ 541043 h 541043"/>
                    <a:gd name="connsiteX7" fmla="*/ 75119 w 226487"/>
                    <a:gd name="connsiteY7" fmla="*/ 541043 h 541043"/>
                    <a:gd name="connsiteX8" fmla="*/ 60151 w 226487"/>
                    <a:gd name="connsiteY8" fmla="*/ 527126 h 541043"/>
                    <a:gd name="connsiteX9" fmla="*/ 43558 w 226487"/>
                    <a:gd name="connsiteY9" fmla="*/ 302533 h 541043"/>
                    <a:gd name="connsiteX10" fmla="*/ 12689 w 226487"/>
                    <a:gd name="connsiteY10" fmla="*/ 287354 h 541043"/>
                    <a:gd name="connsiteX11" fmla="*/ 335 w 226487"/>
                    <a:gd name="connsiteY11" fmla="*/ 247588 h 541043"/>
                    <a:gd name="connsiteX12" fmla="*/ 20264 w 226487"/>
                    <a:gd name="connsiteY12" fmla="*/ 73010 h 541043"/>
                    <a:gd name="connsiteX13" fmla="*/ 96852 w 226487"/>
                    <a:gd name="connsiteY13" fmla="*/ 0 h 541043"/>
                    <a:gd name="connsiteX14" fmla="*/ 173589 w 226487"/>
                    <a:gd name="connsiteY14" fmla="*/ 0 h 541043"/>
                    <a:gd name="connsiteX15" fmla="*/ 224752 w 226487"/>
                    <a:gd name="connsiteY15" fmla="*/ 20894 h 541043"/>
                    <a:gd name="connsiteX16" fmla="*/ 226487 w 226487"/>
                    <a:gd name="connsiteY16" fmla="*/ 23257 h 541043"/>
                    <a:gd name="connsiteX0" fmla="*/ 182804 w 226487"/>
                    <a:gd name="connsiteY0" fmla="*/ 247588 h 541043"/>
                    <a:gd name="connsiteX1" fmla="*/ 195158 w 226487"/>
                    <a:gd name="connsiteY1" fmla="*/ 287354 h 541043"/>
                    <a:gd name="connsiteX2" fmla="*/ 226027 w 226487"/>
                    <a:gd name="connsiteY2" fmla="*/ 302533 h 541043"/>
                    <a:gd name="connsiteX3" fmla="*/ 226470 w 226487"/>
                    <a:gd name="connsiteY3" fmla="*/ 308529 h 541043"/>
                    <a:gd name="connsiteX4" fmla="*/ 210320 w 226487"/>
                    <a:gd name="connsiteY4" fmla="*/ 527126 h 541043"/>
                    <a:gd name="connsiteX5" fmla="*/ 195351 w 226487"/>
                    <a:gd name="connsiteY5" fmla="*/ 541043 h 541043"/>
                    <a:gd name="connsiteX6" fmla="*/ 75119 w 226487"/>
                    <a:gd name="connsiteY6" fmla="*/ 541043 h 541043"/>
                    <a:gd name="connsiteX7" fmla="*/ 60151 w 226487"/>
                    <a:gd name="connsiteY7" fmla="*/ 527126 h 541043"/>
                    <a:gd name="connsiteX8" fmla="*/ 43558 w 226487"/>
                    <a:gd name="connsiteY8" fmla="*/ 302533 h 541043"/>
                    <a:gd name="connsiteX9" fmla="*/ 12689 w 226487"/>
                    <a:gd name="connsiteY9" fmla="*/ 287354 h 541043"/>
                    <a:gd name="connsiteX10" fmla="*/ 335 w 226487"/>
                    <a:gd name="connsiteY10" fmla="*/ 247588 h 541043"/>
                    <a:gd name="connsiteX11" fmla="*/ 20264 w 226487"/>
                    <a:gd name="connsiteY11" fmla="*/ 73010 h 541043"/>
                    <a:gd name="connsiteX12" fmla="*/ 96852 w 226487"/>
                    <a:gd name="connsiteY12" fmla="*/ 0 h 541043"/>
                    <a:gd name="connsiteX13" fmla="*/ 173589 w 226487"/>
                    <a:gd name="connsiteY13" fmla="*/ 0 h 541043"/>
                    <a:gd name="connsiteX14" fmla="*/ 224752 w 226487"/>
                    <a:gd name="connsiteY14" fmla="*/ 20894 h 541043"/>
                    <a:gd name="connsiteX15" fmla="*/ 226487 w 226487"/>
                    <a:gd name="connsiteY15" fmla="*/ 23257 h 541043"/>
                    <a:gd name="connsiteX0" fmla="*/ 195158 w 226487"/>
                    <a:gd name="connsiteY0" fmla="*/ 287354 h 541043"/>
                    <a:gd name="connsiteX1" fmla="*/ 226027 w 226487"/>
                    <a:gd name="connsiteY1" fmla="*/ 302533 h 541043"/>
                    <a:gd name="connsiteX2" fmla="*/ 226470 w 226487"/>
                    <a:gd name="connsiteY2" fmla="*/ 308529 h 541043"/>
                    <a:gd name="connsiteX3" fmla="*/ 210320 w 226487"/>
                    <a:gd name="connsiteY3" fmla="*/ 527126 h 541043"/>
                    <a:gd name="connsiteX4" fmla="*/ 195351 w 226487"/>
                    <a:gd name="connsiteY4" fmla="*/ 541043 h 541043"/>
                    <a:gd name="connsiteX5" fmla="*/ 75119 w 226487"/>
                    <a:gd name="connsiteY5" fmla="*/ 541043 h 541043"/>
                    <a:gd name="connsiteX6" fmla="*/ 60151 w 226487"/>
                    <a:gd name="connsiteY6" fmla="*/ 527126 h 541043"/>
                    <a:gd name="connsiteX7" fmla="*/ 43558 w 226487"/>
                    <a:gd name="connsiteY7" fmla="*/ 302533 h 541043"/>
                    <a:gd name="connsiteX8" fmla="*/ 12689 w 226487"/>
                    <a:gd name="connsiteY8" fmla="*/ 287354 h 541043"/>
                    <a:gd name="connsiteX9" fmla="*/ 335 w 226487"/>
                    <a:gd name="connsiteY9" fmla="*/ 247588 h 541043"/>
                    <a:gd name="connsiteX10" fmla="*/ 20264 w 226487"/>
                    <a:gd name="connsiteY10" fmla="*/ 73010 h 541043"/>
                    <a:gd name="connsiteX11" fmla="*/ 96852 w 226487"/>
                    <a:gd name="connsiteY11" fmla="*/ 0 h 541043"/>
                    <a:gd name="connsiteX12" fmla="*/ 173589 w 226487"/>
                    <a:gd name="connsiteY12" fmla="*/ 0 h 541043"/>
                    <a:gd name="connsiteX13" fmla="*/ 224752 w 226487"/>
                    <a:gd name="connsiteY13" fmla="*/ 20894 h 541043"/>
                    <a:gd name="connsiteX14" fmla="*/ 226487 w 226487"/>
                    <a:gd name="connsiteY14" fmla="*/ 23257 h 541043"/>
                    <a:gd name="connsiteX0" fmla="*/ 226027 w 226487"/>
                    <a:gd name="connsiteY0" fmla="*/ 302533 h 541043"/>
                    <a:gd name="connsiteX1" fmla="*/ 226470 w 226487"/>
                    <a:gd name="connsiteY1" fmla="*/ 308529 h 541043"/>
                    <a:gd name="connsiteX2" fmla="*/ 210320 w 226487"/>
                    <a:gd name="connsiteY2" fmla="*/ 527126 h 541043"/>
                    <a:gd name="connsiteX3" fmla="*/ 195351 w 226487"/>
                    <a:gd name="connsiteY3" fmla="*/ 541043 h 541043"/>
                    <a:gd name="connsiteX4" fmla="*/ 75119 w 226487"/>
                    <a:gd name="connsiteY4" fmla="*/ 541043 h 541043"/>
                    <a:gd name="connsiteX5" fmla="*/ 60151 w 226487"/>
                    <a:gd name="connsiteY5" fmla="*/ 527126 h 541043"/>
                    <a:gd name="connsiteX6" fmla="*/ 43558 w 226487"/>
                    <a:gd name="connsiteY6" fmla="*/ 302533 h 541043"/>
                    <a:gd name="connsiteX7" fmla="*/ 12689 w 226487"/>
                    <a:gd name="connsiteY7" fmla="*/ 287354 h 541043"/>
                    <a:gd name="connsiteX8" fmla="*/ 335 w 226487"/>
                    <a:gd name="connsiteY8" fmla="*/ 247588 h 541043"/>
                    <a:gd name="connsiteX9" fmla="*/ 20264 w 226487"/>
                    <a:gd name="connsiteY9" fmla="*/ 73010 h 541043"/>
                    <a:gd name="connsiteX10" fmla="*/ 96852 w 226487"/>
                    <a:gd name="connsiteY10" fmla="*/ 0 h 541043"/>
                    <a:gd name="connsiteX11" fmla="*/ 173589 w 226487"/>
                    <a:gd name="connsiteY11" fmla="*/ 0 h 541043"/>
                    <a:gd name="connsiteX12" fmla="*/ 224752 w 226487"/>
                    <a:gd name="connsiteY12" fmla="*/ 20894 h 541043"/>
                    <a:gd name="connsiteX13" fmla="*/ 226487 w 226487"/>
                    <a:gd name="connsiteY13" fmla="*/ 23257 h 541043"/>
                    <a:gd name="connsiteX0" fmla="*/ 226470 w 226487"/>
                    <a:gd name="connsiteY0" fmla="*/ 308529 h 541043"/>
                    <a:gd name="connsiteX1" fmla="*/ 210320 w 226487"/>
                    <a:gd name="connsiteY1" fmla="*/ 527126 h 541043"/>
                    <a:gd name="connsiteX2" fmla="*/ 195351 w 226487"/>
                    <a:gd name="connsiteY2" fmla="*/ 541043 h 541043"/>
                    <a:gd name="connsiteX3" fmla="*/ 75119 w 226487"/>
                    <a:gd name="connsiteY3" fmla="*/ 541043 h 541043"/>
                    <a:gd name="connsiteX4" fmla="*/ 60151 w 226487"/>
                    <a:gd name="connsiteY4" fmla="*/ 527126 h 541043"/>
                    <a:gd name="connsiteX5" fmla="*/ 43558 w 226487"/>
                    <a:gd name="connsiteY5" fmla="*/ 302533 h 541043"/>
                    <a:gd name="connsiteX6" fmla="*/ 12689 w 226487"/>
                    <a:gd name="connsiteY6" fmla="*/ 287354 h 541043"/>
                    <a:gd name="connsiteX7" fmla="*/ 335 w 226487"/>
                    <a:gd name="connsiteY7" fmla="*/ 247588 h 541043"/>
                    <a:gd name="connsiteX8" fmla="*/ 20264 w 226487"/>
                    <a:gd name="connsiteY8" fmla="*/ 73010 h 541043"/>
                    <a:gd name="connsiteX9" fmla="*/ 96852 w 226487"/>
                    <a:gd name="connsiteY9" fmla="*/ 0 h 541043"/>
                    <a:gd name="connsiteX10" fmla="*/ 173589 w 226487"/>
                    <a:gd name="connsiteY10" fmla="*/ 0 h 541043"/>
                    <a:gd name="connsiteX11" fmla="*/ 224752 w 226487"/>
                    <a:gd name="connsiteY11" fmla="*/ 20894 h 541043"/>
                    <a:gd name="connsiteX12" fmla="*/ 226487 w 226487"/>
                    <a:gd name="connsiteY12" fmla="*/ 23257 h 54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6487" h="541043">
                      <a:moveTo>
                        <a:pt x="226470" y="308529"/>
                      </a:moveTo>
                      <a:lnTo>
                        <a:pt x="210320" y="527126"/>
                      </a:lnTo>
                      <a:cubicBezTo>
                        <a:pt x="209779" y="534971"/>
                        <a:pt x="203227" y="541043"/>
                        <a:pt x="195351" y="541043"/>
                      </a:cubicBezTo>
                      <a:lnTo>
                        <a:pt x="75119" y="541043"/>
                      </a:lnTo>
                      <a:cubicBezTo>
                        <a:pt x="67274" y="541043"/>
                        <a:pt x="60722" y="534971"/>
                        <a:pt x="60151" y="527126"/>
                      </a:cubicBezTo>
                      <a:lnTo>
                        <a:pt x="43558" y="302533"/>
                      </a:lnTo>
                      <a:cubicBezTo>
                        <a:pt x="31746" y="301872"/>
                        <a:pt x="20895" y="296521"/>
                        <a:pt x="12689" y="287354"/>
                      </a:cubicBezTo>
                      <a:cubicBezTo>
                        <a:pt x="3191" y="276713"/>
                        <a:pt x="-1318" y="262196"/>
                        <a:pt x="335" y="247588"/>
                      </a:cubicBezTo>
                      <a:lnTo>
                        <a:pt x="20264" y="73010"/>
                      </a:lnTo>
                      <a:cubicBezTo>
                        <a:pt x="25013" y="31381"/>
                        <a:pt x="57957" y="0"/>
                        <a:pt x="96852" y="0"/>
                      </a:cubicBezTo>
                      <a:lnTo>
                        <a:pt x="173589" y="0"/>
                      </a:lnTo>
                      <a:cubicBezTo>
                        <a:pt x="193067" y="0"/>
                        <a:pt x="211049" y="7845"/>
                        <a:pt x="224752" y="20894"/>
                      </a:cubicBezTo>
                      <a:lnTo>
                        <a:pt x="226487" y="23257"/>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1" name="Freeform 6">
              <a:extLst>
                <a:ext uri="{FF2B5EF4-FFF2-40B4-BE49-F238E27FC236}">
                  <a16:creationId xmlns:a16="http://schemas.microsoft.com/office/drawing/2014/main" id="{217E4EF7-BF4C-748F-CA36-F18C8C3826B8}"/>
                </a:ext>
              </a:extLst>
            </p:cNvPr>
            <p:cNvSpPr/>
            <p:nvPr/>
          </p:nvSpPr>
          <p:spPr>
            <a:xfrm>
              <a:off x="6740557" y="4281543"/>
              <a:ext cx="512886" cy="1367797"/>
            </a:xfrm>
            <a:custGeom>
              <a:avLst/>
              <a:gdLst>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4 w 270502"/>
                <a:gd name="connsiteY39" fmla="*/ 30058 h 721392"/>
                <a:gd name="connsiteX40" fmla="*/ 90148 w 270502"/>
                <a:gd name="connsiteY40" fmla="*/ 75145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90149 w 270502"/>
                <a:gd name="connsiteY44" fmla="*/ 75145 h 721392"/>
                <a:gd name="connsiteX45" fmla="*/ 103382 w 270502"/>
                <a:gd name="connsiteY45" fmla="*/ 43280 h 721392"/>
                <a:gd name="connsiteX46" fmla="*/ 135235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90149 w 270502"/>
                <a:gd name="connsiteY45" fmla="*/ 75145 h 721392"/>
                <a:gd name="connsiteX46" fmla="*/ 135235 w 270502"/>
                <a:gd name="connsiteY46" fmla="*/ 30058 h 721392"/>
                <a:gd name="connsiteX47" fmla="*/ 135234 w 270502"/>
                <a:gd name="connsiteY47" fmla="*/ 30058 h 721392"/>
                <a:gd name="connsiteX48" fmla="*/ 135234 w 270502"/>
                <a:gd name="connsiteY48" fmla="*/ 0 h 721392"/>
                <a:gd name="connsiteX49" fmla="*/ 210379 w 270502"/>
                <a:gd name="connsiteY49" fmla="*/ 75145 h 721392"/>
                <a:gd name="connsiteX50" fmla="*/ 135234 w 270502"/>
                <a:gd name="connsiteY50" fmla="*/ 150290 h 721392"/>
                <a:gd name="connsiteX51" fmla="*/ 60089 w 270502"/>
                <a:gd name="connsiteY51" fmla="*/ 75145 h 721392"/>
                <a:gd name="connsiteX52" fmla="*/ 135234 w 270502"/>
                <a:gd name="connsiteY52"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0 h 721392"/>
                <a:gd name="connsiteX47" fmla="*/ 210379 w 270502"/>
                <a:gd name="connsiteY47" fmla="*/ 75145 h 721392"/>
                <a:gd name="connsiteX48" fmla="*/ 135234 w 270502"/>
                <a:gd name="connsiteY48" fmla="*/ 150290 h 721392"/>
                <a:gd name="connsiteX49" fmla="*/ 60089 w 270502"/>
                <a:gd name="connsiteY49" fmla="*/ 75145 h 721392"/>
                <a:gd name="connsiteX50" fmla="*/ 135234 w 270502"/>
                <a:gd name="connsiteY50"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5 w 270502"/>
                <a:gd name="connsiteY44" fmla="*/ 30058 h 721392"/>
                <a:gd name="connsiteX45" fmla="*/ 135234 w 270502"/>
                <a:gd name="connsiteY45" fmla="*/ 0 h 721392"/>
                <a:gd name="connsiteX46" fmla="*/ 210379 w 270502"/>
                <a:gd name="connsiteY46" fmla="*/ 75145 h 721392"/>
                <a:gd name="connsiteX47" fmla="*/ 135234 w 270502"/>
                <a:gd name="connsiteY47" fmla="*/ 150290 h 721392"/>
                <a:gd name="connsiteX48" fmla="*/ 60089 w 270502"/>
                <a:gd name="connsiteY48" fmla="*/ 75145 h 721392"/>
                <a:gd name="connsiteX49" fmla="*/ 135234 w 270502"/>
                <a:gd name="connsiteY49"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03371 w 270502"/>
                <a:gd name="connsiteY40" fmla="*/ 107010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4 w 270502"/>
                <a:gd name="connsiteY44" fmla="*/ 0 h 721392"/>
                <a:gd name="connsiteX45" fmla="*/ 210379 w 270502"/>
                <a:gd name="connsiteY45" fmla="*/ 75145 h 721392"/>
                <a:gd name="connsiteX46" fmla="*/ 135234 w 270502"/>
                <a:gd name="connsiteY46" fmla="*/ 150290 h 721392"/>
                <a:gd name="connsiteX47" fmla="*/ 60089 w 270502"/>
                <a:gd name="connsiteY47" fmla="*/ 75145 h 721392"/>
                <a:gd name="connsiteX48" fmla="*/ 135234 w 270502"/>
                <a:gd name="connsiteY48"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120232 h 721392"/>
                <a:gd name="connsiteX41" fmla="*/ 135234 w 270502"/>
                <a:gd name="connsiteY41" fmla="*/ 120232 h 721392"/>
                <a:gd name="connsiteX42" fmla="*/ 135235 w 270502"/>
                <a:gd name="connsiteY42" fmla="*/ 120232 h 721392"/>
                <a:gd name="connsiteX43" fmla="*/ 135234 w 270502"/>
                <a:gd name="connsiteY43" fmla="*/ 0 h 721392"/>
                <a:gd name="connsiteX44" fmla="*/ 210379 w 270502"/>
                <a:gd name="connsiteY44" fmla="*/ 75145 h 721392"/>
                <a:gd name="connsiteX45" fmla="*/ 135234 w 270502"/>
                <a:gd name="connsiteY45" fmla="*/ 150290 h 721392"/>
                <a:gd name="connsiteX46" fmla="*/ 60089 w 270502"/>
                <a:gd name="connsiteY46" fmla="*/ 75145 h 721392"/>
                <a:gd name="connsiteX47" fmla="*/ 135234 w 270502"/>
                <a:gd name="connsiteY47" fmla="*/ 0 h 721392"/>
                <a:gd name="connsiteX0" fmla="*/ 35142 w 270502"/>
                <a:gd name="connsiteY0" fmla="*/ 447684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5 w 270502"/>
                <a:gd name="connsiteY39" fmla="*/ 120232 h 721392"/>
                <a:gd name="connsiteX40" fmla="*/ 135234 w 270502"/>
                <a:gd name="connsiteY40" fmla="*/ 120232 h 721392"/>
                <a:gd name="connsiteX41" fmla="*/ 135235 w 270502"/>
                <a:gd name="connsiteY41" fmla="*/ 120232 h 721392"/>
                <a:gd name="connsiteX42" fmla="*/ 135234 w 270502"/>
                <a:gd name="connsiteY42" fmla="*/ 0 h 721392"/>
                <a:gd name="connsiteX43" fmla="*/ 210379 w 270502"/>
                <a:gd name="connsiteY43" fmla="*/ 75145 h 721392"/>
                <a:gd name="connsiteX44" fmla="*/ 135234 w 270502"/>
                <a:gd name="connsiteY44" fmla="*/ 150290 h 721392"/>
                <a:gd name="connsiteX45" fmla="*/ 60089 w 270502"/>
                <a:gd name="connsiteY45" fmla="*/ 75145 h 721392"/>
                <a:gd name="connsiteX46" fmla="*/ 135234 w 270502"/>
                <a:gd name="connsiteY46" fmla="*/ 0 h 721392"/>
                <a:gd name="connsiteX0" fmla="*/ 35142 w 270502"/>
                <a:gd name="connsiteY0" fmla="*/ 447684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35142 w 270502"/>
                <a:gd name="connsiteY22" fmla="*/ 447684 h 721392"/>
                <a:gd name="connsiteX23" fmla="*/ 96852 w 270502"/>
                <a:gd name="connsiteY23" fmla="*/ 180349 h 721392"/>
                <a:gd name="connsiteX24" fmla="*/ 173589 w 270502"/>
                <a:gd name="connsiteY24" fmla="*/ 180349 h 721392"/>
                <a:gd name="connsiteX25" fmla="*/ 250238 w 270502"/>
                <a:gd name="connsiteY25" fmla="*/ 253359 h 721392"/>
                <a:gd name="connsiteX26" fmla="*/ 270166 w 270502"/>
                <a:gd name="connsiteY26" fmla="*/ 427937 h 721392"/>
                <a:gd name="connsiteX27" fmla="*/ 257782 w 270502"/>
                <a:gd name="connsiteY27" fmla="*/ 467703 h 721392"/>
                <a:gd name="connsiteX28" fmla="*/ 226913 w 270502"/>
                <a:gd name="connsiteY28" fmla="*/ 482882 h 721392"/>
                <a:gd name="connsiteX29" fmla="*/ 210320 w 270502"/>
                <a:gd name="connsiteY29" fmla="*/ 707475 h 721392"/>
                <a:gd name="connsiteX30" fmla="*/ 195351 w 270502"/>
                <a:gd name="connsiteY30" fmla="*/ 721392 h 721392"/>
                <a:gd name="connsiteX31" fmla="*/ 75119 w 270502"/>
                <a:gd name="connsiteY31" fmla="*/ 721392 h 721392"/>
                <a:gd name="connsiteX32" fmla="*/ 60151 w 270502"/>
                <a:gd name="connsiteY32" fmla="*/ 707475 h 721392"/>
                <a:gd name="connsiteX33" fmla="*/ 43558 w 270502"/>
                <a:gd name="connsiteY33" fmla="*/ 482882 h 721392"/>
                <a:gd name="connsiteX34" fmla="*/ 12689 w 270502"/>
                <a:gd name="connsiteY34" fmla="*/ 467703 h 721392"/>
                <a:gd name="connsiteX35" fmla="*/ 335 w 270502"/>
                <a:gd name="connsiteY35" fmla="*/ 427937 h 721392"/>
                <a:gd name="connsiteX36" fmla="*/ 20264 w 270502"/>
                <a:gd name="connsiteY36" fmla="*/ 253359 h 721392"/>
                <a:gd name="connsiteX37" fmla="*/ 96852 w 270502"/>
                <a:gd name="connsiteY37" fmla="*/ 180349 h 721392"/>
                <a:gd name="connsiteX38" fmla="*/ 135235 w 270502"/>
                <a:gd name="connsiteY38" fmla="*/ 120232 h 721392"/>
                <a:gd name="connsiteX39" fmla="*/ 135234 w 270502"/>
                <a:gd name="connsiteY39" fmla="*/ 120232 h 721392"/>
                <a:gd name="connsiteX40" fmla="*/ 135235 w 270502"/>
                <a:gd name="connsiteY40" fmla="*/ 120232 h 721392"/>
                <a:gd name="connsiteX41" fmla="*/ 135234 w 270502"/>
                <a:gd name="connsiteY41" fmla="*/ 0 h 721392"/>
                <a:gd name="connsiteX42" fmla="*/ 210379 w 270502"/>
                <a:gd name="connsiteY42" fmla="*/ 75145 h 721392"/>
                <a:gd name="connsiteX43" fmla="*/ 135234 w 270502"/>
                <a:gd name="connsiteY43" fmla="*/ 150290 h 721392"/>
                <a:gd name="connsiteX44" fmla="*/ 60089 w 270502"/>
                <a:gd name="connsiteY44" fmla="*/ 75145 h 721392"/>
                <a:gd name="connsiteX45" fmla="*/ 135234 w 270502"/>
                <a:gd name="connsiteY45" fmla="*/ 0 h 721392"/>
                <a:gd name="connsiteX0" fmla="*/ 46144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96852 w 270502"/>
                <a:gd name="connsiteY22" fmla="*/ 180349 h 721392"/>
                <a:gd name="connsiteX23" fmla="*/ 173589 w 270502"/>
                <a:gd name="connsiteY23" fmla="*/ 180349 h 721392"/>
                <a:gd name="connsiteX24" fmla="*/ 250238 w 270502"/>
                <a:gd name="connsiteY24" fmla="*/ 253359 h 721392"/>
                <a:gd name="connsiteX25" fmla="*/ 270166 w 270502"/>
                <a:gd name="connsiteY25" fmla="*/ 427937 h 721392"/>
                <a:gd name="connsiteX26" fmla="*/ 257782 w 270502"/>
                <a:gd name="connsiteY26" fmla="*/ 467703 h 721392"/>
                <a:gd name="connsiteX27" fmla="*/ 226913 w 270502"/>
                <a:gd name="connsiteY27" fmla="*/ 482882 h 721392"/>
                <a:gd name="connsiteX28" fmla="*/ 210320 w 270502"/>
                <a:gd name="connsiteY28" fmla="*/ 707475 h 721392"/>
                <a:gd name="connsiteX29" fmla="*/ 195351 w 270502"/>
                <a:gd name="connsiteY29" fmla="*/ 721392 h 721392"/>
                <a:gd name="connsiteX30" fmla="*/ 75119 w 270502"/>
                <a:gd name="connsiteY30" fmla="*/ 721392 h 721392"/>
                <a:gd name="connsiteX31" fmla="*/ 60151 w 270502"/>
                <a:gd name="connsiteY31" fmla="*/ 707475 h 721392"/>
                <a:gd name="connsiteX32" fmla="*/ 43558 w 270502"/>
                <a:gd name="connsiteY32" fmla="*/ 482882 h 721392"/>
                <a:gd name="connsiteX33" fmla="*/ 12689 w 270502"/>
                <a:gd name="connsiteY33" fmla="*/ 467703 h 721392"/>
                <a:gd name="connsiteX34" fmla="*/ 335 w 270502"/>
                <a:gd name="connsiteY34" fmla="*/ 427937 h 721392"/>
                <a:gd name="connsiteX35" fmla="*/ 20264 w 270502"/>
                <a:gd name="connsiteY35" fmla="*/ 253359 h 721392"/>
                <a:gd name="connsiteX36" fmla="*/ 96852 w 270502"/>
                <a:gd name="connsiteY36" fmla="*/ 180349 h 721392"/>
                <a:gd name="connsiteX37" fmla="*/ 135235 w 270502"/>
                <a:gd name="connsiteY37" fmla="*/ 120232 h 721392"/>
                <a:gd name="connsiteX38" fmla="*/ 135234 w 270502"/>
                <a:gd name="connsiteY38" fmla="*/ 120232 h 721392"/>
                <a:gd name="connsiteX39" fmla="*/ 135235 w 270502"/>
                <a:gd name="connsiteY39" fmla="*/ 120232 h 721392"/>
                <a:gd name="connsiteX40" fmla="*/ 135234 w 270502"/>
                <a:gd name="connsiteY40" fmla="*/ 0 h 721392"/>
                <a:gd name="connsiteX41" fmla="*/ 210379 w 270502"/>
                <a:gd name="connsiteY41" fmla="*/ 75145 h 721392"/>
                <a:gd name="connsiteX42" fmla="*/ 135234 w 270502"/>
                <a:gd name="connsiteY42" fmla="*/ 150290 h 721392"/>
                <a:gd name="connsiteX43" fmla="*/ 60089 w 270502"/>
                <a:gd name="connsiteY43" fmla="*/ 75145 h 721392"/>
                <a:gd name="connsiteX44" fmla="*/ 135234 w 270502"/>
                <a:gd name="connsiteY44" fmla="*/ 0 h 721392"/>
                <a:gd name="connsiteX0" fmla="*/ 57565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96852 w 270502"/>
                <a:gd name="connsiteY21" fmla="*/ 180349 h 721392"/>
                <a:gd name="connsiteX22" fmla="*/ 173589 w 270502"/>
                <a:gd name="connsiteY22" fmla="*/ 180349 h 721392"/>
                <a:gd name="connsiteX23" fmla="*/ 250238 w 270502"/>
                <a:gd name="connsiteY23" fmla="*/ 253359 h 721392"/>
                <a:gd name="connsiteX24" fmla="*/ 270166 w 270502"/>
                <a:gd name="connsiteY24" fmla="*/ 427937 h 721392"/>
                <a:gd name="connsiteX25" fmla="*/ 257782 w 270502"/>
                <a:gd name="connsiteY25" fmla="*/ 467703 h 721392"/>
                <a:gd name="connsiteX26" fmla="*/ 226913 w 270502"/>
                <a:gd name="connsiteY26" fmla="*/ 482882 h 721392"/>
                <a:gd name="connsiteX27" fmla="*/ 210320 w 270502"/>
                <a:gd name="connsiteY27" fmla="*/ 707475 h 721392"/>
                <a:gd name="connsiteX28" fmla="*/ 195351 w 270502"/>
                <a:gd name="connsiteY28" fmla="*/ 721392 h 721392"/>
                <a:gd name="connsiteX29" fmla="*/ 75119 w 270502"/>
                <a:gd name="connsiteY29" fmla="*/ 721392 h 721392"/>
                <a:gd name="connsiteX30" fmla="*/ 60151 w 270502"/>
                <a:gd name="connsiteY30" fmla="*/ 707475 h 721392"/>
                <a:gd name="connsiteX31" fmla="*/ 43558 w 270502"/>
                <a:gd name="connsiteY31" fmla="*/ 482882 h 721392"/>
                <a:gd name="connsiteX32" fmla="*/ 12689 w 270502"/>
                <a:gd name="connsiteY32" fmla="*/ 467703 h 721392"/>
                <a:gd name="connsiteX33" fmla="*/ 335 w 270502"/>
                <a:gd name="connsiteY33" fmla="*/ 427937 h 721392"/>
                <a:gd name="connsiteX34" fmla="*/ 20264 w 270502"/>
                <a:gd name="connsiteY34" fmla="*/ 253359 h 721392"/>
                <a:gd name="connsiteX35" fmla="*/ 96852 w 270502"/>
                <a:gd name="connsiteY35" fmla="*/ 180349 h 721392"/>
                <a:gd name="connsiteX36" fmla="*/ 135235 w 270502"/>
                <a:gd name="connsiteY36" fmla="*/ 120232 h 721392"/>
                <a:gd name="connsiteX37" fmla="*/ 135234 w 270502"/>
                <a:gd name="connsiteY37" fmla="*/ 120232 h 721392"/>
                <a:gd name="connsiteX38" fmla="*/ 135235 w 270502"/>
                <a:gd name="connsiteY38" fmla="*/ 120232 h 721392"/>
                <a:gd name="connsiteX39" fmla="*/ 135234 w 270502"/>
                <a:gd name="connsiteY39" fmla="*/ 0 h 721392"/>
                <a:gd name="connsiteX40" fmla="*/ 210379 w 270502"/>
                <a:gd name="connsiteY40" fmla="*/ 75145 h 721392"/>
                <a:gd name="connsiteX41" fmla="*/ 135234 w 270502"/>
                <a:gd name="connsiteY41" fmla="*/ 150290 h 721392"/>
                <a:gd name="connsiteX42" fmla="*/ 60089 w 270502"/>
                <a:gd name="connsiteY42" fmla="*/ 75145 h 721392"/>
                <a:gd name="connsiteX43" fmla="*/ 135234 w 270502"/>
                <a:gd name="connsiteY43" fmla="*/ 0 h 721392"/>
                <a:gd name="connsiteX0" fmla="*/ 72565 w 270502"/>
                <a:gd name="connsiteY0" fmla="*/ 466800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96852 w 270502"/>
                <a:gd name="connsiteY20" fmla="*/ 180349 h 721392"/>
                <a:gd name="connsiteX21" fmla="*/ 173589 w 270502"/>
                <a:gd name="connsiteY21" fmla="*/ 180349 h 721392"/>
                <a:gd name="connsiteX22" fmla="*/ 250238 w 270502"/>
                <a:gd name="connsiteY22" fmla="*/ 253359 h 721392"/>
                <a:gd name="connsiteX23" fmla="*/ 270166 w 270502"/>
                <a:gd name="connsiteY23" fmla="*/ 427937 h 721392"/>
                <a:gd name="connsiteX24" fmla="*/ 257782 w 270502"/>
                <a:gd name="connsiteY24" fmla="*/ 467703 h 721392"/>
                <a:gd name="connsiteX25" fmla="*/ 226913 w 270502"/>
                <a:gd name="connsiteY25" fmla="*/ 482882 h 721392"/>
                <a:gd name="connsiteX26" fmla="*/ 210320 w 270502"/>
                <a:gd name="connsiteY26" fmla="*/ 707475 h 721392"/>
                <a:gd name="connsiteX27" fmla="*/ 195351 w 270502"/>
                <a:gd name="connsiteY27" fmla="*/ 721392 h 721392"/>
                <a:gd name="connsiteX28" fmla="*/ 75119 w 270502"/>
                <a:gd name="connsiteY28" fmla="*/ 721392 h 721392"/>
                <a:gd name="connsiteX29" fmla="*/ 60151 w 270502"/>
                <a:gd name="connsiteY29" fmla="*/ 707475 h 721392"/>
                <a:gd name="connsiteX30" fmla="*/ 43558 w 270502"/>
                <a:gd name="connsiteY30" fmla="*/ 482882 h 721392"/>
                <a:gd name="connsiteX31" fmla="*/ 12689 w 270502"/>
                <a:gd name="connsiteY31" fmla="*/ 467703 h 721392"/>
                <a:gd name="connsiteX32" fmla="*/ 335 w 270502"/>
                <a:gd name="connsiteY32" fmla="*/ 427937 h 721392"/>
                <a:gd name="connsiteX33" fmla="*/ 20264 w 270502"/>
                <a:gd name="connsiteY33" fmla="*/ 253359 h 721392"/>
                <a:gd name="connsiteX34" fmla="*/ 96852 w 270502"/>
                <a:gd name="connsiteY34" fmla="*/ 180349 h 721392"/>
                <a:gd name="connsiteX35" fmla="*/ 135235 w 270502"/>
                <a:gd name="connsiteY35" fmla="*/ 120232 h 721392"/>
                <a:gd name="connsiteX36" fmla="*/ 135234 w 270502"/>
                <a:gd name="connsiteY36" fmla="*/ 120232 h 721392"/>
                <a:gd name="connsiteX37" fmla="*/ 135235 w 270502"/>
                <a:gd name="connsiteY37" fmla="*/ 120232 h 721392"/>
                <a:gd name="connsiteX38" fmla="*/ 135234 w 270502"/>
                <a:gd name="connsiteY38" fmla="*/ 0 h 721392"/>
                <a:gd name="connsiteX39" fmla="*/ 210379 w 270502"/>
                <a:gd name="connsiteY39" fmla="*/ 75145 h 721392"/>
                <a:gd name="connsiteX40" fmla="*/ 135234 w 270502"/>
                <a:gd name="connsiteY40" fmla="*/ 150290 h 721392"/>
                <a:gd name="connsiteX41" fmla="*/ 60089 w 270502"/>
                <a:gd name="connsiteY41" fmla="*/ 75145 h 721392"/>
                <a:gd name="connsiteX42" fmla="*/ 135234 w 270502"/>
                <a:gd name="connsiteY42" fmla="*/ 0 h 721392"/>
                <a:gd name="connsiteX0" fmla="*/ 72565 w 270502"/>
                <a:gd name="connsiteY0" fmla="*/ 466800 h 721392"/>
                <a:gd name="connsiteX1" fmla="*/ 35142 w 270502"/>
                <a:gd name="connsiteY1" fmla="*/ 447685 h 721392"/>
                <a:gd name="connsiteX2" fmla="*/ 57565 w 270502"/>
                <a:gd name="connsiteY2" fmla="*/ 452884 h 721392"/>
                <a:gd name="connsiteX3" fmla="*/ 72565 w 270502"/>
                <a:gd name="connsiteY3" fmla="*/ 466801 h 721392"/>
                <a:gd name="connsiteX4" fmla="*/ 89097 w 270502"/>
                <a:gd name="connsiteY4" fmla="*/ 691334 h 721392"/>
                <a:gd name="connsiteX5" fmla="*/ 181404 w 270502"/>
                <a:gd name="connsiteY5" fmla="*/ 691334 h 721392"/>
                <a:gd name="connsiteX6" fmla="*/ 197967 w 270502"/>
                <a:gd name="connsiteY6" fmla="*/ 466801 h 721392"/>
                <a:gd name="connsiteX7" fmla="*/ 212965 w 270502"/>
                <a:gd name="connsiteY7" fmla="*/ 452884 h 721392"/>
                <a:gd name="connsiteX8" fmla="*/ 224418 w 270502"/>
                <a:gd name="connsiteY8" fmla="*/ 452884 h 721392"/>
                <a:gd name="connsiteX9" fmla="*/ 235419 w 270502"/>
                <a:gd name="connsiteY9" fmla="*/ 447685 h 721392"/>
                <a:gd name="connsiteX10" fmla="*/ 240348 w 270502"/>
                <a:gd name="connsiteY10" fmla="*/ 431333 h 721392"/>
                <a:gd name="connsiteX11" fmla="*/ 240348 w 270502"/>
                <a:gd name="connsiteY11" fmla="*/ 431332 h 721392"/>
                <a:gd name="connsiteX12" fmla="*/ 235419 w 270502"/>
                <a:gd name="connsiteY12" fmla="*/ 447684 h 721392"/>
                <a:gd name="connsiteX13" fmla="*/ 224418 w 270502"/>
                <a:gd name="connsiteY13" fmla="*/ 452883 h 721392"/>
                <a:gd name="connsiteX14" fmla="*/ 212965 w 270502"/>
                <a:gd name="connsiteY14" fmla="*/ 452883 h 721392"/>
                <a:gd name="connsiteX15" fmla="*/ 197967 w 270502"/>
                <a:gd name="connsiteY15" fmla="*/ 466800 h 721392"/>
                <a:gd name="connsiteX16" fmla="*/ 181404 w 270502"/>
                <a:gd name="connsiteY16" fmla="*/ 691333 h 721392"/>
                <a:gd name="connsiteX17" fmla="*/ 89097 w 270502"/>
                <a:gd name="connsiteY17" fmla="*/ 691333 h 721392"/>
                <a:gd name="connsiteX18" fmla="*/ 72565 w 270502"/>
                <a:gd name="connsiteY18" fmla="*/ 466800 h 721392"/>
                <a:gd name="connsiteX19" fmla="*/ 96852 w 270502"/>
                <a:gd name="connsiteY19" fmla="*/ 180349 h 721392"/>
                <a:gd name="connsiteX20" fmla="*/ 173589 w 270502"/>
                <a:gd name="connsiteY20" fmla="*/ 180349 h 721392"/>
                <a:gd name="connsiteX21" fmla="*/ 250238 w 270502"/>
                <a:gd name="connsiteY21" fmla="*/ 253359 h 721392"/>
                <a:gd name="connsiteX22" fmla="*/ 270166 w 270502"/>
                <a:gd name="connsiteY22" fmla="*/ 427937 h 721392"/>
                <a:gd name="connsiteX23" fmla="*/ 257782 w 270502"/>
                <a:gd name="connsiteY23" fmla="*/ 467703 h 721392"/>
                <a:gd name="connsiteX24" fmla="*/ 226913 w 270502"/>
                <a:gd name="connsiteY24" fmla="*/ 482882 h 721392"/>
                <a:gd name="connsiteX25" fmla="*/ 210320 w 270502"/>
                <a:gd name="connsiteY25" fmla="*/ 707475 h 721392"/>
                <a:gd name="connsiteX26" fmla="*/ 195351 w 270502"/>
                <a:gd name="connsiteY26" fmla="*/ 721392 h 721392"/>
                <a:gd name="connsiteX27" fmla="*/ 75119 w 270502"/>
                <a:gd name="connsiteY27" fmla="*/ 721392 h 721392"/>
                <a:gd name="connsiteX28" fmla="*/ 60151 w 270502"/>
                <a:gd name="connsiteY28" fmla="*/ 707475 h 721392"/>
                <a:gd name="connsiteX29" fmla="*/ 43558 w 270502"/>
                <a:gd name="connsiteY29" fmla="*/ 482882 h 721392"/>
                <a:gd name="connsiteX30" fmla="*/ 12689 w 270502"/>
                <a:gd name="connsiteY30" fmla="*/ 467703 h 721392"/>
                <a:gd name="connsiteX31" fmla="*/ 335 w 270502"/>
                <a:gd name="connsiteY31" fmla="*/ 427937 h 721392"/>
                <a:gd name="connsiteX32" fmla="*/ 20264 w 270502"/>
                <a:gd name="connsiteY32" fmla="*/ 253359 h 721392"/>
                <a:gd name="connsiteX33" fmla="*/ 96852 w 270502"/>
                <a:gd name="connsiteY33" fmla="*/ 180349 h 721392"/>
                <a:gd name="connsiteX34" fmla="*/ 135235 w 270502"/>
                <a:gd name="connsiteY34" fmla="*/ 120232 h 721392"/>
                <a:gd name="connsiteX35" fmla="*/ 135234 w 270502"/>
                <a:gd name="connsiteY35" fmla="*/ 120232 h 721392"/>
                <a:gd name="connsiteX36" fmla="*/ 135235 w 270502"/>
                <a:gd name="connsiteY36" fmla="*/ 120232 h 721392"/>
                <a:gd name="connsiteX37" fmla="*/ 135234 w 270502"/>
                <a:gd name="connsiteY37" fmla="*/ 0 h 721392"/>
                <a:gd name="connsiteX38" fmla="*/ 210379 w 270502"/>
                <a:gd name="connsiteY38" fmla="*/ 75145 h 721392"/>
                <a:gd name="connsiteX39" fmla="*/ 135234 w 270502"/>
                <a:gd name="connsiteY39" fmla="*/ 150290 h 721392"/>
                <a:gd name="connsiteX40" fmla="*/ 60089 w 270502"/>
                <a:gd name="connsiteY40" fmla="*/ 75145 h 721392"/>
                <a:gd name="connsiteX41" fmla="*/ 135234 w 270502"/>
                <a:gd name="connsiteY41" fmla="*/ 0 h 721392"/>
                <a:gd name="connsiteX0" fmla="*/ 72565 w 270502"/>
                <a:gd name="connsiteY0" fmla="*/ 466800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72565 w 270502"/>
                <a:gd name="connsiteY17" fmla="*/ 466800 h 721392"/>
                <a:gd name="connsiteX18" fmla="*/ 96852 w 270502"/>
                <a:gd name="connsiteY18" fmla="*/ 180349 h 721392"/>
                <a:gd name="connsiteX19" fmla="*/ 173589 w 270502"/>
                <a:gd name="connsiteY19" fmla="*/ 180349 h 721392"/>
                <a:gd name="connsiteX20" fmla="*/ 250238 w 270502"/>
                <a:gd name="connsiteY20" fmla="*/ 253359 h 721392"/>
                <a:gd name="connsiteX21" fmla="*/ 270166 w 270502"/>
                <a:gd name="connsiteY21" fmla="*/ 427937 h 721392"/>
                <a:gd name="connsiteX22" fmla="*/ 257782 w 270502"/>
                <a:gd name="connsiteY22" fmla="*/ 467703 h 721392"/>
                <a:gd name="connsiteX23" fmla="*/ 226913 w 270502"/>
                <a:gd name="connsiteY23" fmla="*/ 482882 h 721392"/>
                <a:gd name="connsiteX24" fmla="*/ 210320 w 270502"/>
                <a:gd name="connsiteY24" fmla="*/ 707475 h 721392"/>
                <a:gd name="connsiteX25" fmla="*/ 195351 w 270502"/>
                <a:gd name="connsiteY25" fmla="*/ 721392 h 721392"/>
                <a:gd name="connsiteX26" fmla="*/ 75119 w 270502"/>
                <a:gd name="connsiteY26" fmla="*/ 721392 h 721392"/>
                <a:gd name="connsiteX27" fmla="*/ 60151 w 270502"/>
                <a:gd name="connsiteY27" fmla="*/ 707475 h 721392"/>
                <a:gd name="connsiteX28" fmla="*/ 43558 w 270502"/>
                <a:gd name="connsiteY28" fmla="*/ 482882 h 721392"/>
                <a:gd name="connsiteX29" fmla="*/ 12689 w 270502"/>
                <a:gd name="connsiteY29" fmla="*/ 467703 h 721392"/>
                <a:gd name="connsiteX30" fmla="*/ 335 w 270502"/>
                <a:gd name="connsiteY30" fmla="*/ 427937 h 721392"/>
                <a:gd name="connsiteX31" fmla="*/ 20264 w 270502"/>
                <a:gd name="connsiteY31" fmla="*/ 253359 h 721392"/>
                <a:gd name="connsiteX32" fmla="*/ 96852 w 270502"/>
                <a:gd name="connsiteY32" fmla="*/ 180349 h 721392"/>
                <a:gd name="connsiteX33" fmla="*/ 135235 w 270502"/>
                <a:gd name="connsiteY33" fmla="*/ 120232 h 721392"/>
                <a:gd name="connsiteX34" fmla="*/ 135234 w 270502"/>
                <a:gd name="connsiteY34" fmla="*/ 120232 h 721392"/>
                <a:gd name="connsiteX35" fmla="*/ 135235 w 270502"/>
                <a:gd name="connsiteY35" fmla="*/ 120232 h 721392"/>
                <a:gd name="connsiteX36" fmla="*/ 135234 w 270502"/>
                <a:gd name="connsiteY36" fmla="*/ 0 h 721392"/>
                <a:gd name="connsiteX37" fmla="*/ 210379 w 270502"/>
                <a:gd name="connsiteY37" fmla="*/ 75145 h 721392"/>
                <a:gd name="connsiteX38" fmla="*/ 135234 w 270502"/>
                <a:gd name="connsiteY38" fmla="*/ 150290 h 721392"/>
                <a:gd name="connsiteX39" fmla="*/ 60089 w 270502"/>
                <a:gd name="connsiteY39" fmla="*/ 75145 h 721392"/>
                <a:gd name="connsiteX40" fmla="*/ 135234 w 270502"/>
                <a:gd name="connsiteY40" fmla="*/ 0 h 721392"/>
                <a:gd name="connsiteX0" fmla="*/ 89097 w 270502"/>
                <a:gd name="connsiteY0" fmla="*/ 691333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96852 w 270502"/>
                <a:gd name="connsiteY17" fmla="*/ 180349 h 721392"/>
                <a:gd name="connsiteX18" fmla="*/ 173589 w 270502"/>
                <a:gd name="connsiteY18" fmla="*/ 180349 h 721392"/>
                <a:gd name="connsiteX19" fmla="*/ 250238 w 270502"/>
                <a:gd name="connsiteY19" fmla="*/ 253359 h 721392"/>
                <a:gd name="connsiteX20" fmla="*/ 270166 w 270502"/>
                <a:gd name="connsiteY20" fmla="*/ 427937 h 721392"/>
                <a:gd name="connsiteX21" fmla="*/ 257782 w 270502"/>
                <a:gd name="connsiteY21" fmla="*/ 467703 h 721392"/>
                <a:gd name="connsiteX22" fmla="*/ 226913 w 270502"/>
                <a:gd name="connsiteY22" fmla="*/ 482882 h 721392"/>
                <a:gd name="connsiteX23" fmla="*/ 210320 w 270502"/>
                <a:gd name="connsiteY23" fmla="*/ 707475 h 721392"/>
                <a:gd name="connsiteX24" fmla="*/ 195351 w 270502"/>
                <a:gd name="connsiteY24" fmla="*/ 721392 h 721392"/>
                <a:gd name="connsiteX25" fmla="*/ 75119 w 270502"/>
                <a:gd name="connsiteY25" fmla="*/ 721392 h 721392"/>
                <a:gd name="connsiteX26" fmla="*/ 60151 w 270502"/>
                <a:gd name="connsiteY26" fmla="*/ 707475 h 721392"/>
                <a:gd name="connsiteX27" fmla="*/ 43558 w 270502"/>
                <a:gd name="connsiteY27" fmla="*/ 482882 h 721392"/>
                <a:gd name="connsiteX28" fmla="*/ 12689 w 270502"/>
                <a:gd name="connsiteY28" fmla="*/ 467703 h 721392"/>
                <a:gd name="connsiteX29" fmla="*/ 335 w 270502"/>
                <a:gd name="connsiteY29" fmla="*/ 427937 h 721392"/>
                <a:gd name="connsiteX30" fmla="*/ 20264 w 270502"/>
                <a:gd name="connsiteY30" fmla="*/ 253359 h 721392"/>
                <a:gd name="connsiteX31" fmla="*/ 96852 w 270502"/>
                <a:gd name="connsiteY31" fmla="*/ 180349 h 721392"/>
                <a:gd name="connsiteX32" fmla="*/ 135235 w 270502"/>
                <a:gd name="connsiteY32" fmla="*/ 120232 h 721392"/>
                <a:gd name="connsiteX33" fmla="*/ 135234 w 270502"/>
                <a:gd name="connsiteY33" fmla="*/ 120232 h 721392"/>
                <a:gd name="connsiteX34" fmla="*/ 135235 w 270502"/>
                <a:gd name="connsiteY34" fmla="*/ 120232 h 721392"/>
                <a:gd name="connsiteX35" fmla="*/ 135234 w 270502"/>
                <a:gd name="connsiteY35" fmla="*/ 0 h 721392"/>
                <a:gd name="connsiteX36" fmla="*/ 210379 w 270502"/>
                <a:gd name="connsiteY36" fmla="*/ 75145 h 721392"/>
                <a:gd name="connsiteX37" fmla="*/ 135234 w 270502"/>
                <a:gd name="connsiteY37" fmla="*/ 150290 h 721392"/>
                <a:gd name="connsiteX38" fmla="*/ 60089 w 270502"/>
                <a:gd name="connsiteY38" fmla="*/ 75145 h 721392"/>
                <a:gd name="connsiteX39" fmla="*/ 135234 w 270502"/>
                <a:gd name="connsiteY39" fmla="*/ 0 h 721392"/>
                <a:gd name="connsiteX0" fmla="*/ 89097 w 270502"/>
                <a:gd name="connsiteY0" fmla="*/ 691333 h 721392"/>
                <a:gd name="connsiteX1" fmla="*/ 57565 w 270502"/>
                <a:gd name="connsiteY1" fmla="*/ 452884 h 721392"/>
                <a:gd name="connsiteX2" fmla="*/ 89097 w 270502"/>
                <a:gd name="connsiteY2" fmla="*/ 691334 h 721392"/>
                <a:gd name="connsiteX3" fmla="*/ 181404 w 270502"/>
                <a:gd name="connsiteY3" fmla="*/ 691334 h 721392"/>
                <a:gd name="connsiteX4" fmla="*/ 197967 w 270502"/>
                <a:gd name="connsiteY4" fmla="*/ 466801 h 721392"/>
                <a:gd name="connsiteX5" fmla="*/ 212965 w 270502"/>
                <a:gd name="connsiteY5" fmla="*/ 452884 h 721392"/>
                <a:gd name="connsiteX6" fmla="*/ 224418 w 270502"/>
                <a:gd name="connsiteY6" fmla="*/ 452884 h 721392"/>
                <a:gd name="connsiteX7" fmla="*/ 235419 w 270502"/>
                <a:gd name="connsiteY7" fmla="*/ 447685 h 721392"/>
                <a:gd name="connsiteX8" fmla="*/ 240348 w 270502"/>
                <a:gd name="connsiteY8" fmla="*/ 431333 h 721392"/>
                <a:gd name="connsiteX9" fmla="*/ 240348 w 270502"/>
                <a:gd name="connsiteY9" fmla="*/ 431332 h 721392"/>
                <a:gd name="connsiteX10" fmla="*/ 235419 w 270502"/>
                <a:gd name="connsiteY10" fmla="*/ 447684 h 721392"/>
                <a:gd name="connsiteX11" fmla="*/ 224418 w 270502"/>
                <a:gd name="connsiteY11" fmla="*/ 452883 h 721392"/>
                <a:gd name="connsiteX12" fmla="*/ 212965 w 270502"/>
                <a:gd name="connsiteY12" fmla="*/ 452883 h 721392"/>
                <a:gd name="connsiteX13" fmla="*/ 197967 w 270502"/>
                <a:gd name="connsiteY13" fmla="*/ 466800 h 721392"/>
                <a:gd name="connsiteX14" fmla="*/ 181404 w 270502"/>
                <a:gd name="connsiteY14" fmla="*/ 691333 h 721392"/>
                <a:gd name="connsiteX15" fmla="*/ 89097 w 270502"/>
                <a:gd name="connsiteY15" fmla="*/ 691333 h 721392"/>
                <a:gd name="connsiteX16" fmla="*/ 96852 w 270502"/>
                <a:gd name="connsiteY16" fmla="*/ 180349 h 721392"/>
                <a:gd name="connsiteX17" fmla="*/ 173589 w 270502"/>
                <a:gd name="connsiteY17" fmla="*/ 180349 h 721392"/>
                <a:gd name="connsiteX18" fmla="*/ 250238 w 270502"/>
                <a:gd name="connsiteY18" fmla="*/ 253359 h 721392"/>
                <a:gd name="connsiteX19" fmla="*/ 270166 w 270502"/>
                <a:gd name="connsiteY19" fmla="*/ 427937 h 721392"/>
                <a:gd name="connsiteX20" fmla="*/ 257782 w 270502"/>
                <a:gd name="connsiteY20" fmla="*/ 467703 h 721392"/>
                <a:gd name="connsiteX21" fmla="*/ 226913 w 270502"/>
                <a:gd name="connsiteY21" fmla="*/ 482882 h 721392"/>
                <a:gd name="connsiteX22" fmla="*/ 210320 w 270502"/>
                <a:gd name="connsiteY22" fmla="*/ 707475 h 721392"/>
                <a:gd name="connsiteX23" fmla="*/ 195351 w 270502"/>
                <a:gd name="connsiteY23" fmla="*/ 721392 h 721392"/>
                <a:gd name="connsiteX24" fmla="*/ 75119 w 270502"/>
                <a:gd name="connsiteY24" fmla="*/ 721392 h 721392"/>
                <a:gd name="connsiteX25" fmla="*/ 60151 w 270502"/>
                <a:gd name="connsiteY25" fmla="*/ 707475 h 721392"/>
                <a:gd name="connsiteX26" fmla="*/ 43558 w 270502"/>
                <a:gd name="connsiteY26" fmla="*/ 482882 h 721392"/>
                <a:gd name="connsiteX27" fmla="*/ 12689 w 270502"/>
                <a:gd name="connsiteY27" fmla="*/ 467703 h 721392"/>
                <a:gd name="connsiteX28" fmla="*/ 335 w 270502"/>
                <a:gd name="connsiteY28" fmla="*/ 427937 h 721392"/>
                <a:gd name="connsiteX29" fmla="*/ 20264 w 270502"/>
                <a:gd name="connsiteY29" fmla="*/ 253359 h 721392"/>
                <a:gd name="connsiteX30" fmla="*/ 96852 w 270502"/>
                <a:gd name="connsiteY30" fmla="*/ 180349 h 721392"/>
                <a:gd name="connsiteX31" fmla="*/ 135235 w 270502"/>
                <a:gd name="connsiteY31" fmla="*/ 120232 h 721392"/>
                <a:gd name="connsiteX32" fmla="*/ 135234 w 270502"/>
                <a:gd name="connsiteY32" fmla="*/ 120232 h 721392"/>
                <a:gd name="connsiteX33" fmla="*/ 135235 w 270502"/>
                <a:gd name="connsiteY33" fmla="*/ 120232 h 721392"/>
                <a:gd name="connsiteX34" fmla="*/ 135234 w 270502"/>
                <a:gd name="connsiteY34" fmla="*/ 0 h 721392"/>
                <a:gd name="connsiteX35" fmla="*/ 210379 w 270502"/>
                <a:gd name="connsiteY35" fmla="*/ 75145 h 721392"/>
                <a:gd name="connsiteX36" fmla="*/ 135234 w 270502"/>
                <a:gd name="connsiteY36" fmla="*/ 150290 h 721392"/>
                <a:gd name="connsiteX37" fmla="*/ 60089 w 270502"/>
                <a:gd name="connsiteY37" fmla="*/ 75145 h 721392"/>
                <a:gd name="connsiteX38" fmla="*/ 135234 w 270502"/>
                <a:gd name="connsiteY3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97967 w 270502"/>
                <a:gd name="connsiteY12" fmla="*/ 466800 h 721392"/>
                <a:gd name="connsiteX13" fmla="*/ 181404 w 270502"/>
                <a:gd name="connsiteY13" fmla="*/ 691333 h 721392"/>
                <a:gd name="connsiteX14" fmla="*/ 89097 w 270502"/>
                <a:gd name="connsiteY14" fmla="*/ 691333 h 721392"/>
                <a:gd name="connsiteX15" fmla="*/ 96852 w 270502"/>
                <a:gd name="connsiteY15" fmla="*/ 180349 h 721392"/>
                <a:gd name="connsiteX16" fmla="*/ 173589 w 270502"/>
                <a:gd name="connsiteY16" fmla="*/ 180349 h 721392"/>
                <a:gd name="connsiteX17" fmla="*/ 250238 w 270502"/>
                <a:gd name="connsiteY17" fmla="*/ 253359 h 721392"/>
                <a:gd name="connsiteX18" fmla="*/ 270166 w 270502"/>
                <a:gd name="connsiteY18" fmla="*/ 427937 h 721392"/>
                <a:gd name="connsiteX19" fmla="*/ 257782 w 270502"/>
                <a:gd name="connsiteY19" fmla="*/ 467703 h 721392"/>
                <a:gd name="connsiteX20" fmla="*/ 226913 w 270502"/>
                <a:gd name="connsiteY20" fmla="*/ 482882 h 721392"/>
                <a:gd name="connsiteX21" fmla="*/ 210320 w 270502"/>
                <a:gd name="connsiteY21" fmla="*/ 707475 h 721392"/>
                <a:gd name="connsiteX22" fmla="*/ 195351 w 270502"/>
                <a:gd name="connsiteY22" fmla="*/ 721392 h 721392"/>
                <a:gd name="connsiteX23" fmla="*/ 75119 w 270502"/>
                <a:gd name="connsiteY23" fmla="*/ 721392 h 721392"/>
                <a:gd name="connsiteX24" fmla="*/ 60151 w 270502"/>
                <a:gd name="connsiteY24" fmla="*/ 707475 h 721392"/>
                <a:gd name="connsiteX25" fmla="*/ 43558 w 270502"/>
                <a:gd name="connsiteY25" fmla="*/ 482882 h 721392"/>
                <a:gd name="connsiteX26" fmla="*/ 12689 w 270502"/>
                <a:gd name="connsiteY26" fmla="*/ 467703 h 721392"/>
                <a:gd name="connsiteX27" fmla="*/ 335 w 270502"/>
                <a:gd name="connsiteY27" fmla="*/ 427937 h 721392"/>
                <a:gd name="connsiteX28" fmla="*/ 20264 w 270502"/>
                <a:gd name="connsiteY28" fmla="*/ 253359 h 721392"/>
                <a:gd name="connsiteX29" fmla="*/ 96852 w 270502"/>
                <a:gd name="connsiteY29" fmla="*/ 180349 h 721392"/>
                <a:gd name="connsiteX30" fmla="*/ 135235 w 270502"/>
                <a:gd name="connsiteY30" fmla="*/ 120232 h 721392"/>
                <a:gd name="connsiteX31" fmla="*/ 135234 w 270502"/>
                <a:gd name="connsiteY31" fmla="*/ 120232 h 721392"/>
                <a:gd name="connsiteX32" fmla="*/ 135235 w 270502"/>
                <a:gd name="connsiteY32" fmla="*/ 120232 h 721392"/>
                <a:gd name="connsiteX33" fmla="*/ 135234 w 270502"/>
                <a:gd name="connsiteY33" fmla="*/ 0 h 721392"/>
                <a:gd name="connsiteX34" fmla="*/ 210379 w 270502"/>
                <a:gd name="connsiteY34" fmla="*/ 75145 h 721392"/>
                <a:gd name="connsiteX35" fmla="*/ 135234 w 270502"/>
                <a:gd name="connsiteY35" fmla="*/ 150290 h 721392"/>
                <a:gd name="connsiteX36" fmla="*/ 60089 w 270502"/>
                <a:gd name="connsiteY36" fmla="*/ 75145 h 721392"/>
                <a:gd name="connsiteX37" fmla="*/ 135234 w 270502"/>
                <a:gd name="connsiteY3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81404 w 270502"/>
                <a:gd name="connsiteY12" fmla="*/ 691333 h 721392"/>
                <a:gd name="connsiteX13" fmla="*/ 89097 w 270502"/>
                <a:gd name="connsiteY13" fmla="*/ 691333 h 721392"/>
                <a:gd name="connsiteX14" fmla="*/ 96852 w 270502"/>
                <a:gd name="connsiteY14" fmla="*/ 180349 h 721392"/>
                <a:gd name="connsiteX15" fmla="*/ 173589 w 270502"/>
                <a:gd name="connsiteY15" fmla="*/ 180349 h 721392"/>
                <a:gd name="connsiteX16" fmla="*/ 250238 w 270502"/>
                <a:gd name="connsiteY16" fmla="*/ 253359 h 721392"/>
                <a:gd name="connsiteX17" fmla="*/ 270166 w 270502"/>
                <a:gd name="connsiteY17" fmla="*/ 427937 h 721392"/>
                <a:gd name="connsiteX18" fmla="*/ 257782 w 270502"/>
                <a:gd name="connsiteY18" fmla="*/ 467703 h 721392"/>
                <a:gd name="connsiteX19" fmla="*/ 226913 w 270502"/>
                <a:gd name="connsiteY19" fmla="*/ 482882 h 721392"/>
                <a:gd name="connsiteX20" fmla="*/ 210320 w 270502"/>
                <a:gd name="connsiteY20" fmla="*/ 707475 h 721392"/>
                <a:gd name="connsiteX21" fmla="*/ 195351 w 270502"/>
                <a:gd name="connsiteY21" fmla="*/ 721392 h 721392"/>
                <a:gd name="connsiteX22" fmla="*/ 75119 w 270502"/>
                <a:gd name="connsiteY22" fmla="*/ 721392 h 721392"/>
                <a:gd name="connsiteX23" fmla="*/ 60151 w 270502"/>
                <a:gd name="connsiteY23" fmla="*/ 707475 h 721392"/>
                <a:gd name="connsiteX24" fmla="*/ 43558 w 270502"/>
                <a:gd name="connsiteY24" fmla="*/ 482882 h 721392"/>
                <a:gd name="connsiteX25" fmla="*/ 12689 w 270502"/>
                <a:gd name="connsiteY25" fmla="*/ 467703 h 721392"/>
                <a:gd name="connsiteX26" fmla="*/ 335 w 270502"/>
                <a:gd name="connsiteY26" fmla="*/ 427937 h 721392"/>
                <a:gd name="connsiteX27" fmla="*/ 20264 w 270502"/>
                <a:gd name="connsiteY27" fmla="*/ 253359 h 721392"/>
                <a:gd name="connsiteX28" fmla="*/ 96852 w 270502"/>
                <a:gd name="connsiteY28" fmla="*/ 180349 h 721392"/>
                <a:gd name="connsiteX29" fmla="*/ 135235 w 270502"/>
                <a:gd name="connsiteY29" fmla="*/ 120232 h 721392"/>
                <a:gd name="connsiteX30" fmla="*/ 135234 w 270502"/>
                <a:gd name="connsiteY30" fmla="*/ 120232 h 721392"/>
                <a:gd name="connsiteX31" fmla="*/ 135235 w 270502"/>
                <a:gd name="connsiteY31" fmla="*/ 120232 h 721392"/>
                <a:gd name="connsiteX32" fmla="*/ 135234 w 270502"/>
                <a:gd name="connsiteY32" fmla="*/ 0 h 721392"/>
                <a:gd name="connsiteX33" fmla="*/ 210379 w 270502"/>
                <a:gd name="connsiteY33" fmla="*/ 75145 h 721392"/>
                <a:gd name="connsiteX34" fmla="*/ 135234 w 270502"/>
                <a:gd name="connsiteY34" fmla="*/ 150290 h 721392"/>
                <a:gd name="connsiteX35" fmla="*/ 60089 w 270502"/>
                <a:gd name="connsiteY35" fmla="*/ 75145 h 721392"/>
                <a:gd name="connsiteX36" fmla="*/ 135234 w 270502"/>
                <a:gd name="connsiteY36"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181404 w 270502"/>
                <a:gd name="connsiteY11" fmla="*/ 691333 h 721392"/>
                <a:gd name="connsiteX12" fmla="*/ 89097 w 270502"/>
                <a:gd name="connsiteY12" fmla="*/ 691333 h 721392"/>
                <a:gd name="connsiteX13" fmla="*/ 96852 w 270502"/>
                <a:gd name="connsiteY13" fmla="*/ 180349 h 721392"/>
                <a:gd name="connsiteX14" fmla="*/ 173589 w 270502"/>
                <a:gd name="connsiteY14" fmla="*/ 180349 h 721392"/>
                <a:gd name="connsiteX15" fmla="*/ 250238 w 270502"/>
                <a:gd name="connsiteY15" fmla="*/ 253359 h 721392"/>
                <a:gd name="connsiteX16" fmla="*/ 270166 w 270502"/>
                <a:gd name="connsiteY16" fmla="*/ 427937 h 721392"/>
                <a:gd name="connsiteX17" fmla="*/ 257782 w 270502"/>
                <a:gd name="connsiteY17" fmla="*/ 467703 h 721392"/>
                <a:gd name="connsiteX18" fmla="*/ 226913 w 270502"/>
                <a:gd name="connsiteY18" fmla="*/ 482882 h 721392"/>
                <a:gd name="connsiteX19" fmla="*/ 210320 w 270502"/>
                <a:gd name="connsiteY19" fmla="*/ 707475 h 721392"/>
                <a:gd name="connsiteX20" fmla="*/ 195351 w 270502"/>
                <a:gd name="connsiteY20" fmla="*/ 721392 h 721392"/>
                <a:gd name="connsiteX21" fmla="*/ 75119 w 270502"/>
                <a:gd name="connsiteY21" fmla="*/ 721392 h 721392"/>
                <a:gd name="connsiteX22" fmla="*/ 60151 w 270502"/>
                <a:gd name="connsiteY22" fmla="*/ 707475 h 721392"/>
                <a:gd name="connsiteX23" fmla="*/ 43558 w 270502"/>
                <a:gd name="connsiteY23" fmla="*/ 482882 h 721392"/>
                <a:gd name="connsiteX24" fmla="*/ 12689 w 270502"/>
                <a:gd name="connsiteY24" fmla="*/ 467703 h 721392"/>
                <a:gd name="connsiteX25" fmla="*/ 335 w 270502"/>
                <a:gd name="connsiteY25" fmla="*/ 427937 h 721392"/>
                <a:gd name="connsiteX26" fmla="*/ 20264 w 270502"/>
                <a:gd name="connsiteY26" fmla="*/ 253359 h 721392"/>
                <a:gd name="connsiteX27" fmla="*/ 96852 w 270502"/>
                <a:gd name="connsiteY27" fmla="*/ 180349 h 721392"/>
                <a:gd name="connsiteX28" fmla="*/ 135235 w 270502"/>
                <a:gd name="connsiteY28" fmla="*/ 120232 h 721392"/>
                <a:gd name="connsiteX29" fmla="*/ 135234 w 270502"/>
                <a:gd name="connsiteY29" fmla="*/ 120232 h 721392"/>
                <a:gd name="connsiteX30" fmla="*/ 135235 w 270502"/>
                <a:gd name="connsiteY30" fmla="*/ 120232 h 721392"/>
                <a:gd name="connsiteX31" fmla="*/ 135234 w 270502"/>
                <a:gd name="connsiteY31" fmla="*/ 0 h 721392"/>
                <a:gd name="connsiteX32" fmla="*/ 210379 w 270502"/>
                <a:gd name="connsiteY32" fmla="*/ 75145 h 721392"/>
                <a:gd name="connsiteX33" fmla="*/ 135234 w 270502"/>
                <a:gd name="connsiteY33" fmla="*/ 150290 h 721392"/>
                <a:gd name="connsiteX34" fmla="*/ 60089 w 270502"/>
                <a:gd name="connsiteY34" fmla="*/ 75145 h 721392"/>
                <a:gd name="connsiteX35" fmla="*/ 135234 w 270502"/>
                <a:gd name="connsiteY35"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181404 w 270502"/>
                <a:gd name="connsiteY10" fmla="*/ 691333 h 721392"/>
                <a:gd name="connsiteX11" fmla="*/ 89097 w 270502"/>
                <a:gd name="connsiteY11" fmla="*/ 691333 h 721392"/>
                <a:gd name="connsiteX12" fmla="*/ 96852 w 270502"/>
                <a:gd name="connsiteY12" fmla="*/ 180349 h 721392"/>
                <a:gd name="connsiteX13" fmla="*/ 173589 w 270502"/>
                <a:gd name="connsiteY13" fmla="*/ 180349 h 721392"/>
                <a:gd name="connsiteX14" fmla="*/ 250238 w 270502"/>
                <a:gd name="connsiteY14" fmla="*/ 253359 h 721392"/>
                <a:gd name="connsiteX15" fmla="*/ 270166 w 270502"/>
                <a:gd name="connsiteY15" fmla="*/ 427937 h 721392"/>
                <a:gd name="connsiteX16" fmla="*/ 257782 w 270502"/>
                <a:gd name="connsiteY16" fmla="*/ 467703 h 721392"/>
                <a:gd name="connsiteX17" fmla="*/ 226913 w 270502"/>
                <a:gd name="connsiteY17" fmla="*/ 482882 h 721392"/>
                <a:gd name="connsiteX18" fmla="*/ 210320 w 270502"/>
                <a:gd name="connsiteY18" fmla="*/ 707475 h 721392"/>
                <a:gd name="connsiteX19" fmla="*/ 195351 w 270502"/>
                <a:gd name="connsiteY19" fmla="*/ 721392 h 721392"/>
                <a:gd name="connsiteX20" fmla="*/ 75119 w 270502"/>
                <a:gd name="connsiteY20" fmla="*/ 721392 h 721392"/>
                <a:gd name="connsiteX21" fmla="*/ 60151 w 270502"/>
                <a:gd name="connsiteY21" fmla="*/ 707475 h 721392"/>
                <a:gd name="connsiteX22" fmla="*/ 43558 w 270502"/>
                <a:gd name="connsiteY22" fmla="*/ 482882 h 721392"/>
                <a:gd name="connsiteX23" fmla="*/ 12689 w 270502"/>
                <a:gd name="connsiteY23" fmla="*/ 467703 h 721392"/>
                <a:gd name="connsiteX24" fmla="*/ 335 w 270502"/>
                <a:gd name="connsiteY24" fmla="*/ 427937 h 721392"/>
                <a:gd name="connsiteX25" fmla="*/ 20264 w 270502"/>
                <a:gd name="connsiteY25" fmla="*/ 253359 h 721392"/>
                <a:gd name="connsiteX26" fmla="*/ 96852 w 270502"/>
                <a:gd name="connsiteY26" fmla="*/ 180349 h 721392"/>
                <a:gd name="connsiteX27" fmla="*/ 135235 w 270502"/>
                <a:gd name="connsiteY27" fmla="*/ 120232 h 721392"/>
                <a:gd name="connsiteX28" fmla="*/ 135234 w 270502"/>
                <a:gd name="connsiteY28" fmla="*/ 120232 h 721392"/>
                <a:gd name="connsiteX29" fmla="*/ 135235 w 270502"/>
                <a:gd name="connsiteY29" fmla="*/ 120232 h 721392"/>
                <a:gd name="connsiteX30" fmla="*/ 135234 w 270502"/>
                <a:gd name="connsiteY30" fmla="*/ 0 h 721392"/>
                <a:gd name="connsiteX31" fmla="*/ 210379 w 270502"/>
                <a:gd name="connsiteY31" fmla="*/ 75145 h 721392"/>
                <a:gd name="connsiteX32" fmla="*/ 135234 w 270502"/>
                <a:gd name="connsiteY32" fmla="*/ 150290 h 721392"/>
                <a:gd name="connsiteX33" fmla="*/ 60089 w 270502"/>
                <a:gd name="connsiteY33" fmla="*/ 75145 h 721392"/>
                <a:gd name="connsiteX34" fmla="*/ 135234 w 270502"/>
                <a:gd name="connsiteY34"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235419 w 270502"/>
                <a:gd name="connsiteY8" fmla="*/ 447684 h 721392"/>
                <a:gd name="connsiteX9" fmla="*/ 181404 w 270502"/>
                <a:gd name="connsiteY9" fmla="*/ 691333 h 721392"/>
                <a:gd name="connsiteX10" fmla="*/ 89097 w 270502"/>
                <a:gd name="connsiteY10" fmla="*/ 691333 h 721392"/>
                <a:gd name="connsiteX11" fmla="*/ 96852 w 270502"/>
                <a:gd name="connsiteY11" fmla="*/ 180349 h 721392"/>
                <a:gd name="connsiteX12" fmla="*/ 173589 w 270502"/>
                <a:gd name="connsiteY12" fmla="*/ 180349 h 721392"/>
                <a:gd name="connsiteX13" fmla="*/ 250238 w 270502"/>
                <a:gd name="connsiteY13" fmla="*/ 253359 h 721392"/>
                <a:gd name="connsiteX14" fmla="*/ 270166 w 270502"/>
                <a:gd name="connsiteY14" fmla="*/ 427937 h 721392"/>
                <a:gd name="connsiteX15" fmla="*/ 257782 w 270502"/>
                <a:gd name="connsiteY15" fmla="*/ 467703 h 721392"/>
                <a:gd name="connsiteX16" fmla="*/ 226913 w 270502"/>
                <a:gd name="connsiteY16" fmla="*/ 482882 h 721392"/>
                <a:gd name="connsiteX17" fmla="*/ 210320 w 270502"/>
                <a:gd name="connsiteY17" fmla="*/ 707475 h 721392"/>
                <a:gd name="connsiteX18" fmla="*/ 195351 w 270502"/>
                <a:gd name="connsiteY18" fmla="*/ 721392 h 721392"/>
                <a:gd name="connsiteX19" fmla="*/ 75119 w 270502"/>
                <a:gd name="connsiteY19" fmla="*/ 721392 h 721392"/>
                <a:gd name="connsiteX20" fmla="*/ 60151 w 270502"/>
                <a:gd name="connsiteY20" fmla="*/ 707475 h 721392"/>
                <a:gd name="connsiteX21" fmla="*/ 43558 w 270502"/>
                <a:gd name="connsiteY21" fmla="*/ 482882 h 721392"/>
                <a:gd name="connsiteX22" fmla="*/ 12689 w 270502"/>
                <a:gd name="connsiteY22" fmla="*/ 467703 h 721392"/>
                <a:gd name="connsiteX23" fmla="*/ 335 w 270502"/>
                <a:gd name="connsiteY23" fmla="*/ 427937 h 721392"/>
                <a:gd name="connsiteX24" fmla="*/ 20264 w 270502"/>
                <a:gd name="connsiteY24" fmla="*/ 253359 h 721392"/>
                <a:gd name="connsiteX25" fmla="*/ 96852 w 270502"/>
                <a:gd name="connsiteY25" fmla="*/ 180349 h 721392"/>
                <a:gd name="connsiteX26" fmla="*/ 135235 w 270502"/>
                <a:gd name="connsiteY26" fmla="*/ 120232 h 721392"/>
                <a:gd name="connsiteX27" fmla="*/ 135234 w 270502"/>
                <a:gd name="connsiteY27" fmla="*/ 120232 h 721392"/>
                <a:gd name="connsiteX28" fmla="*/ 135235 w 270502"/>
                <a:gd name="connsiteY28" fmla="*/ 120232 h 721392"/>
                <a:gd name="connsiteX29" fmla="*/ 135234 w 270502"/>
                <a:gd name="connsiteY29" fmla="*/ 0 h 721392"/>
                <a:gd name="connsiteX30" fmla="*/ 210379 w 270502"/>
                <a:gd name="connsiteY30" fmla="*/ 75145 h 721392"/>
                <a:gd name="connsiteX31" fmla="*/ 135234 w 270502"/>
                <a:gd name="connsiteY31" fmla="*/ 150290 h 721392"/>
                <a:gd name="connsiteX32" fmla="*/ 60089 w 270502"/>
                <a:gd name="connsiteY32" fmla="*/ 75145 h 721392"/>
                <a:gd name="connsiteX33" fmla="*/ 135234 w 270502"/>
                <a:gd name="connsiteY33"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181404 w 270502"/>
                <a:gd name="connsiteY8" fmla="*/ 691333 h 721392"/>
                <a:gd name="connsiteX9" fmla="*/ 89097 w 270502"/>
                <a:gd name="connsiteY9" fmla="*/ 691333 h 721392"/>
                <a:gd name="connsiteX10" fmla="*/ 96852 w 270502"/>
                <a:gd name="connsiteY10" fmla="*/ 180349 h 721392"/>
                <a:gd name="connsiteX11" fmla="*/ 173589 w 270502"/>
                <a:gd name="connsiteY11" fmla="*/ 180349 h 721392"/>
                <a:gd name="connsiteX12" fmla="*/ 250238 w 270502"/>
                <a:gd name="connsiteY12" fmla="*/ 253359 h 721392"/>
                <a:gd name="connsiteX13" fmla="*/ 270166 w 270502"/>
                <a:gd name="connsiteY13" fmla="*/ 427937 h 721392"/>
                <a:gd name="connsiteX14" fmla="*/ 257782 w 270502"/>
                <a:gd name="connsiteY14" fmla="*/ 467703 h 721392"/>
                <a:gd name="connsiteX15" fmla="*/ 226913 w 270502"/>
                <a:gd name="connsiteY15" fmla="*/ 482882 h 721392"/>
                <a:gd name="connsiteX16" fmla="*/ 210320 w 270502"/>
                <a:gd name="connsiteY16" fmla="*/ 707475 h 721392"/>
                <a:gd name="connsiteX17" fmla="*/ 195351 w 270502"/>
                <a:gd name="connsiteY17" fmla="*/ 721392 h 721392"/>
                <a:gd name="connsiteX18" fmla="*/ 75119 w 270502"/>
                <a:gd name="connsiteY18" fmla="*/ 721392 h 721392"/>
                <a:gd name="connsiteX19" fmla="*/ 60151 w 270502"/>
                <a:gd name="connsiteY19" fmla="*/ 707475 h 721392"/>
                <a:gd name="connsiteX20" fmla="*/ 43558 w 270502"/>
                <a:gd name="connsiteY20" fmla="*/ 482882 h 721392"/>
                <a:gd name="connsiteX21" fmla="*/ 12689 w 270502"/>
                <a:gd name="connsiteY21" fmla="*/ 467703 h 721392"/>
                <a:gd name="connsiteX22" fmla="*/ 335 w 270502"/>
                <a:gd name="connsiteY22" fmla="*/ 427937 h 721392"/>
                <a:gd name="connsiteX23" fmla="*/ 20264 w 270502"/>
                <a:gd name="connsiteY23" fmla="*/ 253359 h 721392"/>
                <a:gd name="connsiteX24" fmla="*/ 96852 w 270502"/>
                <a:gd name="connsiteY24" fmla="*/ 180349 h 721392"/>
                <a:gd name="connsiteX25" fmla="*/ 135235 w 270502"/>
                <a:gd name="connsiteY25" fmla="*/ 120232 h 721392"/>
                <a:gd name="connsiteX26" fmla="*/ 135234 w 270502"/>
                <a:gd name="connsiteY26" fmla="*/ 120232 h 721392"/>
                <a:gd name="connsiteX27" fmla="*/ 135235 w 270502"/>
                <a:gd name="connsiteY27" fmla="*/ 120232 h 721392"/>
                <a:gd name="connsiteX28" fmla="*/ 135234 w 270502"/>
                <a:gd name="connsiteY28" fmla="*/ 0 h 721392"/>
                <a:gd name="connsiteX29" fmla="*/ 210379 w 270502"/>
                <a:gd name="connsiteY29" fmla="*/ 75145 h 721392"/>
                <a:gd name="connsiteX30" fmla="*/ 135234 w 270502"/>
                <a:gd name="connsiteY30" fmla="*/ 150290 h 721392"/>
                <a:gd name="connsiteX31" fmla="*/ 60089 w 270502"/>
                <a:gd name="connsiteY31" fmla="*/ 75145 h 721392"/>
                <a:gd name="connsiteX32" fmla="*/ 135234 w 270502"/>
                <a:gd name="connsiteY32"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181404 w 270502"/>
                <a:gd name="connsiteY7" fmla="*/ 691333 h 721392"/>
                <a:gd name="connsiteX8" fmla="*/ 89097 w 270502"/>
                <a:gd name="connsiteY8" fmla="*/ 691333 h 721392"/>
                <a:gd name="connsiteX9" fmla="*/ 96852 w 270502"/>
                <a:gd name="connsiteY9" fmla="*/ 180349 h 721392"/>
                <a:gd name="connsiteX10" fmla="*/ 173589 w 270502"/>
                <a:gd name="connsiteY10" fmla="*/ 180349 h 721392"/>
                <a:gd name="connsiteX11" fmla="*/ 250238 w 270502"/>
                <a:gd name="connsiteY11" fmla="*/ 253359 h 721392"/>
                <a:gd name="connsiteX12" fmla="*/ 270166 w 270502"/>
                <a:gd name="connsiteY12" fmla="*/ 427937 h 721392"/>
                <a:gd name="connsiteX13" fmla="*/ 257782 w 270502"/>
                <a:gd name="connsiteY13" fmla="*/ 467703 h 721392"/>
                <a:gd name="connsiteX14" fmla="*/ 226913 w 270502"/>
                <a:gd name="connsiteY14" fmla="*/ 482882 h 721392"/>
                <a:gd name="connsiteX15" fmla="*/ 210320 w 270502"/>
                <a:gd name="connsiteY15" fmla="*/ 707475 h 721392"/>
                <a:gd name="connsiteX16" fmla="*/ 195351 w 270502"/>
                <a:gd name="connsiteY16" fmla="*/ 721392 h 721392"/>
                <a:gd name="connsiteX17" fmla="*/ 75119 w 270502"/>
                <a:gd name="connsiteY17" fmla="*/ 721392 h 721392"/>
                <a:gd name="connsiteX18" fmla="*/ 60151 w 270502"/>
                <a:gd name="connsiteY18" fmla="*/ 707475 h 721392"/>
                <a:gd name="connsiteX19" fmla="*/ 43558 w 270502"/>
                <a:gd name="connsiteY19" fmla="*/ 482882 h 721392"/>
                <a:gd name="connsiteX20" fmla="*/ 12689 w 270502"/>
                <a:gd name="connsiteY20" fmla="*/ 467703 h 721392"/>
                <a:gd name="connsiteX21" fmla="*/ 335 w 270502"/>
                <a:gd name="connsiteY21" fmla="*/ 427937 h 721392"/>
                <a:gd name="connsiteX22" fmla="*/ 20264 w 270502"/>
                <a:gd name="connsiteY22" fmla="*/ 253359 h 721392"/>
                <a:gd name="connsiteX23" fmla="*/ 96852 w 270502"/>
                <a:gd name="connsiteY23" fmla="*/ 180349 h 721392"/>
                <a:gd name="connsiteX24" fmla="*/ 135235 w 270502"/>
                <a:gd name="connsiteY24" fmla="*/ 120232 h 721392"/>
                <a:gd name="connsiteX25" fmla="*/ 135234 w 270502"/>
                <a:gd name="connsiteY25" fmla="*/ 120232 h 721392"/>
                <a:gd name="connsiteX26" fmla="*/ 135235 w 270502"/>
                <a:gd name="connsiteY26" fmla="*/ 120232 h 721392"/>
                <a:gd name="connsiteX27" fmla="*/ 135234 w 270502"/>
                <a:gd name="connsiteY27" fmla="*/ 0 h 721392"/>
                <a:gd name="connsiteX28" fmla="*/ 210379 w 270502"/>
                <a:gd name="connsiteY28" fmla="*/ 75145 h 721392"/>
                <a:gd name="connsiteX29" fmla="*/ 135234 w 270502"/>
                <a:gd name="connsiteY29" fmla="*/ 150290 h 721392"/>
                <a:gd name="connsiteX30" fmla="*/ 60089 w 270502"/>
                <a:gd name="connsiteY30" fmla="*/ 75145 h 721392"/>
                <a:gd name="connsiteX31" fmla="*/ 135234 w 270502"/>
                <a:gd name="connsiteY31"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240348 w 270502"/>
                <a:gd name="connsiteY5" fmla="*/ 431333 h 721392"/>
                <a:gd name="connsiteX6" fmla="*/ 181404 w 270502"/>
                <a:gd name="connsiteY6" fmla="*/ 691333 h 721392"/>
                <a:gd name="connsiteX7" fmla="*/ 89097 w 270502"/>
                <a:gd name="connsiteY7" fmla="*/ 691333 h 721392"/>
                <a:gd name="connsiteX8" fmla="*/ 96852 w 270502"/>
                <a:gd name="connsiteY8" fmla="*/ 180349 h 721392"/>
                <a:gd name="connsiteX9" fmla="*/ 173589 w 270502"/>
                <a:gd name="connsiteY9" fmla="*/ 180349 h 721392"/>
                <a:gd name="connsiteX10" fmla="*/ 250238 w 270502"/>
                <a:gd name="connsiteY10" fmla="*/ 253359 h 721392"/>
                <a:gd name="connsiteX11" fmla="*/ 270166 w 270502"/>
                <a:gd name="connsiteY11" fmla="*/ 427937 h 721392"/>
                <a:gd name="connsiteX12" fmla="*/ 257782 w 270502"/>
                <a:gd name="connsiteY12" fmla="*/ 467703 h 721392"/>
                <a:gd name="connsiteX13" fmla="*/ 226913 w 270502"/>
                <a:gd name="connsiteY13" fmla="*/ 482882 h 721392"/>
                <a:gd name="connsiteX14" fmla="*/ 210320 w 270502"/>
                <a:gd name="connsiteY14" fmla="*/ 707475 h 721392"/>
                <a:gd name="connsiteX15" fmla="*/ 195351 w 270502"/>
                <a:gd name="connsiteY15" fmla="*/ 721392 h 721392"/>
                <a:gd name="connsiteX16" fmla="*/ 75119 w 270502"/>
                <a:gd name="connsiteY16" fmla="*/ 721392 h 721392"/>
                <a:gd name="connsiteX17" fmla="*/ 60151 w 270502"/>
                <a:gd name="connsiteY17" fmla="*/ 707475 h 721392"/>
                <a:gd name="connsiteX18" fmla="*/ 43558 w 270502"/>
                <a:gd name="connsiteY18" fmla="*/ 482882 h 721392"/>
                <a:gd name="connsiteX19" fmla="*/ 12689 w 270502"/>
                <a:gd name="connsiteY19" fmla="*/ 467703 h 721392"/>
                <a:gd name="connsiteX20" fmla="*/ 335 w 270502"/>
                <a:gd name="connsiteY20" fmla="*/ 427937 h 721392"/>
                <a:gd name="connsiteX21" fmla="*/ 20264 w 270502"/>
                <a:gd name="connsiteY21" fmla="*/ 253359 h 721392"/>
                <a:gd name="connsiteX22" fmla="*/ 96852 w 270502"/>
                <a:gd name="connsiteY22" fmla="*/ 180349 h 721392"/>
                <a:gd name="connsiteX23" fmla="*/ 135235 w 270502"/>
                <a:gd name="connsiteY23" fmla="*/ 120232 h 721392"/>
                <a:gd name="connsiteX24" fmla="*/ 135234 w 270502"/>
                <a:gd name="connsiteY24" fmla="*/ 120232 h 721392"/>
                <a:gd name="connsiteX25" fmla="*/ 135235 w 270502"/>
                <a:gd name="connsiteY25" fmla="*/ 120232 h 721392"/>
                <a:gd name="connsiteX26" fmla="*/ 135234 w 270502"/>
                <a:gd name="connsiteY26" fmla="*/ 0 h 721392"/>
                <a:gd name="connsiteX27" fmla="*/ 210379 w 270502"/>
                <a:gd name="connsiteY27" fmla="*/ 75145 h 721392"/>
                <a:gd name="connsiteX28" fmla="*/ 135234 w 270502"/>
                <a:gd name="connsiteY28" fmla="*/ 150290 h 721392"/>
                <a:gd name="connsiteX29" fmla="*/ 60089 w 270502"/>
                <a:gd name="connsiteY29" fmla="*/ 75145 h 721392"/>
                <a:gd name="connsiteX30" fmla="*/ 135234 w 270502"/>
                <a:gd name="connsiteY30"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181404 w 270502"/>
                <a:gd name="connsiteY5" fmla="*/ 691333 h 721392"/>
                <a:gd name="connsiteX6" fmla="*/ 89097 w 270502"/>
                <a:gd name="connsiteY6" fmla="*/ 691333 h 721392"/>
                <a:gd name="connsiteX7" fmla="*/ 96852 w 270502"/>
                <a:gd name="connsiteY7" fmla="*/ 180349 h 721392"/>
                <a:gd name="connsiteX8" fmla="*/ 173589 w 270502"/>
                <a:gd name="connsiteY8" fmla="*/ 180349 h 721392"/>
                <a:gd name="connsiteX9" fmla="*/ 250238 w 270502"/>
                <a:gd name="connsiteY9" fmla="*/ 253359 h 721392"/>
                <a:gd name="connsiteX10" fmla="*/ 270166 w 270502"/>
                <a:gd name="connsiteY10" fmla="*/ 427937 h 721392"/>
                <a:gd name="connsiteX11" fmla="*/ 257782 w 270502"/>
                <a:gd name="connsiteY11" fmla="*/ 467703 h 721392"/>
                <a:gd name="connsiteX12" fmla="*/ 226913 w 270502"/>
                <a:gd name="connsiteY12" fmla="*/ 482882 h 721392"/>
                <a:gd name="connsiteX13" fmla="*/ 210320 w 270502"/>
                <a:gd name="connsiteY13" fmla="*/ 707475 h 721392"/>
                <a:gd name="connsiteX14" fmla="*/ 195351 w 270502"/>
                <a:gd name="connsiteY14" fmla="*/ 721392 h 721392"/>
                <a:gd name="connsiteX15" fmla="*/ 75119 w 270502"/>
                <a:gd name="connsiteY15" fmla="*/ 721392 h 721392"/>
                <a:gd name="connsiteX16" fmla="*/ 60151 w 270502"/>
                <a:gd name="connsiteY16" fmla="*/ 707475 h 721392"/>
                <a:gd name="connsiteX17" fmla="*/ 43558 w 270502"/>
                <a:gd name="connsiteY17" fmla="*/ 482882 h 721392"/>
                <a:gd name="connsiteX18" fmla="*/ 12689 w 270502"/>
                <a:gd name="connsiteY18" fmla="*/ 467703 h 721392"/>
                <a:gd name="connsiteX19" fmla="*/ 335 w 270502"/>
                <a:gd name="connsiteY19" fmla="*/ 427937 h 721392"/>
                <a:gd name="connsiteX20" fmla="*/ 20264 w 270502"/>
                <a:gd name="connsiteY20" fmla="*/ 253359 h 721392"/>
                <a:gd name="connsiteX21" fmla="*/ 96852 w 270502"/>
                <a:gd name="connsiteY21" fmla="*/ 180349 h 721392"/>
                <a:gd name="connsiteX22" fmla="*/ 135235 w 270502"/>
                <a:gd name="connsiteY22" fmla="*/ 120232 h 721392"/>
                <a:gd name="connsiteX23" fmla="*/ 135234 w 270502"/>
                <a:gd name="connsiteY23" fmla="*/ 120232 h 721392"/>
                <a:gd name="connsiteX24" fmla="*/ 135235 w 270502"/>
                <a:gd name="connsiteY24" fmla="*/ 120232 h 721392"/>
                <a:gd name="connsiteX25" fmla="*/ 135234 w 270502"/>
                <a:gd name="connsiteY25" fmla="*/ 0 h 721392"/>
                <a:gd name="connsiteX26" fmla="*/ 210379 w 270502"/>
                <a:gd name="connsiteY26" fmla="*/ 75145 h 721392"/>
                <a:gd name="connsiteX27" fmla="*/ 135234 w 270502"/>
                <a:gd name="connsiteY27" fmla="*/ 150290 h 721392"/>
                <a:gd name="connsiteX28" fmla="*/ 60089 w 270502"/>
                <a:gd name="connsiteY28" fmla="*/ 75145 h 721392"/>
                <a:gd name="connsiteX29" fmla="*/ 135234 w 270502"/>
                <a:gd name="connsiteY29"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181404 w 270502"/>
                <a:gd name="connsiteY4" fmla="*/ 691333 h 721392"/>
                <a:gd name="connsiteX5" fmla="*/ 89097 w 270502"/>
                <a:gd name="connsiteY5" fmla="*/ 691333 h 721392"/>
                <a:gd name="connsiteX6" fmla="*/ 96852 w 270502"/>
                <a:gd name="connsiteY6" fmla="*/ 180349 h 721392"/>
                <a:gd name="connsiteX7" fmla="*/ 173589 w 270502"/>
                <a:gd name="connsiteY7" fmla="*/ 180349 h 721392"/>
                <a:gd name="connsiteX8" fmla="*/ 250238 w 270502"/>
                <a:gd name="connsiteY8" fmla="*/ 253359 h 721392"/>
                <a:gd name="connsiteX9" fmla="*/ 270166 w 270502"/>
                <a:gd name="connsiteY9" fmla="*/ 427937 h 721392"/>
                <a:gd name="connsiteX10" fmla="*/ 257782 w 270502"/>
                <a:gd name="connsiteY10" fmla="*/ 467703 h 721392"/>
                <a:gd name="connsiteX11" fmla="*/ 226913 w 270502"/>
                <a:gd name="connsiteY11" fmla="*/ 482882 h 721392"/>
                <a:gd name="connsiteX12" fmla="*/ 210320 w 270502"/>
                <a:gd name="connsiteY12" fmla="*/ 707475 h 721392"/>
                <a:gd name="connsiteX13" fmla="*/ 195351 w 270502"/>
                <a:gd name="connsiteY13" fmla="*/ 721392 h 721392"/>
                <a:gd name="connsiteX14" fmla="*/ 75119 w 270502"/>
                <a:gd name="connsiteY14" fmla="*/ 721392 h 721392"/>
                <a:gd name="connsiteX15" fmla="*/ 60151 w 270502"/>
                <a:gd name="connsiteY15" fmla="*/ 707475 h 721392"/>
                <a:gd name="connsiteX16" fmla="*/ 43558 w 270502"/>
                <a:gd name="connsiteY16" fmla="*/ 482882 h 721392"/>
                <a:gd name="connsiteX17" fmla="*/ 12689 w 270502"/>
                <a:gd name="connsiteY17" fmla="*/ 467703 h 721392"/>
                <a:gd name="connsiteX18" fmla="*/ 335 w 270502"/>
                <a:gd name="connsiteY18" fmla="*/ 427937 h 721392"/>
                <a:gd name="connsiteX19" fmla="*/ 20264 w 270502"/>
                <a:gd name="connsiteY19" fmla="*/ 253359 h 721392"/>
                <a:gd name="connsiteX20" fmla="*/ 96852 w 270502"/>
                <a:gd name="connsiteY20" fmla="*/ 180349 h 721392"/>
                <a:gd name="connsiteX21" fmla="*/ 135235 w 270502"/>
                <a:gd name="connsiteY21" fmla="*/ 120232 h 721392"/>
                <a:gd name="connsiteX22" fmla="*/ 135234 w 270502"/>
                <a:gd name="connsiteY22" fmla="*/ 120232 h 721392"/>
                <a:gd name="connsiteX23" fmla="*/ 135235 w 270502"/>
                <a:gd name="connsiteY23" fmla="*/ 120232 h 721392"/>
                <a:gd name="connsiteX24" fmla="*/ 135234 w 270502"/>
                <a:gd name="connsiteY24" fmla="*/ 0 h 721392"/>
                <a:gd name="connsiteX25" fmla="*/ 210379 w 270502"/>
                <a:gd name="connsiteY25" fmla="*/ 75145 h 721392"/>
                <a:gd name="connsiteX26" fmla="*/ 135234 w 270502"/>
                <a:gd name="connsiteY26" fmla="*/ 150290 h 721392"/>
                <a:gd name="connsiteX27" fmla="*/ 60089 w 270502"/>
                <a:gd name="connsiteY27" fmla="*/ 75145 h 721392"/>
                <a:gd name="connsiteX28" fmla="*/ 135234 w 270502"/>
                <a:gd name="connsiteY2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81404 w 270502"/>
                <a:gd name="connsiteY3" fmla="*/ 691333 h 721392"/>
                <a:gd name="connsiteX4" fmla="*/ 89097 w 270502"/>
                <a:gd name="connsiteY4" fmla="*/ 691333 h 721392"/>
                <a:gd name="connsiteX5" fmla="*/ 96852 w 270502"/>
                <a:gd name="connsiteY5" fmla="*/ 180349 h 721392"/>
                <a:gd name="connsiteX6" fmla="*/ 173589 w 270502"/>
                <a:gd name="connsiteY6" fmla="*/ 180349 h 721392"/>
                <a:gd name="connsiteX7" fmla="*/ 250238 w 270502"/>
                <a:gd name="connsiteY7" fmla="*/ 253359 h 721392"/>
                <a:gd name="connsiteX8" fmla="*/ 270166 w 270502"/>
                <a:gd name="connsiteY8" fmla="*/ 427937 h 721392"/>
                <a:gd name="connsiteX9" fmla="*/ 257782 w 270502"/>
                <a:gd name="connsiteY9" fmla="*/ 467703 h 721392"/>
                <a:gd name="connsiteX10" fmla="*/ 226913 w 270502"/>
                <a:gd name="connsiteY10" fmla="*/ 482882 h 721392"/>
                <a:gd name="connsiteX11" fmla="*/ 210320 w 270502"/>
                <a:gd name="connsiteY11" fmla="*/ 707475 h 721392"/>
                <a:gd name="connsiteX12" fmla="*/ 195351 w 270502"/>
                <a:gd name="connsiteY12" fmla="*/ 721392 h 721392"/>
                <a:gd name="connsiteX13" fmla="*/ 75119 w 270502"/>
                <a:gd name="connsiteY13" fmla="*/ 721392 h 721392"/>
                <a:gd name="connsiteX14" fmla="*/ 60151 w 270502"/>
                <a:gd name="connsiteY14" fmla="*/ 707475 h 721392"/>
                <a:gd name="connsiteX15" fmla="*/ 43558 w 270502"/>
                <a:gd name="connsiteY15" fmla="*/ 482882 h 721392"/>
                <a:gd name="connsiteX16" fmla="*/ 12689 w 270502"/>
                <a:gd name="connsiteY16" fmla="*/ 467703 h 721392"/>
                <a:gd name="connsiteX17" fmla="*/ 335 w 270502"/>
                <a:gd name="connsiteY17" fmla="*/ 427937 h 721392"/>
                <a:gd name="connsiteX18" fmla="*/ 20264 w 270502"/>
                <a:gd name="connsiteY18" fmla="*/ 253359 h 721392"/>
                <a:gd name="connsiteX19" fmla="*/ 96852 w 270502"/>
                <a:gd name="connsiteY19" fmla="*/ 180349 h 721392"/>
                <a:gd name="connsiteX20" fmla="*/ 135235 w 270502"/>
                <a:gd name="connsiteY20" fmla="*/ 120232 h 721392"/>
                <a:gd name="connsiteX21" fmla="*/ 135234 w 270502"/>
                <a:gd name="connsiteY21" fmla="*/ 120232 h 721392"/>
                <a:gd name="connsiteX22" fmla="*/ 135235 w 270502"/>
                <a:gd name="connsiteY22" fmla="*/ 120232 h 721392"/>
                <a:gd name="connsiteX23" fmla="*/ 135234 w 270502"/>
                <a:gd name="connsiteY23" fmla="*/ 0 h 721392"/>
                <a:gd name="connsiteX24" fmla="*/ 210379 w 270502"/>
                <a:gd name="connsiteY24" fmla="*/ 75145 h 721392"/>
                <a:gd name="connsiteX25" fmla="*/ 135234 w 270502"/>
                <a:gd name="connsiteY25" fmla="*/ 150290 h 721392"/>
                <a:gd name="connsiteX26" fmla="*/ 60089 w 270502"/>
                <a:gd name="connsiteY26" fmla="*/ 75145 h 721392"/>
                <a:gd name="connsiteX27" fmla="*/ 135234 w 270502"/>
                <a:gd name="connsiteY2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89097 w 270502"/>
                <a:gd name="connsiteY3" fmla="*/ 691333 h 721392"/>
                <a:gd name="connsiteX4" fmla="*/ 96852 w 270502"/>
                <a:gd name="connsiteY4" fmla="*/ 180349 h 721392"/>
                <a:gd name="connsiteX5" fmla="*/ 173589 w 270502"/>
                <a:gd name="connsiteY5" fmla="*/ 180349 h 721392"/>
                <a:gd name="connsiteX6" fmla="*/ 250238 w 270502"/>
                <a:gd name="connsiteY6" fmla="*/ 253359 h 721392"/>
                <a:gd name="connsiteX7" fmla="*/ 270166 w 270502"/>
                <a:gd name="connsiteY7" fmla="*/ 427937 h 721392"/>
                <a:gd name="connsiteX8" fmla="*/ 257782 w 270502"/>
                <a:gd name="connsiteY8" fmla="*/ 467703 h 721392"/>
                <a:gd name="connsiteX9" fmla="*/ 226913 w 270502"/>
                <a:gd name="connsiteY9" fmla="*/ 482882 h 721392"/>
                <a:gd name="connsiteX10" fmla="*/ 210320 w 270502"/>
                <a:gd name="connsiteY10" fmla="*/ 707475 h 721392"/>
                <a:gd name="connsiteX11" fmla="*/ 195351 w 270502"/>
                <a:gd name="connsiteY11" fmla="*/ 721392 h 721392"/>
                <a:gd name="connsiteX12" fmla="*/ 75119 w 270502"/>
                <a:gd name="connsiteY12" fmla="*/ 721392 h 721392"/>
                <a:gd name="connsiteX13" fmla="*/ 60151 w 270502"/>
                <a:gd name="connsiteY13" fmla="*/ 707475 h 721392"/>
                <a:gd name="connsiteX14" fmla="*/ 43558 w 270502"/>
                <a:gd name="connsiteY14" fmla="*/ 482882 h 721392"/>
                <a:gd name="connsiteX15" fmla="*/ 12689 w 270502"/>
                <a:gd name="connsiteY15" fmla="*/ 467703 h 721392"/>
                <a:gd name="connsiteX16" fmla="*/ 335 w 270502"/>
                <a:gd name="connsiteY16" fmla="*/ 427937 h 721392"/>
                <a:gd name="connsiteX17" fmla="*/ 20264 w 270502"/>
                <a:gd name="connsiteY17" fmla="*/ 253359 h 721392"/>
                <a:gd name="connsiteX18" fmla="*/ 96852 w 270502"/>
                <a:gd name="connsiteY18" fmla="*/ 180349 h 721392"/>
                <a:gd name="connsiteX19" fmla="*/ 135235 w 270502"/>
                <a:gd name="connsiteY19" fmla="*/ 120232 h 721392"/>
                <a:gd name="connsiteX20" fmla="*/ 135234 w 270502"/>
                <a:gd name="connsiteY20" fmla="*/ 120232 h 721392"/>
                <a:gd name="connsiteX21" fmla="*/ 135235 w 270502"/>
                <a:gd name="connsiteY21" fmla="*/ 120232 h 721392"/>
                <a:gd name="connsiteX22" fmla="*/ 135234 w 270502"/>
                <a:gd name="connsiteY22" fmla="*/ 0 h 721392"/>
                <a:gd name="connsiteX23" fmla="*/ 210379 w 270502"/>
                <a:gd name="connsiteY23" fmla="*/ 75145 h 721392"/>
                <a:gd name="connsiteX24" fmla="*/ 135234 w 270502"/>
                <a:gd name="connsiteY24" fmla="*/ 150290 h 721392"/>
                <a:gd name="connsiteX25" fmla="*/ 60089 w 270502"/>
                <a:gd name="connsiteY25" fmla="*/ 75145 h 721392"/>
                <a:gd name="connsiteX26" fmla="*/ 135234 w 270502"/>
                <a:gd name="connsiteY26" fmla="*/ 0 h 721392"/>
                <a:gd name="connsiteX0" fmla="*/ 89097 w 270502"/>
                <a:gd name="connsiteY0" fmla="*/ 691333 h 721392"/>
                <a:gd name="connsiteX1" fmla="*/ 89097 w 270502"/>
                <a:gd name="connsiteY1" fmla="*/ 691334 h 721392"/>
                <a:gd name="connsiteX2" fmla="*/ 89097 w 270502"/>
                <a:gd name="connsiteY2" fmla="*/ 691333 h 721392"/>
                <a:gd name="connsiteX3" fmla="*/ 96852 w 270502"/>
                <a:gd name="connsiteY3" fmla="*/ 180349 h 721392"/>
                <a:gd name="connsiteX4" fmla="*/ 173589 w 270502"/>
                <a:gd name="connsiteY4" fmla="*/ 180349 h 721392"/>
                <a:gd name="connsiteX5" fmla="*/ 250238 w 270502"/>
                <a:gd name="connsiteY5" fmla="*/ 253359 h 721392"/>
                <a:gd name="connsiteX6" fmla="*/ 270166 w 270502"/>
                <a:gd name="connsiteY6" fmla="*/ 427937 h 721392"/>
                <a:gd name="connsiteX7" fmla="*/ 257782 w 270502"/>
                <a:gd name="connsiteY7" fmla="*/ 467703 h 721392"/>
                <a:gd name="connsiteX8" fmla="*/ 226913 w 270502"/>
                <a:gd name="connsiteY8" fmla="*/ 482882 h 721392"/>
                <a:gd name="connsiteX9" fmla="*/ 210320 w 270502"/>
                <a:gd name="connsiteY9" fmla="*/ 707475 h 721392"/>
                <a:gd name="connsiteX10" fmla="*/ 195351 w 270502"/>
                <a:gd name="connsiteY10" fmla="*/ 721392 h 721392"/>
                <a:gd name="connsiteX11" fmla="*/ 75119 w 270502"/>
                <a:gd name="connsiteY11" fmla="*/ 721392 h 721392"/>
                <a:gd name="connsiteX12" fmla="*/ 60151 w 270502"/>
                <a:gd name="connsiteY12" fmla="*/ 707475 h 721392"/>
                <a:gd name="connsiteX13" fmla="*/ 43558 w 270502"/>
                <a:gd name="connsiteY13" fmla="*/ 482882 h 721392"/>
                <a:gd name="connsiteX14" fmla="*/ 12689 w 270502"/>
                <a:gd name="connsiteY14" fmla="*/ 467703 h 721392"/>
                <a:gd name="connsiteX15" fmla="*/ 335 w 270502"/>
                <a:gd name="connsiteY15" fmla="*/ 427937 h 721392"/>
                <a:gd name="connsiteX16" fmla="*/ 20264 w 270502"/>
                <a:gd name="connsiteY16" fmla="*/ 253359 h 721392"/>
                <a:gd name="connsiteX17" fmla="*/ 96852 w 270502"/>
                <a:gd name="connsiteY17" fmla="*/ 180349 h 721392"/>
                <a:gd name="connsiteX18" fmla="*/ 135235 w 270502"/>
                <a:gd name="connsiteY18" fmla="*/ 120232 h 721392"/>
                <a:gd name="connsiteX19" fmla="*/ 135234 w 270502"/>
                <a:gd name="connsiteY19" fmla="*/ 120232 h 721392"/>
                <a:gd name="connsiteX20" fmla="*/ 135235 w 270502"/>
                <a:gd name="connsiteY20" fmla="*/ 120232 h 721392"/>
                <a:gd name="connsiteX21" fmla="*/ 135234 w 270502"/>
                <a:gd name="connsiteY21" fmla="*/ 0 h 721392"/>
                <a:gd name="connsiteX22" fmla="*/ 210379 w 270502"/>
                <a:gd name="connsiteY22" fmla="*/ 75145 h 721392"/>
                <a:gd name="connsiteX23" fmla="*/ 135234 w 270502"/>
                <a:gd name="connsiteY23" fmla="*/ 150290 h 721392"/>
                <a:gd name="connsiteX24" fmla="*/ 60089 w 270502"/>
                <a:gd name="connsiteY24" fmla="*/ 75145 h 721392"/>
                <a:gd name="connsiteX25" fmla="*/ 135234 w 270502"/>
                <a:gd name="connsiteY25"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5 w 270502"/>
                <a:gd name="connsiteY15" fmla="*/ 120232 h 721392"/>
                <a:gd name="connsiteX16" fmla="*/ 135234 w 270502"/>
                <a:gd name="connsiteY16" fmla="*/ 120232 h 721392"/>
                <a:gd name="connsiteX17" fmla="*/ 135235 w 270502"/>
                <a:gd name="connsiteY17" fmla="*/ 120232 h 721392"/>
                <a:gd name="connsiteX18" fmla="*/ 135234 w 270502"/>
                <a:gd name="connsiteY18" fmla="*/ 0 h 721392"/>
                <a:gd name="connsiteX19" fmla="*/ 210379 w 270502"/>
                <a:gd name="connsiteY19" fmla="*/ 75145 h 721392"/>
                <a:gd name="connsiteX20" fmla="*/ 135234 w 270502"/>
                <a:gd name="connsiteY20" fmla="*/ 150290 h 721392"/>
                <a:gd name="connsiteX21" fmla="*/ 60089 w 270502"/>
                <a:gd name="connsiteY21" fmla="*/ 75145 h 721392"/>
                <a:gd name="connsiteX22" fmla="*/ 135234 w 270502"/>
                <a:gd name="connsiteY22"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4 w 270502"/>
                <a:gd name="connsiteY15" fmla="*/ 0 h 721392"/>
                <a:gd name="connsiteX16" fmla="*/ 210379 w 270502"/>
                <a:gd name="connsiteY16" fmla="*/ 75145 h 721392"/>
                <a:gd name="connsiteX17" fmla="*/ 135234 w 270502"/>
                <a:gd name="connsiteY17" fmla="*/ 150290 h 721392"/>
                <a:gd name="connsiteX18" fmla="*/ 60089 w 270502"/>
                <a:gd name="connsiteY18" fmla="*/ 75145 h 721392"/>
                <a:gd name="connsiteX19" fmla="*/ 135234 w 270502"/>
                <a:gd name="connsiteY19" fmla="*/ 0 h 72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0502" h="721392">
                  <a:moveTo>
                    <a:pt x="96852" y="180349"/>
                  </a:moveTo>
                  <a:lnTo>
                    <a:pt x="173589" y="180349"/>
                  </a:lnTo>
                  <a:cubicBezTo>
                    <a:pt x="212545" y="180349"/>
                    <a:pt x="245518" y="211730"/>
                    <a:pt x="250238" y="253359"/>
                  </a:cubicBezTo>
                  <a:lnTo>
                    <a:pt x="270166" y="427937"/>
                  </a:lnTo>
                  <a:cubicBezTo>
                    <a:pt x="271819" y="442545"/>
                    <a:pt x="267341" y="457033"/>
                    <a:pt x="257782" y="467703"/>
                  </a:cubicBezTo>
                  <a:cubicBezTo>
                    <a:pt x="249576" y="476901"/>
                    <a:pt x="238695" y="482221"/>
                    <a:pt x="226913" y="482882"/>
                  </a:cubicBezTo>
                  <a:lnTo>
                    <a:pt x="210320" y="707475"/>
                  </a:lnTo>
                  <a:cubicBezTo>
                    <a:pt x="209779" y="715320"/>
                    <a:pt x="203227" y="721392"/>
                    <a:pt x="195351" y="721392"/>
                  </a:cubicBezTo>
                  <a:lnTo>
                    <a:pt x="75119" y="721392"/>
                  </a:lnTo>
                  <a:cubicBezTo>
                    <a:pt x="67274" y="721392"/>
                    <a:pt x="60722" y="715320"/>
                    <a:pt x="60151" y="707475"/>
                  </a:cubicBezTo>
                  <a:lnTo>
                    <a:pt x="43558" y="482882"/>
                  </a:lnTo>
                  <a:cubicBezTo>
                    <a:pt x="31746" y="482221"/>
                    <a:pt x="20895" y="476870"/>
                    <a:pt x="12689" y="467703"/>
                  </a:cubicBezTo>
                  <a:cubicBezTo>
                    <a:pt x="3191" y="457062"/>
                    <a:pt x="-1318" y="442545"/>
                    <a:pt x="335" y="427937"/>
                  </a:cubicBezTo>
                  <a:lnTo>
                    <a:pt x="20264" y="253359"/>
                  </a:lnTo>
                  <a:cubicBezTo>
                    <a:pt x="25013" y="211730"/>
                    <a:pt x="57957" y="180349"/>
                    <a:pt x="96852" y="180349"/>
                  </a:cubicBezTo>
                  <a:close/>
                  <a:moveTo>
                    <a:pt x="135234" y="0"/>
                  </a:moveTo>
                  <a:cubicBezTo>
                    <a:pt x="176684" y="0"/>
                    <a:pt x="210379" y="33725"/>
                    <a:pt x="210379" y="75145"/>
                  </a:cubicBezTo>
                  <a:cubicBezTo>
                    <a:pt x="210379" y="116565"/>
                    <a:pt x="176655" y="150290"/>
                    <a:pt x="135234" y="150290"/>
                  </a:cubicBezTo>
                  <a:cubicBezTo>
                    <a:pt x="93814" y="150290"/>
                    <a:pt x="60089" y="116565"/>
                    <a:pt x="60089" y="75145"/>
                  </a:cubicBezTo>
                  <a:cubicBezTo>
                    <a:pt x="60089" y="33725"/>
                    <a:pt x="93814" y="0"/>
                    <a:pt x="135234" y="0"/>
                  </a:cubicBezTo>
                  <a:close/>
                </a:path>
              </a:pathLst>
            </a:custGeom>
            <a:solidFill>
              <a:schemeClr val="bg1"/>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700">
                <a:solidFill>
                  <a:schemeClr val="tx1"/>
                </a:solidFill>
              </a:endParaRPr>
            </a:p>
          </p:txBody>
        </p:sp>
        <p:sp>
          <p:nvSpPr>
            <p:cNvPr id="12" name="Heart 11">
              <a:extLst>
                <a:ext uri="{FF2B5EF4-FFF2-40B4-BE49-F238E27FC236}">
                  <a16:creationId xmlns:a16="http://schemas.microsoft.com/office/drawing/2014/main" id="{5327C4DB-D6A7-21C5-9B1B-1436DF559E6D}"/>
                </a:ext>
              </a:extLst>
            </p:cNvPr>
            <p:cNvSpPr/>
            <p:nvPr/>
          </p:nvSpPr>
          <p:spPr>
            <a:xfrm>
              <a:off x="6633180" y="4812705"/>
              <a:ext cx="737161" cy="655247"/>
            </a:xfrm>
            <a:prstGeom prst="heart">
              <a:avLst/>
            </a:prstGeom>
            <a:solidFill>
              <a:schemeClr val="accent1">
                <a:alpha val="79616"/>
              </a:schemeClr>
            </a:solidFill>
            <a:ln w="12700" cap="flat">
              <a:solidFill>
                <a:schemeClr val="accent3"/>
              </a:solidFill>
              <a:prstDash val="solid"/>
              <a:miter/>
            </a:ln>
          </p:spPr>
          <p:txBody>
            <a:bodyPr rtlCol="0" anchor="ctr"/>
            <a:lstStyle/>
            <a:p>
              <a:endParaRPr lang="en-US" sz="700"/>
            </a:p>
          </p:txBody>
        </p:sp>
        <p:grpSp>
          <p:nvGrpSpPr>
            <p:cNvPr id="13" name="Group 12">
              <a:extLst>
                <a:ext uri="{FF2B5EF4-FFF2-40B4-BE49-F238E27FC236}">
                  <a16:creationId xmlns:a16="http://schemas.microsoft.com/office/drawing/2014/main" id="{CC523684-5A21-66E7-7FDD-5714BA9896C7}"/>
                </a:ext>
              </a:extLst>
            </p:cNvPr>
            <p:cNvGrpSpPr/>
            <p:nvPr/>
          </p:nvGrpSpPr>
          <p:grpSpPr>
            <a:xfrm>
              <a:off x="6866930" y="4617788"/>
              <a:ext cx="286376" cy="201266"/>
              <a:chOff x="6866930" y="4617788"/>
              <a:chExt cx="286376" cy="201266"/>
            </a:xfrm>
          </p:grpSpPr>
          <p:grpSp>
            <p:nvGrpSpPr>
              <p:cNvPr id="15" name="Group 14">
                <a:extLst>
                  <a:ext uri="{FF2B5EF4-FFF2-40B4-BE49-F238E27FC236}">
                    <a16:creationId xmlns:a16="http://schemas.microsoft.com/office/drawing/2014/main" id="{E07B1695-782F-3F3A-FA41-51435A92B592}"/>
                  </a:ext>
                </a:extLst>
              </p:cNvPr>
              <p:cNvGrpSpPr/>
              <p:nvPr/>
            </p:nvGrpSpPr>
            <p:grpSpPr>
              <a:xfrm>
                <a:off x="7007266" y="4617788"/>
                <a:ext cx="146040" cy="194916"/>
                <a:chOff x="7059230" y="4617163"/>
                <a:chExt cx="120845" cy="161289"/>
              </a:xfrm>
            </p:grpSpPr>
            <p:sp>
              <p:nvSpPr>
                <p:cNvPr id="19" name="Freeform 34">
                  <a:extLst>
                    <a:ext uri="{FF2B5EF4-FFF2-40B4-BE49-F238E27FC236}">
                      <a16:creationId xmlns:a16="http://schemas.microsoft.com/office/drawing/2014/main" id="{C543220F-15AE-BFA9-0B3B-CAFC3A76E4E1}"/>
                    </a:ext>
                  </a:extLst>
                </p:cNvPr>
                <p:cNvSpPr/>
                <p:nvPr/>
              </p:nvSpPr>
              <p:spPr>
                <a:xfrm>
                  <a:off x="7059230" y="4617163"/>
                  <a:ext cx="120845" cy="151992"/>
                </a:xfrm>
                <a:custGeom>
                  <a:avLst/>
                  <a:gdLst>
                    <a:gd name="connsiteX0" fmla="*/ 69718 w 120845"/>
                    <a:gd name="connsiteY0" fmla="*/ 50530 h 151992"/>
                    <a:gd name="connsiteX1" fmla="*/ 69718 w 120845"/>
                    <a:gd name="connsiteY1" fmla="*/ 9296 h 151992"/>
                    <a:gd name="connsiteX2" fmla="*/ 60423 w 120845"/>
                    <a:gd name="connsiteY2" fmla="*/ 0 h 151992"/>
                    <a:gd name="connsiteX3" fmla="*/ 51127 w 120845"/>
                    <a:gd name="connsiteY3" fmla="*/ 9296 h 151992"/>
                    <a:gd name="connsiteX4" fmla="*/ 51127 w 120845"/>
                    <a:gd name="connsiteY4" fmla="*/ 50530 h 151992"/>
                    <a:gd name="connsiteX5" fmla="*/ 0 w 120845"/>
                    <a:gd name="connsiteY5" fmla="*/ 110161 h 151992"/>
                    <a:gd name="connsiteX6" fmla="*/ 0 w 120845"/>
                    <a:gd name="connsiteY6" fmla="*/ 151992 h 151992"/>
                    <a:gd name="connsiteX7" fmla="*/ 18592 w 120845"/>
                    <a:gd name="connsiteY7" fmla="*/ 151992 h 151992"/>
                    <a:gd name="connsiteX8" fmla="*/ 18592 w 120845"/>
                    <a:gd name="connsiteY8" fmla="*/ 110161 h 151992"/>
                    <a:gd name="connsiteX9" fmla="*/ 60423 w 120845"/>
                    <a:gd name="connsiteY9" fmla="*/ 68330 h 151992"/>
                    <a:gd name="connsiteX10" fmla="*/ 102254 w 120845"/>
                    <a:gd name="connsiteY10" fmla="*/ 110161 h 151992"/>
                    <a:gd name="connsiteX11" fmla="*/ 102254 w 120845"/>
                    <a:gd name="connsiteY11" fmla="*/ 151992 h 151992"/>
                    <a:gd name="connsiteX12" fmla="*/ 120845 w 120845"/>
                    <a:gd name="connsiteY12" fmla="*/ 151992 h 151992"/>
                    <a:gd name="connsiteX13" fmla="*/ 120845 w 120845"/>
                    <a:gd name="connsiteY13" fmla="*/ 110161 h 151992"/>
                    <a:gd name="connsiteX14" fmla="*/ 69718 w 120845"/>
                    <a:gd name="connsiteY14" fmla="*/ 50530 h 15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845" h="151992">
                      <a:moveTo>
                        <a:pt x="69718" y="50530"/>
                      </a:moveTo>
                      <a:lnTo>
                        <a:pt x="69718" y="9296"/>
                      </a:lnTo>
                      <a:cubicBezTo>
                        <a:pt x="69718" y="4163"/>
                        <a:pt x="65560" y="0"/>
                        <a:pt x="60423" y="0"/>
                      </a:cubicBezTo>
                      <a:cubicBezTo>
                        <a:pt x="55284" y="0"/>
                        <a:pt x="51127" y="4163"/>
                        <a:pt x="51127" y="9296"/>
                      </a:cubicBezTo>
                      <a:lnTo>
                        <a:pt x="51127" y="50530"/>
                      </a:lnTo>
                      <a:cubicBezTo>
                        <a:pt x="22220" y="55025"/>
                        <a:pt x="0" y="80015"/>
                        <a:pt x="0" y="110161"/>
                      </a:cubicBezTo>
                      <a:lnTo>
                        <a:pt x="0" y="151992"/>
                      </a:lnTo>
                      <a:lnTo>
                        <a:pt x="18592" y="151992"/>
                      </a:lnTo>
                      <a:lnTo>
                        <a:pt x="18592" y="110161"/>
                      </a:lnTo>
                      <a:cubicBezTo>
                        <a:pt x="18592" y="87094"/>
                        <a:pt x="37355" y="68330"/>
                        <a:pt x="60423" y="68330"/>
                      </a:cubicBezTo>
                      <a:cubicBezTo>
                        <a:pt x="83490" y="68330"/>
                        <a:pt x="102254" y="87094"/>
                        <a:pt x="102254" y="110161"/>
                      </a:cubicBezTo>
                      <a:lnTo>
                        <a:pt x="102254" y="151992"/>
                      </a:lnTo>
                      <a:lnTo>
                        <a:pt x="120845" y="151992"/>
                      </a:lnTo>
                      <a:lnTo>
                        <a:pt x="120845" y="110161"/>
                      </a:lnTo>
                      <a:cubicBezTo>
                        <a:pt x="120845" y="80015"/>
                        <a:pt x="98626" y="55025"/>
                        <a:pt x="69718" y="50530"/>
                      </a:cubicBezTo>
                      <a:close/>
                    </a:path>
                  </a:pathLst>
                </a:custGeom>
                <a:solidFill>
                  <a:schemeClr val="accent3"/>
                </a:solidFill>
                <a:ln w="1116" cap="flat">
                  <a:noFill/>
                  <a:prstDash val="solid"/>
                  <a:miter/>
                </a:ln>
              </p:spPr>
              <p:txBody>
                <a:bodyPr rtlCol="0" anchor="ctr"/>
                <a:lstStyle/>
                <a:p>
                  <a:endParaRPr lang="en-US"/>
                </a:p>
              </p:txBody>
            </p:sp>
            <p:sp>
              <p:nvSpPr>
                <p:cNvPr id="20" name="Freeform 38">
                  <a:extLst>
                    <a:ext uri="{FF2B5EF4-FFF2-40B4-BE49-F238E27FC236}">
                      <a16:creationId xmlns:a16="http://schemas.microsoft.com/office/drawing/2014/main" id="{6BCB9D1E-0D6C-8BBD-A92D-2FB16523F730}"/>
                    </a:ext>
                  </a:extLst>
                </p:cNvPr>
                <p:cNvSpPr/>
                <p:nvPr/>
              </p:nvSpPr>
              <p:spPr>
                <a:xfrm>
                  <a:off x="7059230" y="4759861"/>
                  <a:ext cx="18591" cy="18591"/>
                </a:xfrm>
                <a:custGeom>
                  <a:avLst/>
                  <a:gdLst>
                    <a:gd name="connsiteX0" fmla="*/ 18592 w 18591"/>
                    <a:gd name="connsiteY0" fmla="*/ 9296 h 18591"/>
                    <a:gd name="connsiteX1" fmla="*/ 9296 w 18591"/>
                    <a:gd name="connsiteY1" fmla="*/ 18592 h 18591"/>
                    <a:gd name="connsiteX2" fmla="*/ 0 w 18591"/>
                    <a:gd name="connsiteY2" fmla="*/ 9296 h 18591"/>
                    <a:gd name="connsiteX3" fmla="*/ 9296 w 18591"/>
                    <a:gd name="connsiteY3" fmla="*/ 0 h 18591"/>
                    <a:gd name="connsiteX4" fmla="*/ 18592 w 18591"/>
                    <a:gd name="connsiteY4" fmla="*/ 9296 h 18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1" h="18591">
                      <a:moveTo>
                        <a:pt x="18592" y="9296"/>
                      </a:moveTo>
                      <a:cubicBezTo>
                        <a:pt x="18592" y="14430"/>
                        <a:pt x="14430" y="18592"/>
                        <a:pt x="9296" y="18592"/>
                      </a:cubicBezTo>
                      <a:cubicBezTo>
                        <a:pt x="4162" y="18592"/>
                        <a:pt x="0" y="14430"/>
                        <a:pt x="0" y="9296"/>
                      </a:cubicBezTo>
                      <a:cubicBezTo>
                        <a:pt x="0" y="4162"/>
                        <a:pt x="4162" y="0"/>
                        <a:pt x="9296" y="0"/>
                      </a:cubicBezTo>
                      <a:cubicBezTo>
                        <a:pt x="14430" y="0"/>
                        <a:pt x="18592" y="4162"/>
                        <a:pt x="18592" y="9296"/>
                      </a:cubicBezTo>
                      <a:close/>
                    </a:path>
                  </a:pathLst>
                </a:custGeom>
                <a:solidFill>
                  <a:schemeClr val="accent2"/>
                </a:solidFill>
                <a:ln w="1116" cap="flat">
                  <a:noFill/>
                  <a:prstDash val="solid"/>
                  <a:miter/>
                </a:ln>
              </p:spPr>
              <p:txBody>
                <a:bodyPr rtlCol="0" anchor="ctr"/>
                <a:lstStyle/>
                <a:p>
                  <a:endParaRPr lang="en-US"/>
                </a:p>
              </p:txBody>
            </p:sp>
            <p:sp>
              <p:nvSpPr>
                <p:cNvPr id="21" name="Freeform 39">
                  <a:extLst>
                    <a:ext uri="{FF2B5EF4-FFF2-40B4-BE49-F238E27FC236}">
                      <a16:creationId xmlns:a16="http://schemas.microsoft.com/office/drawing/2014/main" id="{770BF9A3-D952-7D5F-0CD1-13258B5E43B5}"/>
                    </a:ext>
                  </a:extLst>
                </p:cNvPr>
                <p:cNvSpPr/>
                <p:nvPr/>
              </p:nvSpPr>
              <p:spPr>
                <a:xfrm>
                  <a:off x="7161483" y="4759861"/>
                  <a:ext cx="18591" cy="18591"/>
                </a:xfrm>
                <a:custGeom>
                  <a:avLst/>
                  <a:gdLst>
                    <a:gd name="connsiteX0" fmla="*/ 18592 w 18591"/>
                    <a:gd name="connsiteY0" fmla="*/ 9296 h 18591"/>
                    <a:gd name="connsiteX1" fmla="*/ 9296 w 18591"/>
                    <a:gd name="connsiteY1" fmla="*/ 18592 h 18591"/>
                    <a:gd name="connsiteX2" fmla="*/ 0 w 18591"/>
                    <a:gd name="connsiteY2" fmla="*/ 9296 h 18591"/>
                    <a:gd name="connsiteX3" fmla="*/ 9296 w 18591"/>
                    <a:gd name="connsiteY3" fmla="*/ 0 h 18591"/>
                    <a:gd name="connsiteX4" fmla="*/ 18592 w 18591"/>
                    <a:gd name="connsiteY4" fmla="*/ 9296 h 18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1" h="18591">
                      <a:moveTo>
                        <a:pt x="18592" y="9296"/>
                      </a:moveTo>
                      <a:cubicBezTo>
                        <a:pt x="18592" y="14430"/>
                        <a:pt x="14430" y="18592"/>
                        <a:pt x="9296" y="18592"/>
                      </a:cubicBezTo>
                      <a:cubicBezTo>
                        <a:pt x="4162" y="18592"/>
                        <a:pt x="0" y="14430"/>
                        <a:pt x="0" y="9296"/>
                      </a:cubicBezTo>
                      <a:cubicBezTo>
                        <a:pt x="0" y="4162"/>
                        <a:pt x="4162" y="0"/>
                        <a:pt x="9296" y="0"/>
                      </a:cubicBezTo>
                      <a:cubicBezTo>
                        <a:pt x="14430" y="0"/>
                        <a:pt x="18592" y="4162"/>
                        <a:pt x="18592" y="9296"/>
                      </a:cubicBezTo>
                      <a:close/>
                    </a:path>
                  </a:pathLst>
                </a:custGeom>
                <a:solidFill>
                  <a:schemeClr val="accent2"/>
                </a:solidFill>
                <a:ln w="1116"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03EF6F2A-60E0-9EED-AFF3-D6C55C42FC7E}"/>
                  </a:ext>
                </a:extLst>
              </p:cNvPr>
              <p:cNvGrpSpPr/>
              <p:nvPr/>
            </p:nvGrpSpPr>
            <p:grpSpPr>
              <a:xfrm>
                <a:off x="6866930" y="4620509"/>
                <a:ext cx="67402" cy="198545"/>
                <a:chOff x="6854720" y="4614160"/>
                <a:chExt cx="55774" cy="164292"/>
              </a:xfrm>
            </p:grpSpPr>
            <p:sp>
              <p:nvSpPr>
                <p:cNvPr id="17" name="Freeform 40">
                  <a:extLst>
                    <a:ext uri="{FF2B5EF4-FFF2-40B4-BE49-F238E27FC236}">
                      <a16:creationId xmlns:a16="http://schemas.microsoft.com/office/drawing/2014/main" id="{234FADC2-23EE-C832-643D-EF9259F84BF0}"/>
                    </a:ext>
                  </a:extLst>
                </p:cNvPr>
                <p:cNvSpPr/>
                <p:nvPr/>
              </p:nvSpPr>
              <p:spPr>
                <a:xfrm>
                  <a:off x="6854720" y="4614160"/>
                  <a:ext cx="55774" cy="164292"/>
                </a:xfrm>
                <a:custGeom>
                  <a:avLst/>
                  <a:gdLst>
                    <a:gd name="connsiteX0" fmla="*/ 37183 w 55774"/>
                    <a:gd name="connsiteY0" fmla="*/ 110226 h 164292"/>
                    <a:gd name="connsiteX1" fmla="*/ 37183 w 55774"/>
                    <a:gd name="connsiteY1" fmla="*/ 9296 h 164292"/>
                    <a:gd name="connsiteX2" fmla="*/ 27887 w 55774"/>
                    <a:gd name="connsiteY2" fmla="*/ 0 h 164292"/>
                    <a:gd name="connsiteX3" fmla="*/ 18592 w 55774"/>
                    <a:gd name="connsiteY3" fmla="*/ 9296 h 164292"/>
                    <a:gd name="connsiteX4" fmla="*/ 18592 w 55774"/>
                    <a:gd name="connsiteY4" fmla="*/ 110226 h 164292"/>
                    <a:gd name="connsiteX5" fmla="*/ 0 w 55774"/>
                    <a:gd name="connsiteY5" fmla="*/ 136405 h 164292"/>
                    <a:gd name="connsiteX6" fmla="*/ 27887 w 55774"/>
                    <a:gd name="connsiteY6" fmla="*/ 164293 h 164292"/>
                    <a:gd name="connsiteX7" fmla="*/ 55775 w 55774"/>
                    <a:gd name="connsiteY7" fmla="*/ 136405 h 164292"/>
                    <a:gd name="connsiteX8" fmla="*/ 37183 w 55774"/>
                    <a:gd name="connsiteY8" fmla="*/ 110226 h 16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74" h="164292">
                      <a:moveTo>
                        <a:pt x="37183" y="110226"/>
                      </a:moveTo>
                      <a:lnTo>
                        <a:pt x="37183" y="9296"/>
                      </a:lnTo>
                      <a:cubicBezTo>
                        <a:pt x="37183" y="4163"/>
                        <a:pt x="33025" y="0"/>
                        <a:pt x="27887" y="0"/>
                      </a:cubicBezTo>
                      <a:cubicBezTo>
                        <a:pt x="22750" y="0"/>
                        <a:pt x="18592" y="4163"/>
                        <a:pt x="18592" y="9296"/>
                      </a:cubicBezTo>
                      <a:lnTo>
                        <a:pt x="18592" y="110226"/>
                      </a:lnTo>
                      <a:cubicBezTo>
                        <a:pt x="7785" y="114067"/>
                        <a:pt x="0" y="124281"/>
                        <a:pt x="0" y="136405"/>
                      </a:cubicBezTo>
                      <a:cubicBezTo>
                        <a:pt x="0" y="151807"/>
                        <a:pt x="12486" y="164293"/>
                        <a:pt x="27887" y="164293"/>
                      </a:cubicBezTo>
                      <a:cubicBezTo>
                        <a:pt x="43289" y="164293"/>
                        <a:pt x="55775" y="151807"/>
                        <a:pt x="55775" y="136405"/>
                      </a:cubicBezTo>
                      <a:cubicBezTo>
                        <a:pt x="55775" y="124281"/>
                        <a:pt x="47991" y="114067"/>
                        <a:pt x="37183" y="110226"/>
                      </a:cubicBezTo>
                      <a:close/>
                    </a:path>
                  </a:pathLst>
                </a:custGeom>
                <a:solidFill>
                  <a:schemeClr val="accent3"/>
                </a:solidFill>
                <a:ln w="1116" cap="flat">
                  <a:noFill/>
                  <a:prstDash val="solid"/>
                  <a:miter/>
                </a:ln>
              </p:spPr>
              <p:txBody>
                <a:bodyPr rtlCol="0" anchor="ctr"/>
                <a:lstStyle/>
                <a:p>
                  <a:endParaRPr lang="en-US"/>
                </a:p>
              </p:txBody>
            </p:sp>
            <p:sp>
              <p:nvSpPr>
                <p:cNvPr id="18" name="Freeform 41">
                  <a:extLst>
                    <a:ext uri="{FF2B5EF4-FFF2-40B4-BE49-F238E27FC236}">
                      <a16:creationId xmlns:a16="http://schemas.microsoft.com/office/drawing/2014/main" id="{40A966AA-E613-32E0-0A83-E2CCD7E3F7E4}"/>
                    </a:ext>
                  </a:extLst>
                </p:cNvPr>
                <p:cNvSpPr/>
                <p:nvPr/>
              </p:nvSpPr>
              <p:spPr>
                <a:xfrm>
                  <a:off x="6873312" y="4741269"/>
                  <a:ext cx="18591" cy="18591"/>
                </a:xfrm>
                <a:custGeom>
                  <a:avLst/>
                  <a:gdLst>
                    <a:gd name="connsiteX0" fmla="*/ 18592 w 18591"/>
                    <a:gd name="connsiteY0" fmla="*/ 9296 h 18591"/>
                    <a:gd name="connsiteX1" fmla="*/ 9296 w 18591"/>
                    <a:gd name="connsiteY1" fmla="*/ 18592 h 18591"/>
                    <a:gd name="connsiteX2" fmla="*/ 0 w 18591"/>
                    <a:gd name="connsiteY2" fmla="*/ 9296 h 18591"/>
                    <a:gd name="connsiteX3" fmla="*/ 9296 w 18591"/>
                    <a:gd name="connsiteY3" fmla="*/ 0 h 18591"/>
                    <a:gd name="connsiteX4" fmla="*/ 18592 w 18591"/>
                    <a:gd name="connsiteY4" fmla="*/ 9296 h 18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1" h="18591">
                      <a:moveTo>
                        <a:pt x="18592" y="9296"/>
                      </a:moveTo>
                      <a:cubicBezTo>
                        <a:pt x="18592" y="14430"/>
                        <a:pt x="14430" y="18592"/>
                        <a:pt x="9296" y="18592"/>
                      </a:cubicBezTo>
                      <a:cubicBezTo>
                        <a:pt x="4162" y="18592"/>
                        <a:pt x="0" y="14430"/>
                        <a:pt x="0" y="9296"/>
                      </a:cubicBezTo>
                      <a:cubicBezTo>
                        <a:pt x="0" y="4162"/>
                        <a:pt x="4162" y="0"/>
                        <a:pt x="9296" y="0"/>
                      </a:cubicBezTo>
                      <a:cubicBezTo>
                        <a:pt x="14430" y="0"/>
                        <a:pt x="18592" y="4162"/>
                        <a:pt x="18592" y="9296"/>
                      </a:cubicBezTo>
                      <a:close/>
                    </a:path>
                  </a:pathLst>
                </a:custGeom>
                <a:solidFill>
                  <a:schemeClr val="accent2"/>
                </a:solidFill>
                <a:ln w="1116" cap="flat">
                  <a:noFill/>
                  <a:prstDash val="solid"/>
                  <a:miter/>
                </a:ln>
              </p:spPr>
              <p:txBody>
                <a:bodyPr rtlCol="0" anchor="ctr"/>
                <a:lstStyle/>
                <a:p>
                  <a:endParaRPr lang="en-US"/>
                </a:p>
              </p:txBody>
            </p:sp>
          </p:grpSp>
        </p:grpSp>
        <p:sp>
          <p:nvSpPr>
            <p:cNvPr id="14" name="Freeform 198">
              <a:extLst>
                <a:ext uri="{FF2B5EF4-FFF2-40B4-BE49-F238E27FC236}">
                  <a16:creationId xmlns:a16="http://schemas.microsoft.com/office/drawing/2014/main" id="{9841AA97-C8DD-072C-A1E0-1987C9EE12CE}"/>
                </a:ext>
              </a:extLst>
            </p:cNvPr>
            <p:cNvSpPr/>
            <p:nvPr/>
          </p:nvSpPr>
          <p:spPr>
            <a:xfrm>
              <a:off x="7531515" y="4785986"/>
              <a:ext cx="88171" cy="88171"/>
            </a:xfrm>
            <a:custGeom>
              <a:avLst/>
              <a:gdLst>
                <a:gd name="connsiteX0" fmla="*/ 202441 w 404882"/>
                <a:gd name="connsiteY0" fmla="*/ 404883 h 404882"/>
                <a:gd name="connsiteX1" fmla="*/ 161917 w 404882"/>
                <a:gd name="connsiteY1" fmla="*/ 364359 h 404882"/>
                <a:gd name="connsiteX2" fmla="*/ 161917 w 404882"/>
                <a:gd name="connsiteY2" fmla="*/ 242965 h 404882"/>
                <a:gd name="connsiteX3" fmla="*/ 40524 w 404882"/>
                <a:gd name="connsiteY3" fmla="*/ 242965 h 404882"/>
                <a:gd name="connsiteX4" fmla="*/ 0 w 404882"/>
                <a:gd name="connsiteY4" fmla="*/ 202441 h 404882"/>
                <a:gd name="connsiteX5" fmla="*/ 40524 w 404882"/>
                <a:gd name="connsiteY5" fmla="*/ 161917 h 404882"/>
                <a:gd name="connsiteX6" fmla="*/ 161917 w 404882"/>
                <a:gd name="connsiteY6" fmla="*/ 161917 h 404882"/>
                <a:gd name="connsiteX7" fmla="*/ 161917 w 404882"/>
                <a:gd name="connsiteY7" fmla="*/ 40524 h 404882"/>
                <a:gd name="connsiteX8" fmla="*/ 202441 w 404882"/>
                <a:gd name="connsiteY8" fmla="*/ 0 h 404882"/>
                <a:gd name="connsiteX9" fmla="*/ 242965 w 404882"/>
                <a:gd name="connsiteY9" fmla="*/ 40524 h 404882"/>
                <a:gd name="connsiteX10" fmla="*/ 242965 w 404882"/>
                <a:gd name="connsiteY10" fmla="*/ 161917 h 404882"/>
                <a:gd name="connsiteX11" fmla="*/ 364359 w 404882"/>
                <a:gd name="connsiteY11" fmla="*/ 161917 h 404882"/>
                <a:gd name="connsiteX12" fmla="*/ 404883 w 404882"/>
                <a:gd name="connsiteY12" fmla="*/ 202441 h 404882"/>
                <a:gd name="connsiteX13" fmla="*/ 364359 w 404882"/>
                <a:gd name="connsiteY13" fmla="*/ 242965 h 404882"/>
                <a:gd name="connsiteX14" fmla="*/ 242965 w 404882"/>
                <a:gd name="connsiteY14" fmla="*/ 242965 h 404882"/>
                <a:gd name="connsiteX15" fmla="*/ 242965 w 404882"/>
                <a:gd name="connsiteY15" fmla="*/ 364359 h 404882"/>
                <a:gd name="connsiteX16" fmla="*/ 202441 w 404882"/>
                <a:gd name="connsiteY16" fmla="*/ 404883 h 40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4882" h="404882">
                  <a:moveTo>
                    <a:pt x="202441" y="404883"/>
                  </a:moveTo>
                  <a:cubicBezTo>
                    <a:pt x="180126" y="404883"/>
                    <a:pt x="161917" y="386674"/>
                    <a:pt x="161917" y="364359"/>
                  </a:cubicBezTo>
                  <a:lnTo>
                    <a:pt x="161917" y="242965"/>
                  </a:lnTo>
                  <a:lnTo>
                    <a:pt x="40524" y="242965"/>
                  </a:lnTo>
                  <a:cubicBezTo>
                    <a:pt x="18209" y="242965"/>
                    <a:pt x="0" y="224756"/>
                    <a:pt x="0" y="202441"/>
                  </a:cubicBezTo>
                  <a:cubicBezTo>
                    <a:pt x="0" y="180126"/>
                    <a:pt x="18209" y="161917"/>
                    <a:pt x="40524" y="161917"/>
                  </a:cubicBezTo>
                  <a:lnTo>
                    <a:pt x="161917" y="161917"/>
                  </a:lnTo>
                  <a:lnTo>
                    <a:pt x="161917" y="40524"/>
                  </a:lnTo>
                  <a:cubicBezTo>
                    <a:pt x="161917" y="18209"/>
                    <a:pt x="180126" y="0"/>
                    <a:pt x="202441" y="0"/>
                  </a:cubicBezTo>
                  <a:cubicBezTo>
                    <a:pt x="224756" y="0"/>
                    <a:pt x="242965" y="18209"/>
                    <a:pt x="242965" y="40524"/>
                  </a:cubicBezTo>
                  <a:lnTo>
                    <a:pt x="242965" y="161917"/>
                  </a:lnTo>
                  <a:lnTo>
                    <a:pt x="364359" y="161917"/>
                  </a:lnTo>
                  <a:cubicBezTo>
                    <a:pt x="386674" y="161917"/>
                    <a:pt x="404883" y="180126"/>
                    <a:pt x="404883" y="202441"/>
                  </a:cubicBezTo>
                  <a:cubicBezTo>
                    <a:pt x="404883" y="224756"/>
                    <a:pt x="386674" y="242965"/>
                    <a:pt x="364359" y="242965"/>
                  </a:cubicBezTo>
                  <a:lnTo>
                    <a:pt x="242965" y="242965"/>
                  </a:lnTo>
                  <a:lnTo>
                    <a:pt x="242965" y="364359"/>
                  </a:lnTo>
                  <a:cubicBezTo>
                    <a:pt x="242787" y="386674"/>
                    <a:pt x="224756" y="404883"/>
                    <a:pt x="202441" y="404883"/>
                  </a:cubicBezTo>
                  <a:close/>
                </a:path>
              </a:pathLst>
            </a:custGeom>
            <a:solidFill>
              <a:schemeClr val="accent3"/>
            </a:solidFill>
            <a:ln w="1774" cap="flat">
              <a:noFill/>
              <a:prstDash val="solid"/>
              <a:miter/>
            </a:ln>
          </p:spPr>
          <p:txBody>
            <a:bodyPr rtlCol="0" anchor="ctr"/>
            <a:lstStyle/>
            <a:p>
              <a:endParaRPr lang="en-US"/>
            </a:p>
          </p:txBody>
        </p:sp>
      </p:grpSp>
    </p:spTree>
    <p:extLst>
      <p:ext uri="{BB962C8B-B14F-4D97-AF65-F5344CB8AC3E}">
        <p14:creationId xmlns:p14="http://schemas.microsoft.com/office/powerpoint/2010/main" val="1293306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0D1D0AC-4204-46F4-C38A-7562FAA4A0A0}"/>
              </a:ext>
            </a:extLst>
          </p:cNvPr>
          <p:cNvSpPr>
            <a:spLocks noGrp="1"/>
          </p:cNvSpPr>
          <p:nvPr>
            <p:ph idx="1"/>
          </p:nvPr>
        </p:nvSpPr>
        <p:spPr>
          <a:xfrm>
            <a:off x="361948" y="1620982"/>
            <a:ext cx="4492960" cy="3617149"/>
          </a:xfrm>
        </p:spPr>
        <p:txBody>
          <a:bodyPr/>
          <a:lstStyle/>
          <a:p>
            <a:r>
              <a:rPr lang="en-US" sz="1800" noProof="0"/>
              <a:t>IIM is characterized by skeletal muscle inflammation and extra-muscular manifestations</a:t>
            </a:r>
            <a:r>
              <a:rPr lang="en-US" sz="1800" baseline="30000" noProof="0"/>
              <a:t>1</a:t>
            </a:r>
          </a:p>
          <a:p>
            <a:pPr lvl="1"/>
            <a:r>
              <a:rPr lang="en-US" sz="1600" noProof="0"/>
              <a:t>Heterogeneous disease with different subtypes, such as DM, IMNM, and PM, including ASyS</a:t>
            </a:r>
            <a:r>
              <a:rPr lang="en-US" sz="1600" baseline="30000" noProof="0"/>
              <a:t>1</a:t>
            </a:r>
          </a:p>
          <a:p>
            <a:pPr lvl="1"/>
            <a:r>
              <a:rPr lang="en-US" sz="1600" noProof="0"/>
              <a:t>Persistent impairment of muscle function, leading to difficulties in daily life activities and suboptimal health-related quality of life</a:t>
            </a:r>
            <a:r>
              <a:rPr lang="en-US" sz="1600" baseline="30000" noProof="0"/>
              <a:t>1</a:t>
            </a:r>
          </a:p>
          <a:p>
            <a:pPr lvl="1"/>
            <a:r>
              <a:rPr lang="en-US" sz="1600" noProof="0"/>
              <a:t>IgG MSAs contribute to the pathogenesis of most </a:t>
            </a:r>
            <a:br>
              <a:rPr lang="en-US" sz="1600" noProof="0"/>
            </a:br>
            <a:r>
              <a:rPr lang="en-US" sz="1600" noProof="0"/>
              <a:t>IIM subtypes</a:t>
            </a:r>
            <a:r>
              <a:rPr lang="en-US" sz="1600" baseline="30000" noProof="0"/>
              <a:t>2–4</a:t>
            </a:r>
          </a:p>
        </p:txBody>
      </p:sp>
      <p:sp>
        <p:nvSpPr>
          <p:cNvPr id="3" name="Footer Placeholder 2">
            <a:extLst>
              <a:ext uri="{FF2B5EF4-FFF2-40B4-BE49-F238E27FC236}">
                <a16:creationId xmlns:a16="http://schemas.microsoft.com/office/drawing/2014/main" id="{1DAD8BAD-698E-D4CE-6073-AA097ADAF959}"/>
              </a:ext>
            </a:extLst>
          </p:cNvPr>
          <p:cNvSpPr>
            <a:spLocks noGrp="1"/>
          </p:cNvSpPr>
          <p:nvPr>
            <p:ph type="ftr" sz="quarter" idx="11"/>
          </p:nvPr>
        </p:nvSpPr>
        <p:spPr>
          <a:xfrm>
            <a:off x="904874" y="6047788"/>
            <a:ext cx="10829926" cy="636072"/>
          </a:xfrm>
        </p:spPr>
        <p:txBody>
          <a:bodyPr/>
          <a:lstStyle/>
          <a:p>
            <a:r>
              <a:rPr lang="en-US" noProof="0"/>
              <a:t>ASyS, anti-synthetase syndrome; DM, dermatomyositis; EJ, glycyl-tRNA synthetase; Ha, tyrosyl-tRNA synthetase; HMGCR, 3-hydroxy-3-methyl-glutaryl-coenzyme A reductase; IgG, immunoglobulin G; IIM, idiopathic inflammatory myopathy; </a:t>
            </a:r>
            <a:br>
              <a:rPr lang="en-US" noProof="0"/>
            </a:br>
            <a:r>
              <a:rPr lang="en-US" noProof="0"/>
              <a:t>IMNM, immune-mediated necrotizing myopathy; Jo1, antihistidyl</a:t>
            </a:r>
            <a:r>
              <a:rPr lang="en-US"/>
              <a:t>-t</a:t>
            </a:r>
            <a:r>
              <a:rPr lang="en-US" noProof="0"/>
              <a:t>RNA synthetase; Ly, </a:t>
            </a:r>
            <a:r>
              <a:rPr lang="en-AU"/>
              <a:t>cysteinyl-tRNA synthetase</a:t>
            </a:r>
            <a:r>
              <a:rPr lang="en-US" noProof="0"/>
              <a:t>; MDA5, melanoma differentiation-associated protein 5; Mi-2, chromodomain helicase DNA binding protein 4; MSA, myositis-specific antibody; NXP2, nuclear matrix protein 2; OJ, isoleucyl-tRNA synthetase; PL-7, threonyl-tRNA synthetase; PL-12, alanyl-tRNA synthetase; PM, polymyositis; SAE, small ubiquitin-like modifier activating enzyme; SRP, signal recognition particle; TIF-1, transcriptional intermediary factor-1; tRNA, transfer ribonucleic acid; VRS, valyl-tRNA synthetase; Zo, phenylalanyl-tRNA synthetase.</a:t>
            </a:r>
          </a:p>
          <a:p>
            <a:r>
              <a:rPr lang="en-US" b="1" noProof="0"/>
              <a:t>1. </a:t>
            </a:r>
            <a:r>
              <a:rPr lang="en-US" noProof="0"/>
              <a:t>Lundberg IE, et al. </a:t>
            </a:r>
            <a:r>
              <a:rPr lang="en-US" i="1" noProof="0"/>
              <a:t>Nat Rev Dis Primers</a:t>
            </a:r>
            <a:r>
              <a:rPr lang="en-US" noProof="0"/>
              <a:t>. 2021;7:86. </a:t>
            </a:r>
            <a:r>
              <a:rPr lang="en-US" b="1" noProof="0"/>
              <a:t>2. </a:t>
            </a:r>
            <a:r>
              <a:rPr lang="en-US" noProof="0"/>
              <a:t>Musai J, </a:t>
            </a:r>
            <a:r>
              <a:rPr lang="en-US"/>
              <a:t>et al.</a:t>
            </a:r>
            <a:r>
              <a:rPr lang="en-US" noProof="0"/>
              <a:t> </a:t>
            </a:r>
            <a:r>
              <a:rPr lang="en-US" i="1" noProof="0"/>
              <a:t>Curr Rheumatol Rep</a:t>
            </a:r>
            <a:r>
              <a:rPr lang="en-US" noProof="0"/>
              <a:t>. 2024;26:421–30. </a:t>
            </a:r>
            <a:r>
              <a:rPr lang="en-US" b="1" noProof="0"/>
              <a:t>3. </a:t>
            </a:r>
            <a:r>
              <a:rPr lang="en-US" noProof="0"/>
              <a:t>Wischnewski S, et al. </a:t>
            </a:r>
            <a:r>
              <a:rPr lang="en-US" i="1" noProof="0"/>
              <a:t>Trends Pharmacol Sci</a:t>
            </a:r>
            <a:r>
              <a:rPr lang="en-US" noProof="0"/>
              <a:t>. 2025;46:249–63. </a:t>
            </a:r>
            <a:r>
              <a:rPr lang="en-US" b="1" noProof="0"/>
              <a:t>4. </a:t>
            </a:r>
            <a:r>
              <a:rPr lang="en-US" noProof="0"/>
              <a:t>Wang G, McHugh NJ. </a:t>
            </a:r>
            <a:r>
              <a:rPr lang="en-US" i="1" noProof="0"/>
              <a:t>Clin Exp Rheumatol</a:t>
            </a:r>
            <a:r>
              <a:rPr lang="en-US" noProof="0"/>
              <a:t>. 2025;43:364–71.</a:t>
            </a:r>
          </a:p>
        </p:txBody>
      </p:sp>
      <p:sp>
        <p:nvSpPr>
          <p:cNvPr id="4" name="Slide Number Placeholder 3">
            <a:extLst>
              <a:ext uri="{FF2B5EF4-FFF2-40B4-BE49-F238E27FC236}">
                <a16:creationId xmlns:a16="http://schemas.microsoft.com/office/drawing/2014/main" id="{05FF1096-EE01-6718-1DD8-51068206FF78}"/>
              </a:ext>
            </a:extLst>
          </p:cNvPr>
          <p:cNvSpPr>
            <a:spLocks noGrp="1"/>
          </p:cNvSpPr>
          <p:nvPr>
            <p:ph type="sldNum" sz="quarter" idx="12"/>
          </p:nvPr>
        </p:nvSpPr>
        <p:spPr/>
        <p:txBody>
          <a:bodyPr/>
          <a:lstStyle/>
          <a:p>
            <a:fld id="{A366880C-2072-4A02-B747-1981AA856017}" type="slidenum">
              <a:rPr lang="en-US" noProof="0" smtClean="0"/>
              <a:t>3</a:t>
            </a:fld>
            <a:endParaRPr lang="en-US" noProof="0"/>
          </a:p>
        </p:txBody>
      </p:sp>
      <p:sp>
        <p:nvSpPr>
          <p:cNvPr id="6" name="Title 5">
            <a:extLst>
              <a:ext uri="{FF2B5EF4-FFF2-40B4-BE49-F238E27FC236}">
                <a16:creationId xmlns:a16="http://schemas.microsoft.com/office/drawing/2014/main" id="{4B07F154-8227-A1DB-3ECF-FF4BE852B41E}"/>
              </a:ext>
            </a:extLst>
          </p:cNvPr>
          <p:cNvSpPr>
            <a:spLocks noGrp="1"/>
          </p:cNvSpPr>
          <p:nvPr>
            <p:ph type="title"/>
          </p:nvPr>
        </p:nvSpPr>
        <p:spPr/>
        <p:txBody>
          <a:bodyPr/>
          <a:lstStyle/>
          <a:p>
            <a:r>
              <a:rPr lang="en-US" noProof="0"/>
              <a:t>Study Hypothesis: </a:t>
            </a:r>
            <a:r>
              <a:rPr lang="en-US" b="1" noProof="0"/>
              <a:t>IIM Is Driven by Autoantibodies</a:t>
            </a:r>
          </a:p>
        </p:txBody>
      </p:sp>
      <p:sp>
        <p:nvSpPr>
          <p:cNvPr id="12" name="Freeform 11">
            <a:extLst>
              <a:ext uri="{FF2B5EF4-FFF2-40B4-BE49-F238E27FC236}">
                <a16:creationId xmlns:a16="http://schemas.microsoft.com/office/drawing/2014/main" id="{59CE3E1C-AEF2-B012-105A-CBAE349F39C7}"/>
              </a:ext>
            </a:extLst>
          </p:cNvPr>
          <p:cNvSpPr/>
          <p:nvPr/>
        </p:nvSpPr>
        <p:spPr>
          <a:xfrm rot="10800000">
            <a:off x="4696761" y="1080659"/>
            <a:ext cx="6305384" cy="5088858"/>
          </a:xfrm>
          <a:custGeom>
            <a:avLst/>
            <a:gdLst>
              <a:gd name="connsiteX0" fmla="*/ 1198539 w 2843034"/>
              <a:gd name="connsiteY0" fmla="*/ 2381 h 2294515"/>
              <a:gd name="connsiteX1" fmla="*/ 1364395 w 2843034"/>
              <a:gd name="connsiteY1" fmla="*/ 41187 h 2294515"/>
              <a:gd name="connsiteX2" fmla="*/ 1473181 w 2843034"/>
              <a:gd name="connsiteY2" fmla="*/ 83809 h 2294515"/>
              <a:gd name="connsiteX3" fmla="*/ 1713852 w 2843034"/>
              <a:gd name="connsiteY3" fmla="*/ 233300 h 2294515"/>
              <a:gd name="connsiteX4" fmla="*/ 1796866 w 2843034"/>
              <a:gd name="connsiteY4" fmla="*/ 292288 h 2294515"/>
              <a:gd name="connsiteX5" fmla="*/ 2460883 w 2843034"/>
              <a:gd name="connsiteY5" fmla="*/ 726933 h 2294515"/>
              <a:gd name="connsiteX6" fmla="*/ 2522037 w 2843034"/>
              <a:gd name="connsiteY6" fmla="*/ 766591 h 2294515"/>
              <a:gd name="connsiteX7" fmla="*/ 2609834 w 2843034"/>
              <a:gd name="connsiteY7" fmla="*/ 836169 h 2294515"/>
              <a:gd name="connsiteX8" fmla="*/ 2655819 w 2843034"/>
              <a:gd name="connsiteY8" fmla="*/ 873722 h 2294515"/>
              <a:gd name="connsiteX9" fmla="*/ 2839288 w 2843034"/>
              <a:gd name="connsiteY9" fmla="*/ 1200917 h 2294515"/>
              <a:gd name="connsiteX10" fmla="*/ 2840633 w 2843034"/>
              <a:gd name="connsiteY10" fmla="*/ 1203237 h 2294515"/>
              <a:gd name="connsiteX11" fmla="*/ 2722734 w 2843034"/>
              <a:gd name="connsiteY11" fmla="*/ 1579022 h 2294515"/>
              <a:gd name="connsiteX12" fmla="*/ 2712621 w 2843034"/>
              <a:gd name="connsiteY12" fmla="*/ 1595664 h 2294515"/>
              <a:gd name="connsiteX13" fmla="*/ 2627138 w 2843034"/>
              <a:gd name="connsiteY13" fmla="*/ 1698181 h 2294515"/>
              <a:gd name="connsiteX14" fmla="*/ 2291183 w 2843034"/>
              <a:gd name="connsiteY14" fmla="*/ 1882277 h 2294515"/>
              <a:gd name="connsiteX15" fmla="*/ 2213357 w 2843034"/>
              <a:gd name="connsiteY15" fmla="*/ 1905763 h 2294515"/>
              <a:gd name="connsiteX16" fmla="*/ 2055212 w 2843034"/>
              <a:gd name="connsiteY16" fmla="*/ 1946431 h 2294515"/>
              <a:gd name="connsiteX17" fmla="*/ 1465662 w 2843034"/>
              <a:gd name="connsiteY17" fmla="*/ 2130187 h 2294515"/>
              <a:gd name="connsiteX18" fmla="*/ 1056419 w 2843034"/>
              <a:gd name="connsiteY18" fmla="*/ 2248347 h 2294515"/>
              <a:gd name="connsiteX19" fmla="*/ 879040 w 2843034"/>
              <a:gd name="connsiteY19" fmla="*/ 2281902 h 2294515"/>
              <a:gd name="connsiteX20" fmla="*/ 720846 w 2843034"/>
              <a:gd name="connsiteY20" fmla="*/ 2293406 h 2294515"/>
              <a:gd name="connsiteX21" fmla="*/ 549538 w 2843034"/>
              <a:gd name="connsiteY21" fmla="*/ 2282289 h 2294515"/>
              <a:gd name="connsiteX22" fmla="*/ 464250 w 2843034"/>
              <a:gd name="connsiteY22" fmla="*/ 2253802 h 2294515"/>
              <a:gd name="connsiteX23" fmla="*/ 399041 w 2843034"/>
              <a:gd name="connsiteY23" fmla="*/ 2222857 h 2294515"/>
              <a:gd name="connsiteX24" fmla="*/ 244222 w 2843034"/>
              <a:gd name="connsiteY24" fmla="*/ 2106168 h 2294515"/>
              <a:gd name="connsiteX25" fmla="*/ 116571 w 2843034"/>
              <a:gd name="connsiteY25" fmla="*/ 1954137 h 2294515"/>
              <a:gd name="connsiteX26" fmla="*/ 116250 w 2843034"/>
              <a:gd name="connsiteY26" fmla="*/ 1952582 h 2294515"/>
              <a:gd name="connsiteX27" fmla="*/ 53622 w 2843034"/>
              <a:gd name="connsiteY27" fmla="*/ 1839528 h 2294515"/>
              <a:gd name="connsiteX28" fmla="*/ 132 w 2843034"/>
              <a:gd name="connsiteY28" fmla="*/ 1605219 h 2294515"/>
              <a:gd name="connsiteX29" fmla="*/ 9763 w 2843034"/>
              <a:gd name="connsiteY29" fmla="*/ 1474783 h 2294515"/>
              <a:gd name="connsiteX30" fmla="*/ 63726 w 2843034"/>
              <a:gd name="connsiteY30" fmla="*/ 1244034 h 2294515"/>
              <a:gd name="connsiteX31" fmla="*/ 255940 w 2843034"/>
              <a:gd name="connsiteY31" fmla="*/ 779887 h 2294515"/>
              <a:gd name="connsiteX32" fmla="*/ 347974 w 2843034"/>
              <a:gd name="connsiteY32" fmla="*/ 609801 h 2294515"/>
              <a:gd name="connsiteX33" fmla="*/ 584074 w 2843034"/>
              <a:gd name="connsiteY33" fmla="*/ 292878 h 2294515"/>
              <a:gd name="connsiteX34" fmla="*/ 694713 w 2843034"/>
              <a:gd name="connsiteY34" fmla="*/ 183629 h 2294515"/>
              <a:gd name="connsiteX35" fmla="*/ 824264 w 2843034"/>
              <a:gd name="connsiteY35" fmla="*/ 90961 h 2294515"/>
              <a:gd name="connsiteX36" fmla="*/ 945117 w 2843034"/>
              <a:gd name="connsiteY36" fmla="*/ 30747 h 2294515"/>
              <a:gd name="connsiteX37" fmla="*/ 1072704 w 2843034"/>
              <a:gd name="connsiteY37" fmla="*/ 3203 h 2294515"/>
              <a:gd name="connsiteX38" fmla="*/ 1198539 w 2843034"/>
              <a:gd name="connsiteY38" fmla="*/ 2381 h 229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843034" h="2294515">
                <a:moveTo>
                  <a:pt x="1198539" y="2381"/>
                </a:moveTo>
                <a:cubicBezTo>
                  <a:pt x="1254856" y="9632"/>
                  <a:pt x="1310621" y="22613"/>
                  <a:pt x="1364395" y="41187"/>
                </a:cubicBezTo>
                <a:cubicBezTo>
                  <a:pt x="1398874" y="52875"/>
                  <a:pt x="1435095" y="67234"/>
                  <a:pt x="1473181" y="83809"/>
                </a:cubicBezTo>
                <a:cubicBezTo>
                  <a:pt x="1556122" y="129305"/>
                  <a:pt x="1636403" y="179231"/>
                  <a:pt x="1713852" y="233300"/>
                </a:cubicBezTo>
                <a:cubicBezTo>
                  <a:pt x="1740958" y="252320"/>
                  <a:pt x="1768630" y="271983"/>
                  <a:pt x="1796866" y="292288"/>
                </a:cubicBezTo>
                <a:cubicBezTo>
                  <a:pt x="2010960" y="447394"/>
                  <a:pt x="2232410" y="592470"/>
                  <a:pt x="2460883" y="726933"/>
                </a:cubicBezTo>
                <a:cubicBezTo>
                  <a:pt x="2481553" y="741535"/>
                  <a:pt x="2501841" y="754810"/>
                  <a:pt x="2522037" y="766591"/>
                </a:cubicBezTo>
                <a:cubicBezTo>
                  <a:pt x="2551649" y="790937"/>
                  <a:pt x="2580818" y="814187"/>
                  <a:pt x="2609834" y="836169"/>
                </a:cubicBezTo>
                <a:cubicBezTo>
                  <a:pt x="2625397" y="849649"/>
                  <a:pt x="2640745" y="862089"/>
                  <a:pt x="2655819" y="873722"/>
                </a:cubicBezTo>
                <a:cubicBezTo>
                  <a:pt x="2764049" y="979886"/>
                  <a:pt x="2825240" y="1089124"/>
                  <a:pt x="2839288" y="1200917"/>
                </a:cubicBezTo>
                <a:lnTo>
                  <a:pt x="2840633" y="1203237"/>
                </a:lnTo>
                <a:cubicBezTo>
                  <a:pt x="2853561" y="1323794"/>
                  <a:pt x="2814297" y="1449229"/>
                  <a:pt x="2722734" y="1579022"/>
                </a:cubicBezTo>
                <a:cubicBezTo>
                  <a:pt x="2718910" y="1584122"/>
                  <a:pt x="2715421" y="1589801"/>
                  <a:pt x="2712621" y="1595664"/>
                </a:cubicBezTo>
                <a:cubicBezTo>
                  <a:pt x="2686874" y="1632125"/>
                  <a:pt x="2658282" y="1666352"/>
                  <a:pt x="2627138" y="1698181"/>
                </a:cubicBezTo>
                <a:cubicBezTo>
                  <a:pt x="2529733" y="1782806"/>
                  <a:pt x="2415056" y="1845654"/>
                  <a:pt x="2291183" y="1882277"/>
                </a:cubicBezTo>
                <a:cubicBezTo>
                  <a:pt x="2264694" y="1889389"/>
                  <a:pt x="2238773" y="1897141"/>
                  <a:pt x="2213357" y="1905763"/>
                </a:cubicBezTo>
                <a:cubicBezTo>
                  <a:pt x="2159602" y="1918305"/>
                  <a:pt x="2106750" y="1932069"/>
                  <a:pt x="2055212" y="1946431"/>
                </a:cubicBezTo>
                <a:cubicBezTo>
                  <a:pt x="1862320" y="2006694"/>
                  <a:pt x="1665726" y="2067926"/>
                  <a:pt x="1465662" y="2130187"/>
                </a:cubicBezTo>
                <a:cubicBezTo>
                  <a:pt x="1332702" y="2173193"/>
                  <a:pt x="1196287" y="2212580"/>
                  <a:pt x="1056419" y="2248347"/>
                </a:cubicBezTo>
                <a:cubicBezTo>
                  <a:pt x="1004959" y="2257831"/>
                  <a:pt x="945701" y="2268899"/>
                  <a:pt x="879040" y="2281902"/>
                </a:cubicBezTo>
                <a:cubicBezTo>
                  <a:pt x="826954" y="2290972"/>
                  <a:pt x="773799" y="2294857"/>
                  <a:pt x="720846" y="2293406"/>
                </a:cubicBezTo>
                <a:cubicBezTo>
                  <a:pt x="663440" y="2296641"/>
                  <a:pt x="605975" y="2292758"/>
                  <a:pt x="549538" y="2282289"/>
                </a:cubicBezTo>
                <a:cubicBezTo>
                  <a:pt x="520577" y="2274774"/>
                  <a:pt x="492168" y="2265203"/>
                  <a:pt x="464250" y="2253802"/>
                </a:cubicBezTo>
                <a:cubicBezTo>
                  <a:pt x="441697" y="2245310"/>
                  <a:pt x="419926" y="2234821"/>
                  <a:pt x="399041" y="2222857"/>
                </a:cubicBezTo>
                <a:cubicBezTo>
                  <a:pt x="341127" y="2193131"/>
                  <a:pt x="288781" y="2153629"/>
                  <a:pt x="244222" y="2106168"/>
                </a:cubicBezTo>
                <a:cubicBezTo>
                  <a:pt x="196588" y="2060090"/>
                  <a:pt x="153757" y="2008930"/>
                  <a:pt x="116571" y="1954137"/>
                </a:cubicBezTo>
                <a:lnTo>
                  <a:pt x="116250" y="1952582"/>
                </a:lnTo>
                <a:cubicBezTo>
                  <a:pt x="92178" y="1916735"/>
                  <a:pt x="71302" y="1879051"/>
                  <a:pt x="53622" y="1839528"/>
                </a:cubicBezTo>
                <a:cubicBezTo>
                  <a:pt x="16779" y="1766946"/>
                  <a:pt x="-1455" y="1686367"/>
                  <a:pt x="132" y="1605219"/>
                </a:cubicBezTo>
                <a:cubicBezTo>
                  <a:pt x="-725" y="1561631"/>
                  <a:pt x="2623" y="1517943"/>
                  <a:pt x="9763" y="1474783"/>
                </a:cubicBezTo>
                <a:cubicBezTo>
                  <a:pt x="22817" y="1396707"/>
                  <a:pt x="40749" y="1319695"/>
                  <a:pt x="63726" y="1244034"/>
                </a:cubicBezTo>
                <a:cubicBezTo>
                  <a:pt x="118430" y="1085746"/>
                  <a:pt x="182582" y="930726"/>
                  <a:pt x="255940" y="779887"/>
                </a:cubicBezTo>
                <a:cubicBezTo>
                  <a:pt x="285671" y="721223"/>
                  <a:pt x="316639" y="664360"/>
                  <a:pt x="347974" y="609801"/>
                </a:cubicBezTo>
                <a:cubicBezTo>
                  <a:pt x="416976" y="497234"/>
                  <a:pt x="495778" y="391212"/>
                  <a:pt x="584074" y="292878"/>
                </a:cubicBezTo>
                <a:cubicBezTo>
                  <a:pt x="618951" y="254455"/>
                  <a:pt x="655816" y="217791"/>
                  <a:pt x="694713" y="183629"/>
                </a:cubicBezTo>
                <a:cubicBezTo>
                  <a:pt x="735002" y="148861"/>
                  <a:pt x="778456" y="117881"/>
                  <a:pt x="824264" y="90961"/>
                </a:cubicBezTo>
                <a:cubicBezTo>
                  <a:pt x="862929" y="67760"/>
                  <a:pt x="903213" y="47690"/>
                  <a:pt x="945117" y="30747"/>
                </a:cubicBezTo>
                <a:cubicBezTo>
                  <a:pt x="986668" y="17874"/>
                  <a:pt x="1029489" y="8526"/>
                  <a:pt x="1072704" y="3203"/>
                </a:cubicBezTo>
                <a:cubicBezTo>
                  <a:pt x="1114345" y="-827"/>
                  <a:pt x="1156672" y="-999"/>
                  <a:pt x="1198539" y="2381"/>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0" rIns="182880" bIns="0" rtlCol="0" anchor="ctr">
            <a:noAutofit/>
          </a:bodyPr>
          <a:lstStyle/>
          <a:p>
            <a:pPr algn="ctr"/>
            <a:endParaRPr lang="en-US" sz="1200" b="1" noProof="0">
              <a:solidFill>
                <a:schemeClr val="accent3"/>
              </a:solidFill>
            </a:endParaRPr>
          </a:p>
        </p:txBody>
      </p:sp>
      <p:grpSp>
        <p:nvGrpSpPr>
          <p:cNvPr id="5" name="Group 4">
            <a:extLst>
              <a:ext uri="{FF2B5EF4-FFF2-40B4-BE49-F238E27FC236}">
                <a16:creationId xmlns:a16="http://schemas.microsoft.com/office/drawing/2014/main" id="{427A7BE2-8877-F2E4-7394-BDD1613B7412}"/>
              </a:ext>
            </a:extLst>
          </p:cNvPr>
          <p:cNvGrpSpPr/>
          <p:nvPr/>
        </p:nvGrpSpPr>
        <p:grpSpPr>
          <a:xfrm>
            <a:off x="5205680" y="1414217"/>
            <a:ext cx="6986322" cy="3302003"/>
            <a:chOff x="5371930" y="1971174"/>
            <a:chExt cx="6986322" cy="3302003"/>
          </a:xfrm>
        </p:grpSpPr>
        <p:grpSp>
          <p:nvGrpSpPr>
            <p:cNvPr id="79" name="Group 78">
              <a:extLst>
                <a:ext uri="{FF2B5EF4-FFF2-40B4-BE49-F238E27FC236}">
                  <a16:creationId xmlns:a16="http://schemas.microsoft.com/office/drawing/2014/main" id="{3CDE482E-2A49-8A92-047D-E99C63679E6D}"/>
                </a:ext>
              </a:extLst>
            </p:cNvPr>
            <p:cNvGrpSpPr/>
            <p:nvPr/>
          </p:nvGrpSpPr>
          <p:grpSpPr>
            <a:xfrm>
              <a:off x="6868192" y="1971174"/>
              <a:ext cx="5490060" cy="3302003"/>
              <a:chOff x="7656470" y="1630517"/>
              <a:chExt cx="5490060" cy="3302003"/>
            </a:xfrm>
          </p:grpSpPr>
          <p:sp>
            <p:nvSpPr>
              <p:cNvPr id="80" name="Content Placeholder 8">
                <a:extLst>
                  <a:ext uri="{FF2B5EF4-FFF2-40B4-BE49-F238E27FC236}">
                    <a16:creationId xmlns:a16="http://schemas.microsoft.com/office/drawing/2014/main" id="{57FF7252-AF14-59B8-5B56-9441BBD26FC4}"/>
                  </a:ext>
                </a:extLst>
              </p:cNvPr>
              <p:cNvSpPr txBox="1">
                <a:spLocks/>
              </p:cNvSpPr>
              <p:nvPr/>
            </p:nvSpPr>
            <p:spPr>
              <a:xfrm rot="16200000">
                <a:off x="10813676" y="2599666"/>
                <a:ext cx="990126" cy="3675581"/>
              </a:xfrm>
              <a:prstGeom prst="round2SameRect">
                <a:avLst>
                  <a:gd name="adj1" fmla="val 50000"/>
                  <a:gd name="adj2" fmla="val 0"/>
                </a:avLst>
              </a:prstGeom>
              <a:solidFill>
                <a:schemeClr val="accent1">
                  <a:lumMod val="20000"/>
                  <a:lumOff val="80000"/>
                </a:schemeClr>
              </a:solidFill>
            </p:spPr>
            <p:txBody>
              <a:bodyPr vert="vert" lIns="0" tIns="0" rIns="0" bIns="0" rtlCol="0" anchor="ctr">
                <a:noAutofit/>
              </a:bodyPr>
              <a:lstStyle>
                <a:lvl1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1pPr>
                <a:lvl2pPr marL="180975" indent="0" algn="l" defTabSz="914400" rtl="0" eaLnBrk="1" latinLnBrk="0" hangingPunct="1">
                  <a:lnSpc>
                    <a:spcPct val="100000"/>
                  </a:lnSpc>
                  <a:spcBef>
                    <a:spcPts val="0"/>
                  </a:spcBef>
                  <a:spcAft>
                    <a:spcPts val="600"/>
                  </a:spcAft>
                  <a:buClr>
                    <a:schemeClr val="accent1"/>
                  </a:buClr>
                  <a:buFont typeface="Calibri" panose="020F0502020204030204" pitchFamily="34" charset="0"/>
                  <a:buNone/>
                  <a:defRPr sz="1800" kern="1200">
                    <a:solidFill>
                      <a:schemeClr val="tx1"/>
                    </a:solidFill>
                    <a:latin typeface="+mn-lt"/>
                    <a:ea typeface="+mn-ea"/>
                    <a:cs typeface="+mn-cs"/>
                  </a:defRPr>
                </a:lvl2pPr>
                <a:lvl3pPr marL="358775" indent="0" algn="l"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3pPr>
                <a:lvl4pPr marL="538163" indent="0" algn="l" defTabSz="914400" rtl="0" eaLnBrk="1" latinLnBrk="0" hangingPunct="1">
                  <a:lnSpc>
                    <a:spcPct val="100000"/>
                  </a:lnSpc>
                  <a:spcBef>
                    <a:spcPts val="0"/>
                  </a:spcBef>
                  <a:spcAft>
                    <a:spcPts val="600"/>
                  </a:spcAft>
                  <a:buClr>
                    <a:schemeClr val="accent1"/>
                  </a:buClr>
                  <a:buFont typeface="Calibri" panose="020F0502020204030204" pitchFamily="34" charset="0"/>
                  <a:buNone/>
                  <a:defRPr sz="1400" kern="1200">
                    <a:solidFill>
                      <a:schemeClr val="tx1"/>
                    </a:solidFill>
                    <a:latin typeface="+mn-lt"/>
                    <a:ea typeface="+mn-ea"/>
                    <a:cs typeface="+mn-cs"/>
                  </a:defRPr>
                </a:lvl4pPr>
                <a:lvl5pPr marL="715963" indent="0" algn="l" defTabSz="914400" rtl="0" eaLnBrk="1" latinLnBrk="0" hangingPunct="1">
                  <a:lnSpc>
                    <a:spcPct val="100000"/>
                  </a:lnSpc>
                  <a:spcBef>
                    <a:spcPts val="0"/>
                  </a:spcBef>
                  <a:spcAft>
                    <a:spcPts val="600"/>
                  </a:spcAft>
                  <a:buClr>
                    <a:schemeClr val="accent1"/>
                  </a:buClr>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7013" marR="0" lvl="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3"/>
                    </a:solidFill>
                    <a:effectLst/>
                    <a:uLnTx/>
                    <a:uFillTx/>
                    <a:latin typeface="+mj-lt"/>
                    <a:ea typeface="+mn-ea"/>
                    <a:cs typeface="+mn-cs"/>
                  </a:rPr>
                  <a:t>ASyS</a:t>
                </a:r>
                <a:endParaRPr kumimoji="0" lang="en-US" sz="1400" b="1" i="0" u="none" strike="noStrike" kern="1200" cap="none" spc="0" normalizeH="0" baseline="0" noProof="0">
                  <a:ln>
                    <a:noFill/>
                  </a:ln>
                  <a:solidFill>
                    <a:schemeClr val="accent3"/>
                  </a:solidFill>
                  <a:effectLst/>
                  <a:uLnTx/>
                  <a:uFillTx/>
                  <a:latin typeface="+mj-lt"/>
                  <a:ea typeface="+mn-ea"/>
                  <a:cs typeface="+mn-cs"/>
                </a:endParaRPr>
              </a:p>
              <a:p>
                <a:pPr marL="227013" marR="0" lvl="0"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10" normalizeH="0" noProof="0">
                    <a:ln>
                      <a:noFill/>
                    </a:ln>
                    <a:solidFill>
                      <a:schemeClr val="accent3"/>
                    </a:solidFill>
                    <a:effectLst/>
                    <a:uLnTx/>
                    <a:uFillTx/>
                    <a:latin typeface="+mj-lt"/>
                    <a:ea typeface="+mn-ea"/>
                    <a:cs typeface="+mn-cs"/>
                  </a:rPr>
                  <a:t>anti-aminoacyl-tRNA synthetase MSAs: </a:t>
                </a:r>
                <a:br>
                  <a:rPr kumimoji="0" lang="en-US" sz="1400" i="0" u="none" strike="noStrike" kern="1200" cap="none" spc="-10" normalizeH="0" noProof="0">
                    <a:ln>
                      <a:noFill/>
                    </a:ln>
                    <a:solidFill>
                      <a:schemeClr val="accent3"/>
                    </a:solidFill>
                    <a:effectLst/>
                    <a:uLnTx/>
                    <a:uFillTx/>
                    <a:latin typeface="+mj-lt"/>
                    <a:ea typeface="+mn-ea"/>
                    <a:cs typeface="+mn-cs"/>
                  </a:rPr>
                </a:br>
                <a:r>
                  <a:rPr lang="en-US" sz="1400" noProof="0">
                    <a:solidFill>
                      <a:schemeClr val="accent3"/>
                    </a:solidFill>
                    <a:latin typeface="Calibri" panose="020F0502020204030204" pitchFamily="34" charset="0"/>
                    <a:cs typeface="Calibri" panose="020F0502020204030204" pitchFamily="34" charset="0"/>
                  </a:rPr>
                  <a:t>anti-Jo1, anti-PL-7, anti-PL-12, anti-EJ, </a:t>
                </a:r>
                <a:br>
                  <a:rPr lang="en-US" sz="1400" noProof="0">
                    <a:solidFill>
                      <a:schemeClr val="accent3"/>
                    </a:solidFill>
                    <a:latin typeface="Calibri" panose="020F0502020204030204" pitchFamily="34" charset="0"/>
                    <a:cs typeface="Calibri" panose="020F0502020204030204" pitchFamily="34" charset="0"/>
                  </a:rPr>
                </a:br>
                <a:r>
                  <a:rPr lang="en-US" sz="1400" noProof="0">
                    <a:solidFill>
                      <a:schemeClr val="accent3"/>
                    </a:solidFill>
                    <a:latin typeface="Calibri" panose="020F0502020204030204" pitchFamily="34" charset="0"/>
                    <a:cs typeface="Calibri" panose="020F0502020204030204" pitchFamily="34" charset="0"/>
                  </a:rPr>
                  <a:t>anti-OJ, anti-Zo, anti-Ha, anti-Ly, anti-VRS</a:t>
                </a:r>
                <a:endParaRPr kumimoji="0" lang="en-US" sz="1400" i="0" u="none" strike="noStrike" kern="1200" cap="none" spc="-10" normalizeH="0" noProof="0">
                  <a:ln>
                    <a:noFill/>
                  </a:ln>
                  <a:solidFill>
                    <a:schemeClr val="accent3"/>
                  </a:solidFill>
                  <a:effectLst/>
                  <a:uLnTx/>
                  <a:uFillTx/>
                  <a:latin typeface="Calibri" panose="020F0502020204030204" pitchFamily="34" charset="0"/>
                  <a:cs typeface="Calibri" panose="020F0502020204030204" pitchFamily="34" charset="0"/>
                </a:endParaRPr>
              </a:p>
            </p:txBody>
          </p:sp>
          <p:sp>
            <p:nvSpPr>
              <p:cNvPr id="81" name="Content Placeholder 8">
                <a:extLst>
                  <a:ext uri="{FF2B5EF4-FFF2-40B4-BE49-F238E27FC236}">
                    <a16:creationId xmlns:a16="http://schemas.microsoft.com/office/drawing/2014/main" id="{50A03986-828A-F263-2863-55BE5FE8A436}"/>
                  </a:ext>
                </a:extLst>
              </p:cNvPr>
              <p:cNvSpPr txBox="1">
                <a:spLocks/>
              </p:cNvSpPr>
              <p:nvPr/>
            </p:nvSpPr>
            <p:spPr>
              <a:xfrm rot="16200000">
                <a:off x="10813674" y="287789"/>
                <a:ext cx="990126" cy="3675582"/>
              </a:xfrm>
              <a:prstGeom prst="round2SameRect">
                <a:avLst>
                  <a:gd name="adj1" fmla="val 50000"/>
                  <a:gd name="adj2" fmla="val 0"/>
                </a:avLst>
              </a:prstGeom>
              <a:solidFill>
                <a:schemeClr val="accent2"/>
              </a:solidFill>
            </p:spPr>
            <p:txBody>
              <a:bodyPr vert="vert" lIns="36000" tIns="72000" rIns="0" bIns="0" rtlCol="0" anchor="ctr">
                <a:noAutofit/>
              </a:bodyPr>
              <a:lstStyle>
                <a:lvl1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1pPr>
                <a:lvl2pPr marL="180975" indent="0" algn="l" defTabSz="914400" rtl="0" eaLnBrk="1" latinLnBrk="0" hangingPunct="1">
                  <a:lnSpc>
                    <a:spcPct val="100000"/>
                  </a:lnSpc>
                  <a:spcBef>
                    <a:spcPts val="0"/>
                  </a:spcBef>
                  <a:spcAft>
                    <a:spcPts val="600"/>
                  </a:spcAft>
                  <a:buClr>
                    <a:schemeClr val="accent1"/>
                  </a:buClr>
                  <a:buFont typeface="Calibri" panose="020F0502020204030204" pitchFamily="34" charset="0"/>
                  <a:buNone/>
                  <a:defRPr sz="1800" kern="1200">
                    <a:solidFill>
                      <a:schemeClr val="tx1"/>
                    </a:solidFill>
                    <a:latin typeface="+mn-lt"/>
                    <a:ea typeface="+mn-ea"/>
                    <a:cs typeface="+mn-cs"/>
                  </a:defRPr>
                </a:lvl2pPr>
                <a:lvl3pPr marL="358775" indent="0" algn="l"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3pPr>
                <a:lvl4pPr marL="538163" indent="0" algn="l" defTabSz="914400" rtl="0" eaLnBrk="1" latinLnBrk="0" hangingPunct="1">
                  <a:lnSpc>
                    <a:spcPct val="100000"/>
                  </a:lnSpc>
                  <a:spcBef>
                    <a:spcPts val="0"/>
                  </a:spcBef>
                  <a:spcAft>
                    <a:spcPts val="600"/>
                  </a:spcAft>
                  <a:buClr>
                    <a:schemeClr val="accent1"/>
                  </a:buClr>
                  <a:buFont typeface="Calibri" panose="020F0502020204030204" pitchFamily="34" charset="0"/>
                  <a:buNone/>
                  <a:defRPr sz="1400" kern="1200">
                    <a:solidFill>
                      <a:schemeClr val="tx1"/>
                    </a:solidFill>
                    <a:latin typeface="+mn-lt"/>
                    <a:ea typeface="+mn-ea"/>
                    <a:cs typeface="+mn-cs"/>
                  </a:defRPr>
                </a:lvl4pPr>
                <a:lvl5pPr marL="715963" indent="0" algn="l" defTabSz="914400" rtl="0" eaLnBrk="1" latinLnBrk="0" hangingPunct="1">
                  <a:lnSpc>
                    <a:spcPct val="100000"/>
                  </a:lnSpc>
                  <a:spcBef>
                    <a:spcPts val="0"/>
                  </a:spcBef>
                  <a:spcAft>
                    <a:spcPts val="600"/>
                  </a:spcAft>
                  <a:buClr>
                    <a:schemeClr val="accent1"/>
                  </a:buClr>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7013" marR="0" lvl="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3"/>
                    </a:solidFill>
                    <a:effectLst/>
                    <a:uLnTx/>
                    <a:uFillTx/>
                    <a:latin typeface="+mj-lt"/>
                    <a:ea typeface="+mn-ea"/>
                    <a:cs typeface="+mn-cs"/>
                  </a:rPr>
                  <a:t>DM</a:t>
                </a:r>
                <a:br>
                  <a:rPr kumimoji="0" lang="en-US" sz="1400" b="1" i="0" u="none" strike="noStrike" kern="1200" cap="none" spc="0" normalizeH="0" baseline="0" noProof="0">
                    <a:ln>
                      <a:noFill/>
                    </a:ln>
                    <a:solidFill>
                      <a:schemeClr val="accent3"/>
                    </a:solidFill>
                    <a:effectLst/>
                    <a:uLnTx/>
                    <a:uFillTx/>
                    <a:latin typeface="+mj-lt"/>
                    <a:ea typeface="+mn-ea"/>
                    <a:cs typeface="+mn-cs"/>
                  </a:rPr>
                </a:br>
                <a:r>
                  <a:rPr kumimoji="0" lang="en-US" sz="1400" i="0" u="none" strike="noStrike" kern="1200" cap="none" spc="-10" normalizeH="0" noProof="0">
                    <a:ln>
                      <a:noFill/>
                    </a:ln>
                    <a:solidFill>
                      <a:schemeClr val="accent3"/>
                    </a:solidFill>
                    <a:effectLst/>
                    <a:uLnTx/>
                    <a:uFillTx/>
                    <a:latin typeface="+mj-lt"/>
                    <a:ea typeface="+mn-ea"/>
                    <a:cs typeface="+mn-cs"/>
                  </a:rPr>
                  <a:t>anti-Mi-2, anti-TIF-1γ, </a:t>
                </a:r>
                <a:br>
                  <a:rPr kumimoji="0" lang="en-US" sz="1400" i="0" u="none" strike="noStrike" kern="1200" cap="none" spc="-10" normalizeH="0" noProof="0">
                    <a:ln>
                      <a:noFill/>
                    </a:ln>
                    <a:solidFill>
                      <a:schemeClr val="accent3"/>
                    </a:solidFill>
                    <a:effectLst/>
                    <a:uLnTx/>
                    <a:uFillTx/>
                    <a:latin typeface="+mj-lt"/>
                    <a:ea typeface="+mn-ea"/>
                    <a:cs typeface="+mn-cs"/>
                  </a:rPr>
                </a:br>
                <a:r>
                  <a:rPr kumimoji="0" lang="en-US" sz="1400" i="0" u="none" strike="noStrike" kern="1200" cap="none" spc="-10" normalizeH="0" noProof="0">
                    <a:ln>
                      <a:noFill/>
                    </a:ln>
                    <a:solidFill>
                      <a:schemeClr val="accent3"/>
                    </a:solidFill>
                    <a:effectLst/>
                    <a:uLnTx/>
                    <a:uFillTx/>
                    <a:latin typeface="+mj-lt"/>
                    <a:ea typeface="+mn-ea"/>
                    <a:cs typeface="+mn-cs"/>
                  </a:rPr>
                  <a:t>anti-NXP2</a:t>
                </a:r>
                <a:r>
                  <a:rPr kumimoji="0" lang="en-US" sz="1400" i="0" u="none" strike="noStrike" kern="1200" cap="none" spc="0" normalizeH="0" baseline="0" noProof="0">
                    <a:ln>
                      <a:noFill/>
                    </a:ln>
                    <a:solidFill>
                      <a:schemeClr val="accent3"/>
                    </a:solidFill>
                    <a:effectLst/>
                    <a:uLnTx/>
                    <a:uFillTx/>
                    <a:latin typeface="+mj-lt"/>
                    <a:ea typeface="+mn-ea"/>
                    <a:cs typeface="+mn-cs"/>
                  </a:rPr>
                  <a:t>, anti-MDA5, anti-SAE</a:t>
                </a:r>
                <a:endParaRPr kumimoji="0" lang="en-US" sz="1400" i="0" u="none" strike="sngStrike" kern="1200" cap="none" spc="0" normalizeH="0" baseline="0" noProof="0">
                  <a:ln>
                    <a:noFill/>
                  </a:ln>
                  <a:solidFill>
                    <a:schemeClr val="accent3"/>
                  </a:solidFill>
                  <a:effectLst/>
                  <a:uLnTx/>
                  <a:uFillTx/>
                  <a:latin typeface="+mj-lt"/>
                  <a:ea typeface="+mn-ea"/>
                  <a:cs typeface="+mn-cs"/>
                </a:endParaRPr>
              </a:p>
            </p:txBody>
          </p:sp>
          <p:sp>
            <p:nvSpPr>
              <p:cNvPr id="82" name="Content Placeholder 8">
                <a:extLst>
                  <a:ext uri="{FF2B5EF4-FFF2-40B4-BE49-F238E27FC236}">
                    <a16:creationId xmlns:a16="http://schemas.microsoft.com/office/drawing/2014/main" id="{F2C857A0-F38B-96DE-C35D-5079B4DEED94}"/>
                  </a:ext>
                </a:extLst>
              </p:cNvPr>
              <p:cNvSpPr txBox="1">
                <a:spLocks/>
              </p:cNvSpPr>
              <p:nvPr/>
            </p:nvSpPr>
            <p:spPr>
              <a:xfrm rot="16200000">
                <a:off x="11063797" y="1692560"/>
                <a:ext cx="990126" cy="3175340"/>
              </a:xfrm>
              <a:prstGeom prst="round2SameRect">
                <a:avLst>
                  <a:gd name="adj1" fmla="val 50000"/>
                  <a:gd name="adj2" fmla="val 0"/>
                </a:avLst>
              </a:prstGeom>
              <a:solidFill>
                <a:schemeClr val="tx2">
                  <a:lumMod val="40000"/>
                  <a:lumOff val="60000"/>
                </a:schemeClr>
              </a:solidFill>
            </p:spPr>
            <p:txBody>
              <a:bodyPr vert="vert" lIns="0" tIns="0" rIns="0" bIns="0" rtlCol="0" anchor="ctr">
                <a:noAutofit/>
              </a:bodyPr>
              <a:lstStyle>
                <a:lvl1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1pPr>
                <a:lvl2pPr marL="180975" indent="0" algn="l" defTabSz="914400" rtl="0" eaLnBrk="1" latinLnBrk="0" hangingPunct="1">
                  <a:lnSpc>
                    <a:spcPct val="100000"/>
                  </a:lnSpc>
                  <a:spcBef>
                    <a:spcPts val="0"/>
                  </a:spcBef>
                  <a:spcAft>
                    <a:spcPts val="600"/>
                  </a:spcAft>
                  <a:buClr>
                    <a:schemeClr val="accent1"/>
                  </a:buClr>
                  <a:buFont typeface="Calibri" panose="020F0502020204030204" pitchFamily="34" charset="0"/>
                  <a:buNone/>
                  <a:defRPr sz="1800" kern="1200">
                    <a:solidFill>
                      <a:schemeClr val="tx1"/>
                    </a:solidFill>
                    <a:latin typeface="+mn-lt"/>
                    <a:ea typeface="+mn-ea"/>
                    <a:cs typeface="+mn-cs"/>
                  </a:defRPr>
                </a:lvl2pPr>
                <a:lvl3pPr marL="358775" indent="0" algn="l"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3pPr>
                <a:lvl4pPr marL="538163" indent="0" algn="l" defTabSz="914400" rtl="0" eaLnBrk="1" latinLnBrk="0" hangingPunct="1">
                  <a:lnSpc>
                    <a:spcPct val="100000"/>
                  </a:lnSpc>
                  <a:spcBef>
                    <a:spcPts val="0"/>
                  </a:spcBef>
                  <a:spcAft>
                    <a:spcPts val="600"/>
                  </a:spcAft>
                  <a:buClr>
                    <a:schemeClr val="accent1"/>
                  </a:buClr>
                  <a:buFont typeface="Calibri" panose="020F0502020204030204" pitchFamily="34" charset="0"/>
                  <a:buNone/>
                  <a:defRPr sz="1400" kern="1200">
                    <a:solidFill>
                      <a:schemeClr val="tx1"/>
                    </a:solidFill>
                    <a:latin typeface="+mn-lt"/>
                    <a:ea typeface="+mn-ea"/>
                    <a:cs typeface="+mn-cs"/>
                  </a:defRPr>
                </a:lvl4pPr>
                <a:lvl5pPr marL="715963" indent="0" algn="l" defTabSz="914400" rtl="0" eaLnBrk="1" latinLnBrk="0" hangingPunct="1">
                  <a:lnSpc>
                    <a:spcPct val="100000"/>
                  </a:lnSpc>
                  <a:spcBef>
                    <a:spcPts val="0"/>
                  </a:spcBef>
                  <a:spcAft>
                    <a:spcPts val="600"/>
                  </a:spcAft>
                  <a:buClr>
                    <a:schemeClr val="accent1"/>
                  </a:buClr>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7013" marR="0" lvl="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3"/>
                    </a:solidFill>
                    <a:effectLst/>
                    <a:uLnTx/>
                    <a:uFillTx/>
                    <a:latin typeface="+mj-lt"/>
                    <a:ea typeface="+mn-ea"/>
                    <a:cs typeface="+mn-cs"/>
                  </a:rPr>
                  <a:t>IMNM</a:t>
                </a:r>
                <a:r>
                  <a:rPr kumimoji="0" lang="en-US" sz="1400" b="1" i="0" u="none" strike="noStrike" kern="1200" cap="none" spc="0" normalizeH="0" baseline="0" noProof="0">
                    <a:ln>
                      <a:noFill/>
                    </a:ln>
                    <a:solidFill>
                      <a:schemeClr val="accent3"/>
                    </a:solidFill>
                    <a:effectLst/>
                    <a:uLnTx/>
                    <a:uFillTx/>
                    <a:latin typeface="+mj-lt"/>
                    <a:ea typeface="+mn-ea"/>
                    <a:cs typeface="+mn-cs"/>
                  </a:rPr>
                  <a:t> </a:t>
                </a:r>
                <a:br>
                  <a:rPr kumimoji="0" lang="en-US" sz="1400" b="1" i="0" u="none" strike="noStrike" kern="1200" cap="none" spc="0" normalizeH="0" baseline="0" noProof="0">
                    <a:ln>
                      <a:noFill/>
                    </a:ln>
                    <a:solidFill>
                      <a:schemeClr val="accent3"/>
                    </a:solidFill>
                    <a:effectLst/>
                    <a:uLnTx/>
                    <a:uFillTx/>
                    <a:latin typeface="+mj-lt"/>
                    <a:ea typeface="+mn-ea"/>
                    <a:cs typeface="+mn-cs"/>
                  </a:rPr>
                </a:br>
                <a:r>
                  <a:rPr kumimoji="0" lang="en-US" sz="1400" i="0" u="none" strike="noStrike" kern="1200" cap="none" spc="0" normalizeH="0" baseline="0" noProof="0">
                    <a:ln>
                      <a:noFill/>
                    </a:ln>
                    <a:solidFill>
                      <a:schemeClr val="accent3"/>
                    </a:solidFill>
                    <a:effectLst/>
                    <a:uLnTx/>
                    <a:uFillTx/>
                    <a:latin typeface="+mj-lt"/>
                    <a:ea typeface="+mn-ea"/>
                    <a:cs typeface="+mn-cs"/>
                  </a:rPr>
                  <a:t>anti-SRP, anti-HMGCR</a:t>
                </a:r>
              </a:p>
            </p:txBody>
          </p:sp>
          <p:grpSp>
            <p:nvGrpSpPr>
              <p:cNvPr id="83" name="Group 82">
                <a:extLst>
                  <a:ext uri="{FF2B5EF4-FFF2-40B4-BE49-F238E27FC236}">
                    <a16:creationId xmlns:a16="http://schemas.microsoft.com/office/drawing/2014/main" id="{8C854D81-8C81-402B-CC90-6569584A215B}"/>
                  </a:ext>
                </a:extLst>
              </p:cNvPr>
              <p:cNvGrpSpPr/>
              <p:nvPr/>
            </p:nvGrpSpPr>
            <p:grpSpPr>
              <a:xfrm>
                <a:off x="7656470" y="2134678"/>
                <a:ext cx="2342351" cy="2308612"/>
                <a:chOff x="7345462" y="2386346"/>
                <a:chExt cx="2342351" cy="2308612"/>
              </a:xfrm>
            </p:grpSpPr>
            <p:grpSp>
              <p:nvGrpSpPr>
                <p:cNvPr id="84" name="Group 83">
                  <a:extLst>
                    <a:ext uri="{FF2B5EF4-FFF2-40B4-BE49-F238E27FC236}">
                      <a16:creationId xmlns:a16="http://schemas.microsoft.com/office/drawing/2014/main" id="{C054DC70-07AB-B31D-A3FE-957E3FEFE38E}"/>
                    </a:ext>
                  </a:extLst>
                </p:cNvPr>
                <p:cNvGrpSpPr/>
                <p:nvPr/>
              </p:nvGrpSpPr>
              <p:grpSpPr>
                <a:xfrm>
                  <a:off x="8645629" y="2386346"/>
                  <a:ext cx="1042184" cy="2308612"/>
                  <a:chOff x="7988172" y="2171506"/>
                  <a:chExt cx="1190118" cy="2797971"/>
                </a:xfrm>
              </p:grpSpPr>
              <p:sp>
                <p:nvSpPr>
                  <p:cNvPr id="88" name="Freeform: Shape 15">
                    <a:extLst>
                      <a:ext uri="{FF2B5EF4-FFF2-40B4-BE49-F238E27FC236}">
                        <a16:creationId xmlns:a16="http://schemas.microsoft.com/office/drawing/2014/main" id="{973DF2B6-B864-0DF0-97B5-B3CF8FC74773}"/>
                      </a:ext>
                    </a:extLst>
                  </p:cNvPr>
                  <p:cNvSpPr/>
                  <p:nvPr/>
                </p:nvSpPr>
                <p:spPr>
                  <a:xfrm>
                    <a:off x="8057988" y="2171506"/>
                    <a:ext cx="544536" cy="788369"/>
                  </a:xfrm>
                  <a:custGeom>
                    <a:avLst/>
                    <a:gdLst>
                      <a:gd name="connsiteX0" fmla="*/ 0 w 585216"/>
                      <a:gd name="connsiteY0" fmla="*/ 231648 h 231648"/>
                      <a:gd name="connsiteX1" fmla="*/ 152400 w 585216"/>
                      <a:gd name="connsiteY1" fmla="*/ 0 h 231648"/>
                      <a:gd name="connsiteX2" fmla="*/ 585216 w 585216"/>
                      <a:gd name="connsiteY2" fmla="*/ 0 h 231648"/>
                    </a:gdLst>
                    <a:ahLst/>
                    <a:cxnLst>
                      <a:cxn ang="0">
                        <a:pos x="connsiteX0" y="connsiteY0"/>
                      </a:cxn>
                      <a:cxn ang="0">
                        <a:pos x="connsiteX1" y="connsiteY1"/>
                      </a:cxn>
                      <a:cxn ang="0">
                        <a:pos x="connsiteX2" y="connsiteY2"/>
                      </a:cxn>
                    </a:cxnLst>
                    <a:rect l="l" t="t" r="r" b="b"/>
                    <a:pathLst>
                      <a:path w="585216" h="231648">
                        <a:moveTo>
                          <a:pt x="0" y="231648"/>
                        </a:moveTo>
                        <a:lnTo>
                          <a:pt x="152400" y="0"/>
                        </a:lnTo>
                        <a:lnTo>
                          <a:pt x="585216" y="0"/>
                        </a:lnTo>
                      </a:path>
                    </a:pathLst>
                  </a:custGeom>
                  <a:noFill/>
                  <a:ln w="15875">
                    <a:solidFill>
                      <a:schemeClr val="accent5"/>
                    </a:solidFill>
                    <a:tailEnd type="oval" w="lg" len="lg"/>
                  </a:ln>
                </p:spPr>
                <p:txBody>
                  <a:bodyPr wrap="square" lIns="91440" tIns="91440" rIns="91440" bIns="91440" anchor="ctr">
                    <a:noAutofit/>
                  </a:bodyPr>
                  <a:lstStyle/>
                  <a:p>
                    <a:endParaRPr lang="en-US" sz="1600" noProof="0">
                      <a:solidFill>
                        <a:schemeClr val="tx1"/>
                      </a:solidFill>
                      <a:latin typeface="+mj-lt"/>
                      <a:cs typeface="Arial" panose="020B0604020202020204" pitchFamily="34" charset="0"/>
                    </a:endParaRPr>
                  </a:p>
                </p:txBody>
              </p:sp>
              <p:sp>
                <p:nvSpPr>
                  <p:cNvPr id="89" name="Freeform: Shape 17">
                    <a:extLst>
                      <a:ext uri="{FF2B5EF4-FFF2-40B4-BE49-F238E27FC236}">
                        <a16:creationId xmlns:a16="http://schemas.microsoft.com/office/drawing/2014/main" id="{525EF0E5-59B5-B64C-B2E7-7BF6DC02BA44}"/>
                      </a:ext>
                    </a:extLst>
                  </p:cNvPr>
                  <p:cNvSpPr/>
                  <p:nvPr/>
                </p:nvSpPr>
                <p:spPr>
                  <a:xfrm flipV="1">
                    <a:off x="8057987" y="4153007"/>
                    <a:ext cx="544536" cy="816470"/>
                  </a:xfrm>
                  <a:custGeom>
                    <a:avLst/>
                    <a:gdLst>
                      <a:gd name="connsiteX0" fmla="*/ 0 w 585216"/>
                      <a:gd name="connsiteY0" fmla="*/ 231648 h 231648"/>
                      <a:gd name="connsiteX1" fmla="*/ 152400 w 585216"/>
                      <a:gd name="connsiteY1" fmla="*/ 0 h 231648"/>
                      <a:gd name="connsiteX2" fmla="*/ 585216 w 585216"/>
                      <a:gd name="connsiteY2" fmla="*/ 0 h 231648"/>
                    </a:gdLst>
                    <a:ahLst/>
                    <a:cxnLst>
                      <a:cxn ang="0">
                        <a:pos x="connsiteX0" y="connsiteY0"/>
                      </a:cxn>
                      <a:cxn ang="0">
                        <a:pos x="connsiteX1" y="connsiteY1"/>
                      </a:cxn>
                      <a:cxn ang="0">
                        <a:pos x="connsiteX2" y="connsiteY2"/>
                      </a:cxn>
                    </a:cxnLst>
                    <a:rect l="l" t="t" r="r" b="b"/>
                    <a:pathLst>
                      <a:path w="585216" h="231648">
                        <a:moveTo>
                          <a:pt x="0" y="231648"/>
                        </a:moveTo>
                        <a:lnTo>
                          <a:pt x="152400" y="0"/>
                        </a:lnTo>
                        <a:lnTo>
                          <a:pt x="585216" y="0"/>
                        </a:lnTo>
                      </a:path>
                    </a:pathLst>
                  </a:custGeom>
                  <a:noFill/>
                  <a:ln w="15875">
                    <a:solidFill>
                      <a:schemeClr val="accent5"/>
                    </a:solidFill>
                    <a:tailEnd type="oval" w="lg" len="lg"/>
                  </a:ln>
                </p:spPr>
                <p:txBody>
                  <a:bodyPr wrap="square" lIns="91440" tIns="91440" rIns="91440" bIns="91440" anchor="ctr">
                    <a:noAutofit/>
                  </a:bodyPr>
                  <a:lstStyle/>
                  <a:p>
                    <a:endParaRPr lang="en-US" sz="1600" noProof="0">
                      <a:solidFill>
                        <a:schemeClr val="tx1"/>
                      </a:solidFill>
                      <a:latin typeface="+mj-lt"/>
                      <a:cs typeface="Arial" panose="020B0604020202020204" pitchFamily="34" charset="0"/>
                    </a:endParaRPr>
                  </a:p>
                </p:txBody>
              </p:sp>
              <p:cxnSp>
                <p:nvCxnSpPr>
                  <p:cNvPr id="90" name="Straight Connector 89">
                    <a:extLst>
                      <a:ext uri="{FF2B5EF4-FFF2-40B4-BE49-F238E27FC236}">
                        <a16:creationId xmlns:a16="http://schemas.microsoft.com/office/drawing/2014/main" id="{13802F55-7032-78B9-B96A-37BDA9A33143}"/>
                      </a:ext>
                    </a:extLst>
                  </p:cNvPr>
                  <p:cNvCxnSpPr>
                    <a:cxnSpLocks/>
                  </p:cNvCxnSpPr>
                  <p:nvPr/>
                </p:nvCxnSpPr>
                <p:spPr>
                  <a:xfrm>
                    <a:off x="7988172" y="3562157"/>
                    <a:ext cx="1190118" cy="0"/>
                  </a:xfrm>
                  <a:prstGeom prst="line">
                    <a:avLst/>
                  </a:prstGeom>
                  <a:noFill/>
                  <a:ln w="15875">
                    <a:solidFill>
                      <a:schemeClr val="accent5"/>
                    </a:solidFill>
                    <a:tailEnd type="oval" w="lg" len="lg"/>
                  </a:ln>
                </p:spPr>
              </p:cxnSp>
            </p:grpSp>
            <p:sp>
              <p:nvSpPr>
                <p:cNvPr id="86" name="Graphic 1013">
                  <a:extLst>
                    <a:ext uri="{FF2B5EF4-FFF2-40B4-BE49-F238E27FC236}">
                      <a16:creationId xmlns:a16="http://schemas.microsoft.com/office/drawing/2014/main" id="{5DE8D966-9E5E-31E0-F353-E03CBA2E2DC5}"/>
                    </a:ext>
                  </a:extLst>
                </p:cNvPr>
                <p:cNvSpPr/>
                <p:nvPr/>
              </p:nvSpPr>
              <p:spPr>
                <a:xfrm>
                  <a:off x="7345462" y="2621052"/>
                  <a:ext cx="2104611" cy="1873411"/>
                </a:xfrm>
                <a:custGeom>
                  <a:avLst/>
                  <a:gdLst>
                    <a:gd name="connsiteX0" fmla="*/ 59974 w 988434"/>
                    <a:gd name="connsiteY0" fmla="*/ 781464 h 879851"/>
                    <a:gd name="connsiteX1" fmla="*/ 112051 w 988434"/>
                    <a:gd name="connsiteY1" fmla="*/ 830744 h 879851"/>
                    <a:gd name="connsiteX2" fmla="*/ 172053 w 988434"/>
                    <a:gd name="connsiteY2" fmla="*/ 865419 h 879851"/>
                    <a:gd name="connsiteX3" fmla="*/ 196771 w 988434"/>
                    <a:gd name="connsiteY3" fmla="*/ 873711 h 879851"/>
                    <a:gd name="connsiteX4" fmla="*/ 228093 w 988434"/>
                    <a:gd name="connsiteY4" fmla="*/ 879647 h 879851"/>
                    <a:gd name="connsiteX5" fmla="*/ 289038 w 988434"/>
                    <a:gd name="connsiteY5" fmla="*/ 874370 h 879851"/>
                    <a:gd name="connsiteX6" fmla="*/ 344229 w 988434"/>
                    <a:gd name="connsiteY6" fmla="*/ 861556 h 879851"/>
                    <a:gd name="connsiteX7" fmla="*/ 405174 w 988434"/>
                    <a:gd name="connsiteY7" fmla="*/ 839507 h 879851"/>
                    <a:gd name="connsiteX8" fmla="*/ 543670 w 988434"/>
                    <a:gd name="connsiteY8" fmla="*/ 773455 h 879851"/>
                    <a:gd name="connsiteX9" fmla="*/ 742450 w 988434"/>
                    <a:gd name="connsiteY9" fmla="*/ 673387 h 879851"/>
                    <a:gd name="connsiteX10" fmla="*/ 796226 w 988434"/>
                    <a:gd name="connsiteY10" fmla="*/ 649736 h 879851"/>
                    <a:gd name="connsiteX11" fmla="*/ 822547 w 988434"/>
                    <a:gd name="connsiteY11" fmla="*/ 636827 h 879851"/>
                    <a:gd name="connsiteX12" fmla="*/ 932079 w 988434"/>
                    <a:gd name="connsiteY12" fmla="*/ 550422 h 879851"/>
                    <a:gd name="connsiteX13" fmla="*/ 957363 w 988434"/>
                    <a:gd name="connsiteY13" fmla="*/ 507832 h 879851"/>
                    <a:gd name="connsiteX14" fmla="*/ 960193 w 988434"/>
                    <a:gd name="connsiteY14" fmla="*/ 501048 h 879851"/>
                    <a:gd name="connsiteX15" fmla="*/ 984156 w 988434"/>
                    <a:gd name="connsiteY15" fmla="*/ 355563 h 879851"/>
                    <a:gd name="connsiteX16" fmla="*/ 983590 w 988434"/>
                    <a:gd name="connsiteY16" fmla="*/ 354809 h 879851"/>
                    <a:gd name="connsiteX17" fmla="*/ 903588 w 988434"/>
                    <a:gd name="connsiteY17" fmla="*/ 243717 h 879851"/>
                    <a:gd name="connsiteX18" fmla="*/ 885663 w 988434"/>
                    <a:gd name="connsiteY18" fmla="*/ 232410 h 879851"/>
                    <a:gd name="connsiteX19" fmla="*/ 851416 w 988434"/>
                    <a:gd name="connsiteY19" fmla="*/ 211398 h 879851"/>
                    <a:gd name="connsiteX20" fmla="*/ 828113 w 988434"/>
                    <a:gd name="connsiteY20" fmla="*/ 200090 h 879851"/>
                    <a:gd name="connsiteX21" fmla="*/ 573388 w 988434"/>
                    <a:gd name="connsiteY21" fmla="*/ 74770 h 879851"/>
                    <a:gd name="connsiteX22" fmla="*/ 541500 w 988434"/>
                    <a:gd name="connsiteY22" fmla="*/ 57527 h 879851"/>
                    <a:gd name="connsiteX23" fmla="*/ 450082 w 988434"/>
                    <a:gd name="connsiteY23" fmla="*/ 15408 h 879851"/>
                    <a:gd name="connsiteX24" fmla="*/ 409797 w 988434"/>
                    <a:gd name="connsiteY24" fmla="*/ 5608 h 879851"/>
                    <a:gd name="connsiteX25" fmla="*/ 349418 w 988434"/>
                    <a:gd name="connsiteY25" fmla="*/ 49 h 879851"/>
                    <a:gd name="connsiteX26" fmla="*/ 305171 w 988434"/>
                    <a:gd name="connsiteY26" fmla="*/ 7681 h 879851"/>
                    <a:gd name="connsiteX27" fmla="*/ 261585 w 988434"/>
                    <a:gd name="connsiteY27" fmla="*/ 24925 h 879851"/>
                    <a:gd name="connsiteX28" fmla="*/ 221961 w 988434"/>
                    <a:gd name="connsiteY28" fmla="*/ 53852 h 879851"/>
                    <a:gd name="connsiteX29" fmla="*/ 180827 w 988434"/>
                    <a:gd name="connsiteY29" fmla="*/ 95217 h 879851"/>
                    <a:gd name="connsiteX30" fmla="*/ 146958 w 988434"/>
                    <a:gd name="connsiteY30" fmla="*/ 141670 h 879851"/>
                    <a:gd name="connsiteX31" fmla="*/ 78748 w 988434"/>
                    <a:gd name="connsiteY31" fmla="*/ 271891 h 879851"/>
                    <a:gd name="connsiteX32" fmla="*/ 54408 w 988434"/>
                    <a:gd name="connsiteY32" fmla="*/ 339922 h 879851"/>
                    <a:gd name="connsiteX33" fmla="*/ 8651 w 988434"/>
                    <a:gd name="connsiteY33" fmla="*/ 522154 h 879851"/>
                    <a:gd name="connsiteX34" fmla="*/ 160 w 988434"/>
                    <a:gd name="connsiteY34" fmla="*/ 610350 h 879851"/>
                    <a:gd name="connsiteX35" fmla="*/ 2802 w 988434"/>
                    <a:gd name="connsiteY35" fmla="*/ 659253 h 879851"/>
                    <a:gd name="connsiteX36" fmla="*/ 32614 w 988434"/>
                    <a:gd name="connsiteY36" fmla="*/ 742925 h 879851"/>
                    <a:gd name="connsiteX37" fmla="*/ 59974 w 988434"/>
                    <a:gd name="connsiteY37" fmla="*/ 781558 h 87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88434" h="879851">
                      <a:moveTo>
                        <a:pt x="59974" y="781464"/>
                      </a:moveTo>
                      <a:cubicBezTo>
                        <a:pt x="75635" y="799649"/>
                        <a:pt x="93088" y="816139"/>
                        <a:pt x="112051" y="830744"/>
                      </a:cubicBezTo>
                      <a:cubicBezTo>
                        <a:pt x="129788" y="845726"/>
                        <a:pt x="150166" y="857504"/>
                        <a:pt x="172053" y="865419"/>
                      </a:cubicBezTo>
                      <a:cubicBezTo>
                        <a:pt x="180072" y="868905"/>
                        <a:pt x="188280" y="871638"/>
                        <a:pt x="196771" y="873711"/>
                      </a:cubicBezTo>
                      <a:cubicBezTo>
                        <a:pt x="207054" y="876349"/>
                        <a:pt x="217526" y="878328"/>
                        <a:pt x="228093" y="879647"/>
                      </a:cubicBezTo>
                      <a:cubicBezTo>
                        <a:pt x="248565" y="880495"/>
                        <a:pt x="269038" y="878705"/>
                        <a:pt x="289038" y="874370"/>
                      </a:cubicBezTo>
                      <a:cubicBezTo>
                        <a:pt x="307813" y="872015"/>
                        <a:pt x="326304" y="867680"/>
                        <a:pt x="344229" y="861556"/>
                      </a:cubicBezTo>
                      <a:cubicBezTo>
                        <a:pt x="367060" y="853075"/>
                        <a:pt x="387438" y="845726"/>
                        <a:pt x="405174" y="839507"/>
                      </a:cubicBezTo>
                      <a:cubicBezTo>
                        <a:pt x="452723" y="818589"/>
                        <a:pt x="498857" y="796540"/>
                        <a:pt x="543670" y="773455"/>
                      </a:cubicBezTo>
                      <a:lnTo>
                        <a:pt x="742450" y="673387"/>
                      </a:lnTo>
                      <a:cubicBezTo>
                        <a:pt x="759998" y="665283"/>
                        <a:pt x="777923" y="657368"/>
                        <a:pt x="796226" y="649736"/>
                      </a:cubicBezTo>
                      <a:cubicBezTo>
                        <a:pt x="804716" y="645213"/>
                        <a:pt x="813490" y="640785"/>
                        <a:pt x="822547" y="636827"/>
                      </a:cubicBezTo>
                      <a:cubicBezTo>
                        <a:pt x="864813" y="616192"/>
                        <a:pt x="902267" y="586793"/>
                        <a:pt x="932079" y="550422"/>
                      </a:cubicBezTo>
                      <a:cubicBezTo>
                        <a:pt x="941608" y="536854"/>
                        <a:pt x="950099" y="522625"/>
                        <a:pt x="957363" y="507832"/>
                      </a:cubicBezTo>
                      <a:cubicBezTo>
                        <a:pt x="958118" y="505476"/>
                        <a:pt x="959061" y="503215"/>
                        <a:pt x="960193" y="501048"/>
                      </a:cubicBezTo>
                      <a:cubicBezTo>
                        <a:pt x="986326" y="447999"/>
                        <a:pt x="994346" y="399566"/>
                        <a:pt x="984156" y="355563"/>
                      </a:cubicBezTo>
                      <a:lnTo>
                        <a:pt x="983590" y="354809"/>
                      </a:lnTo>
                      <a:cubicBezTo>
                        <a:pt x="973401" y="314198"/>
                        <a:pt x="946797" y="277167"/>
                        <a:pt x="903588" y="243717"/>
                      </a:cubicBezTo>
                      <a:cubicBezTo>
                        <a:pt x="897833" y="240231"/>
                        <a:pt x="891889" y="236085"/>
                        <a:pt x="885663" y="232410"/>
                      </a:cubicBezTo>
                      <a:cubicBezTo>
                        <a:pt x="874341" y="225908"/>
                        <a:pt x="862832" y="218841"/>
                        <a:pt x="851416" y="211398"/>
                      </a:cubicBezTo>
                      <a:cubicBezTo>
                        <a:pt x="843774" y="208100"/>
                        <a:pt x="836133" y="204331"/>
                        <a:pt x="828113" y="200090"/>
                      </a:cubicBezTo>
                      <a:cubicBezTo>
                        <a:pt x="741035" y="162589"/>
                        <a:pt x="656032" y="120752"/>
                        <a:pt x="573388" y="74770"/>
                      </a:cubicBezTo>
                      <a:cubicBezTo>
                        <a:pt x="562538" y="68834"/>
                        <a:pt x="551972" y="63086"/>
                        <a:pt x="541500" y="57527"/>
                      </a:cubicBezTo>
                      <a:cubicBezTo>
                        <a:pt x="511782" y="41791"/>
                        <a:pt x="481309" y="27751"/>
                        <a:pt x="450082" y="15408"/>
                      </a:cubicBezTo>
                      <a:cubicBezTo>
                        <a:pt x="435836" y="11262"/>
                        <a:pt x="422439" y="8058"/>
                        <a:pt x="409797" y="5608"/>
                      </a:cubicBezTo>
                      <a:cubicBezTo>
                        <a:pt x="389796" y="1462"/>
                        <a:pt x="369607" y="-328"/>
                        <a:pt x="349418" y="49"/>
                      </a:cubicBezTo>
                      <a:cubicBezTo>
                        <a:pt x="334417" y="1180"/>
                        <a:pt x="319605" y="3724"/>
                        <a:pt x="305171" y="7681"/>
                      </a:cubicBezTo>
                      <a:cubicBezTo>
                        <a:pt x="290170" y="12016"/>
                        <a:pt x="275547" y="17763"/>
                        <a:pt x="261585" y="24925"/>
                      </a:cubicBezTo>
                      <a:cubicBezTo>
                        <a:pt x="247622" y="33499"/>
                        <a:pt x="234319" y="43110"/>
                        <a:pt x="221961" y="53852"/>
                      </a:cubicBezTo>
                      <a:cubicBezTo>
                        <a:pt x="207054" y="66384"/>
                        <a:pt x="193280" y="80141"/>
                        <a:pt x="180827" y="95217"/>
                      </a:cubicBezTo>
                      <a:cubicBezTo>
                        <a:pt x="168751" y="110105"/>
                        <a:pt x="157430" y="125558"/>
                        <a:pt x="146958" y="141670"/>
                      </a:cubicBezTo>
                      <a:cubicBezTo>
                        <a:pt x="120542" y="183036"/>
                        <a:pt x="97711" y="226568"/>
                        <a:pt x="78748" y="271891"/>
                      </a:cubicBezTo>
                      <a:cubicBezTo>
                        <a:pt x="70257" y="293939"/>
                        <a:pt x="62144" y="316554"/>
                        <a:pt x="54408" y="339922"/>
                      </a:cubicBezTo>
                      <a:cubicBezTo>
                        <a:pt x="35633" y="399755"/>
                        <a:pt x="20444" y="460531"/>
                        <a:pt x="8651" y="522154"/>
                      </a:cubicBezTo>
                      <a:cubicBezTo>
                        <a:pt x="4029" y="551364"/>
                        <a:pt x="1104" y="580857"/>
                        <a:pt x="160" y="610350"/>
                      </a:cubicBezTo>
                      <a:cubicBezTo>
                        <a:pt x="-406" y="626651"/>
                        <a:pt x="538" y="643046"/>
                        <a:pt x="2802" y="659253"/>
                      </a:cubicBezTo>
                      <a:cubicBezTo>
                        <a:pt x="6010" y="689122"/>
                        <a:pt x="16199" y="717767"/>
                        <a:pt x="32614" y="742925"/>
                      </a:cubicBezTo>
                      <a:cubicBezTo>
                        <a:pt x="40634" y="756494"/>
                        <a:pt x="49785" y="769497"/>
                        <a:pt x="59974" y="781558"/>
                      </a:cubicBezTo>
                      <a:close/>
                    </a:path>
                  </a:pathLst>
                </a:custGeom>
                <a:solidFill>
                  <a:schemeClr val="bg2"/>
                </a:solidFill>
                <a:ln w="9434" cap="flat">
                  <a:noFill/>
                  <a:prstDash val="solid"/>
                  <a:miter/>
                </a:ln>
              </p:spPr>
              <p:txBody>
                <a:bodyPr rtlCol="0" anchor="ctr"/>
                <a:lstStyle/>
                <a:p>
                  <a:pPr lvl="0" algn="ctr" defTabSz="896182">
                    <a:defRPr/>
                  </a:pPr>
                  <a:r>
                    <a:rPr lang="en-US" sz="1600" b="1" noProof="0">
                      <a:solidFill>
                        <a:schemeClr val="accent5"/>
                      </a:solidFill>
                    </a:rPr>
                    <a:t>Pathogenic IgG </a:t>
                  </a:r>
                  <a:br>
                    <a:rPr lang="en-US" sz="1600" b="1" noProof="0">
                      <a:solidFill>
                        <a:schemeClr val="accent5"/>
                      </a:solidFill>
                    </a:rPr>
                  </a:br>
                  <a:r>
                    <a:rPr lang="en-US" sz="1600" b="1" noProof="0">
                      <a:solidFill>
                        <a:schemeClr val="accent5"/>
                      </a:solidFill>
                    </a:rPr>
                    <a:t>autoantibodies</a:t>
                  </a:r>
                </a:p>
                <a:p>
                  <a:pPr lvl="0" algn="ctr" defTabSz="896182">
                    <a:defRPr/>
                  </a:pPr>
                  <a:r>
                    <a:rPr lang="en-US" sz="1400" noProof="0">
                      <a:solidFill>
                        <a:schemeClr val="accent5"/>
                      </a:solidFill>
                    </a:rPr>
                    <a:t>(MSAs)</a:t>
                  </a:r>
                  <a:r>
                    <a:rPr lang="en-US" sz="1400" baseline="30000" noProof="0">
                      <a:solidFill>
                        <a:schemeClr val="accent5"/>
                      </a:solidFill>
                    </a:rPr>
                    <a:t>2–4</a:t>
                  </a:r>
                </a:p>
              </p:txBody>
            </p:sp>
          </p:grpSp>
        </p:grpSp>
        <p:cxnSp>
          <p:nvCxnSpPr>
            <p:cNvPr id="91" name="Straight Connector 90">
              <a:extLst>
                <a:ext uri="{FF2B5EF4-FFF2-40B4-BE49-F238E27FC236}">
                  <a16:creationId xmlns:a16="http://schemas.microsoft.com/office/drawing/2014/main" id="{36D73A6F-C942-1E7F-42C3-9D2EC4F8B9F8}"/>
                </a:ext>
              </a:extLst>
            </p:cNvPr>
            <p:cNvCxnSpPr>
              <a:cxnSpLocks/>
            </p:cNvCxnSpPr>
            <p:nvPr/>
          </p:nvCxnSpPr>
          <p:spPr>
            <a:xfrm>
              <a:off x="6335768" y="3622764"/>
              <a:ext cx="615875" cy="0"/>
            </a:xfrm>
            <a:prstGeom prst="line">
              <a:avLst/>
            </a:prstGeom>
            <a:noFill/>
            <a:ln w="15875">
              <a:solidFill>
                <a:schemeClr val="accent3"/>
              </a:solidFill>
              <a:tailEnd type="oval" w="lg" len="lg"/>
            </a:ln>
          </p:spPr>
        </p:cxnSp>
        <p:grpSp>
          <p:nvGrpSpPr>
            <p:cNvPr id="92" name="Graphic 34">
              <a:extLst>
                <a:ext uri="{FF2B5EF4-FFF2-40B4-BE49-F238E27FC236}">
                  <a16:creationId xmlns:a16="http://schemas.microsoft.com/office/drawing/2014/main" id="{CF772E47-A8A1-1A1D-AC1F-D6BF9F69DFB6}"/>
                </a:ext>
              </a:extLst>
            </p:cNvPr>
            <p:cNvGrpSpPr/>
            <p:nvPr/>
          </p:nvGrpSpPr>
          <p:grpSpPr>
            <a:xfrm>
              <a:off x="5371930" y="2800577"/>
              <a:ext cx="1631428" cy="1631432"/>
              <a:chOff x="3657602" y="990602"/>
              <a:chExt cx="4876795" cy="4876806"/>
            </a:xfrm>
            <a:effectLst/>
          </p:grpSpPr>
          <p:sp>
            <p:nvSpPr>
              <p:cNvPr id="93" name="Freeform 92">
                <a:extLst>
                  <a:ext uri="{FF2B5EF4-FFF2-40B4-BE49-F238E27FC236}">
                    <a16:creationId xmlns:a16="http://schemas.microsoft.com/office/drawing/2014/main" id="{6222E7E5-BB93-1700-06A9-759A989995FB}"/>
                  </a:ext>
                </a:extLst>
              </p:cNvPr>
              <p:cNvSpPr/>
              <p:nvPr/>
            </p:nvSpPr>
            <p:spPr>
              <a:xfrm>
                <a:off x="7194196" y="1807949"/>
                <a:ext cx="505839" cy="505834"/>
              </a:xfrm>
              <a:custGeom>
                <a:avLst/>
                <a:gdLst>
                  <a:gd name="connsiteX0" fmla="*/ 434404 w 505839"/>
                  <a:gd name="connsiteY0" fmla="*/ 505835 h 505834"/>
                  <a:gd name="connsiteX1" fmla="*/ 383884 w 505839"/>
                  <a:gd name="connsiteY1" fmla="*/ 484918 h 505834"/>
                  <a:gd name="connsiteX2" fmla="*/ 20924 w 505839"/>
                  <a:gd name="connsiteY2" fmla="*/ 121949 h 505834"/>
                  <a:gd name="connsiteX3" fmla="*/ 20924 w 505839"/>
                  <a:gd name="connsiteY3" fmla="*/ 20917 h 505834"/>
                  <a:gd name="connsiteX4" fmla="*/ 121956 w 505839"/>
                  <a:gd name="connsiteY4" fmla="*/ 20917 h 505834"/>
                  <a:gd name="connsiteX5" fmla="*/ 484915 w 505839"/>
                  <a:gd name="connsiteY5" fmla="*/ 383886 h 505834"/>
                  <a:gd name="connsiteX6" fmla="*/ 484915 w 505839"/>
                  <a:gd name="connsiteY6" fmla="*/ 484918 h 505834"/>
                  <a:gd name="connsiteX7" fmla="*/ 434404 w 505839"/>
                  <a:gd name="connsiteY7" fmla="*/ 505835 h 50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5839" h="505834">
                    <a:moveTo>
                      <a:pt x="434404" y="505835"/>
                    </a:moveTo>
                    <a:cubicBezTo>
                      <a:pt x="416116" y="505835"/>
                      <a:pt x="397838" y="498862"/>
                      <a:pt x="383884" y="484918"/>
                    </a:cubicBezTo>
                    <a:lnTo>
                      <a:pt x="20924" y="121949"/>
                    </a:lnTo>
                    <a:cubicBezTo>
                      <a:pt x="-6975" y="94040"/>
                      <a:pt x="-6975" y="48816"/>
                      <a:pt x="20924" y="20917"/>
                    </a:cubicBezTo>
                    <a:cubicBezTo>
                      <a:pt x="48842" y="-6972"/>
                      <a:pt x="94067" y="-6972"/>
                      <a:pt x="121956" y="20917"/>
                    </a:cubicBezTo>
                    <a:lnTo>
                      <a:pt x="484915" y="383886"/>
                    </a:lnTo>
                    <a:cubicBezTo>
                      <a:pt x="512814" y="411794"/>
                      <a:pt x="512814" y="457019"/>
                      <a:pt x="484915" y="484918"/>
                    </a:cubicBezTo>
                    <a:cubicBezTo>
                      <a:pt x="470971" y="498862"/>
                      <a:pt x="452683" y="505835"/>
                      <a:pt x="434404" y="505835"/>
                    </a:cubicBezTo>
                    <a:close/>
                  </a:path>
                </a:pathLst>
              </a:custGeom>
              <a:solidFill>
                <a:schemeClr val="accent3"/>
              </a:solidFill>
              <a:ln w="9525" cap="flat">
                <a:noFill/>
                <a:prstDash val="solid"/>
                <a:miter/>
              </a:ln>
            </p:spPr>
            <p:txBody>
              <a:bodyPr rtlCol="0" anchor="ctr"/>
              <a:lstStyle/>
              <a:p>
                <a:endParaRPr lang="en-US" noProof="0"/>
              </a:p>
            </p:txBody>
          </p:sp>
          <p:sp>
            <p:nvSpPr>
              <p:cNvPr id="94" name="Freeform 93">
                <a:extLst>
                  <a:ext uri="{FF2B5EF4-FFF2-40B4-BE49-F238E27FC236}">
                    <a16:creationId xmlns:a16="http://schemas.microsoft.com/office/drawing/2014/main" id="{566F7D99-916C-BE87-403C-216263A7CB53}"/>
                  </a:ext>
                </a:extLst>
              </p:cNvPr>
              <p:cNvSpPr/>
              <p:nvPr/>
            </p:nvSpPr>
            <p:spPr>
              <a:xfrm>
                <a:off x="5777350" y="2713072"/>
                <a:ext cx="637289" cy="142875"/>
              </a:xfrm>
              <a:custGeom>
                <a:avLst/>
                <a:gdLst>
                  <a:gd name="connsiteX0" fmla="*/ 565852 w 637289"/>
                  <a:gd name="connsiteY0" fmla="*/ 142875 h 142875"/>
                  <a:gd name="connsiteX1" fmla="*/ 71438 w 637289"/>
                  <a:gd name="connsiteY1" fmla="*/ 142875 h 142875"/>
                  <a:gd name="connsiteX2" fmla="*/ 0 w 637289"/>
                  <a:gd name="connsiteY2" fmla="*/ 71438 h 142875"/>
                  <a:gd name="connsiteX3" fmla="*/ 71438 w 637289"/>
                  <a:gd name="connsiteY3" fmla="*/ 0 h 142875"/>
                  <a:gd name="connsiteX4" fmla="*/ 565852 w 637289"/>
                  <a:gd name="connsiteY4" fmla="*/ 0 h 142875"/>
                  <a:gd name="connsiteX5" fmla="*/ 637289 w 637289"/>
                  <a:gd name="connsiteY5" fmla="*/ 71438 h 142875"/>
                  <a:gd name="connsiteX6" fmla="*/ 565852 w 637289"/>
                  <a:gd name="connsiteY6" fmla="*/ 1428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89" h="142875">
                    <a:moveTo>
                      <a:pt x="565852" y="142875"/>
                    </a:moveTo>
                    <a:lnTo>
                      <a:pt x="71438" y="142875"/>
                    </a:lnTo>
                    <a:cubicBezTo>
                      <a:pt x="31985" y="142875"/>
                      <a:pt x="0" y="110899"/>
                      <a:pt x="0" y="71438"/>
                    </a:cubicBezTo>
                    <a:cubicBezTo>
                      <a:pt x="0" y="31975"/>
                      <a:pt x="31985" y="0"/>
                      <a:pt x="71438" y="0"/>
                    </a:cubicBezTo>
                    <a:lnTo>
                      <a:pt x="565852" y="0"/>
                    </a:lnTo>
                    <a:cubicBezTo>
                      <a:pt x="605314" y="0"/>
                      <a:pt x="637289" y="31975"/>
                      <a:pt x="637289" y="71438"/>
                    </a:cubicBezTo>
                    <a:cubicBezTo>
                      <a:pt x="637289" y="110899"/>
                      <a:pt x="605314" y="142875"/>
                      <a:pt x="565852" y="142875"/>
                    </a:cubicBezTo>
                    <a:close/>
                  </a:path>
                </a:pathLst>
              </a:custGeom>
              <a:solidFill>
                <a:schemeClr val="accent3"/>
              </a:solidFill>
              <a:ln w="9525" cap="flat">
                <a:noFill/>
                <a:prstDash val="solid"/>
                <a:miter/>
              </a:ln>
            </p:spPr>
            <p:txBody>
              <a:bodyPr rtlCol="0" anchor="ctr"/>
              <a:lstStyle/>
              <a:p>
                <a:endParaRPr lang="en-US" noProof="0"/>
              </a:p>
            </p:txBody>
          </p:sp>
          <p:sp>
            <p:nvSpPr>
              <p:cNvPr id="95" name="Freeform 94">
                <a:extLst>
                  <a:ext uri="{FF2B5EF4-FFF2-40B4-BE49-F238E27FC236}">
                    <a16:creationId xmlns:a16="http://schemas.microsoft.com/office/drawing/2014/main" id="{4FF9A03C-32E8-0E33-FB93-994D507D30CF}"/>
                  </a:ext>
                </a:extLst>
              </p:cNvPr>
              <p:cNvSpPr/>
              <p:nvPr/>
            </p:nvSpPr>
            <p:spPr>
              <a:xfrm>
                <a:off x="5777350" y="3189389"/>
                <a:ext cx="637289" cy="142875"/>
              </a:xfrm>
              <a:custGeom>
                <a:avLst/>
                <a:gdLst>
                  <a:gd name="connsiteX0" fmla="*/ 565852 w 637289"/>
                  <a:gd name="connsiteY0" fmla="*/ 142875 h 142875"/>
                  <a:gd name="connsiteX1" fmla="*/ 71438 w 637289"/>
                  <a:gd name="connsiteY1" fmla="*/ 142875 h 142875"/>
                  <a:gd name="connsiteX2" fmla="*/ 0 w 637289"/>
                  <a:gd name="connsiteY2" fmla="*/ 71438 h 142875"/>
                  <a:gd name="connsiteX3" fmla="*/ 71438 w 637289"/>
                  <a:gd name="connsiteY3" fmla="*/ 0 h 142875"/>
                  <a:gd name="connsiteX4" fmla="*/ 565852 w 637289"/>
                  <a:gd name="connsiteY4" fmla="*/ 0 h 142875"/>
                  <a:gd name="connsiteX5" fmla="*/ 637289 w 637289"/>
                  <a:gd name="connsiteY5" fmla="*/ 71438 h 142875"/>
                  <a:gd name="connsiteX6" fmla="*/ 565852 w 637289"/>
                  <a:gd name="connsiteY6" fmla="*/ 1428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89" h="142875">
                    <a:moveTo>
                      <a:pt x="565852" y="142875"/>
                    </a:moveTo>
                    <a:lnTo>
                      <a:pt x="71438" y="142875"/>
                    </a:lnTo>
                    <a:cubicBezTo>
                      <a:pt x="31985" y="142875"/>
                      <a:pt x="0" y="110900"/>
                      <a:pt x="0" y="71438"/>
                    </a:cubicBezTo>
                    <a:cubicBezTo>
                      <a:pt x="0" y="31976"/>
                      <a:pt x="31985" y="0"/>
                      <a:pt x="71438" y="0"/>
                    </a:cubicBezTo>
                    <a:lnTo>
                      <a:pt x="565852" y="0"/>
                    </a:lnTo>
                    <a:cubicBezTo>
                      <a:pt x="605314" y="0"/>
                      <a:pt x="637289" y="31976"/>
                      <a:pt x="637289" y="71438"/>
                    </a:cubicBezTo>
                    <a:cubicBezTo>
                      <a:pt x="637289" y="110900"/>
                      <a:pt x="605314" y="142875"/>
                      <a:pt x="565852" y="142875"/>
                    </a:cubicBezTo>
                    <a:close/>
                  </a:path>
                </a:pathLst>
              </a:custGeom>
              <a:solidFill>
                <a:schemeClr val="accent3"/>
              </a:solidFill>
              <a:ln w="9525" cap="flat">
                <a:noFill/>
                <a:prstDash val="solid"/>
                <a:miter/>
              </a:ln>
            </p:spPr>
            <p:txBody>
              <a:bodyPr rtlCol="0" anchor="ctr"/>
              <a:lstStyle/>
              <a:p>
                <a:endParaRPr lang="en-US" noProof="0"/>
              </a:p>
            </p:txBody>
          </p:sp>
          <p:sp>
            <p:nvSpPr>
              <p:cNvPr id="96" name="Freeform 95">
                <a:extLst>
                  <a:ext uri="{FF2B5EF4-FFF2-40B4-BE49-F238E27FC236}">
                    <a16:creationId xmlns:a16="http://schemas.microsoft.com/office/drawing/2014/main" id="{F45A1CA2-18CF-367F-1B29-DBE101D014DE}"/>
                  </a:ext>
                </a:extLst>
              </p:cNvPr>
              <p:cNvSpPr/>
              <p:nvPr/>
            </p:nvSpPr>
            <p:spPr>
              <a:xfrm>
                <a:off x="4526872" y="1859880"/>
                <a:ext cx="418990" cy="418985"/>
              </a:xfrm>
              <a:custGeom>
                <a:avLst/>
                <a:gdLst>
                  <a:gd name="connsiteX0" fmla="*/ 71435 w 418990"/>
                  <a:gd name="connsiteY0" fmla="*/ 418986 h 418985"/>
                  <a:gd name="connsiteX1" fmla="*/ 20924 w 418990"/>
                  <a:gd name="connsiteY1" fmla="*/ 398069 h 418985"/>
                  <a:gd name="connsiteX2" fmla="*/ 20924 w 418990"/>
                  <a:gd name="connsiteY2" fmla="*/ 297037 h 418985"/>
                  <a:gd name="connsiteX3" fmla="*/ 297044 w 418990"/>
                  <a:gd name="connsiteY3" fmla="*/ 20917 h 418985"/>
                  <a:gd name="connsiteX4" fmla="*/ 398066 w 418990"/>
                  <a:gd name="connsiteY4" fmla="*/ 20917 h 418985"/>
                  <a:gd name="connsiteX5" fmla="*/ 398066 w 418990"/>
                  <a:gd name="connsiteY5" fmla="*/ 121949 h 418985"/>
                  <a:gd name="connsiteX6" fmla="*/ 121946 w 418990"/>
                  <a:gd name="connsiteY6" fmla="*/ 398069 h 418985"/>
                  <a:gd name="connsiteX7" fmla="*/ 71435 w 418990"/>
                  <a:gd name="connsiteY7" fmla="*/ 418986 h 418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990" h="418985">
                    <a:moveTo>
                      <a:pt x="71435" y="418986"/>
                    </a:moveTo>
                    <a:cubicBezTo>
                      <a:pt x="53157" y="418986"/>
                      <a:pt x="34869" y="412013"/>
                      <a:pt x="20924" y="398069"/>
                    </a:cubicBezTo>
                    <a:cubicBezTo>
                      <a:pt x="-6975" y="370161"/>
                      <a:pt x="-6975" y="324936"/>
                      <a:pt x="20924" y="297037"/>
                    </a:cubicBezTo>
                    <a:lnTo>
                      <a:pt x="297044" y="20917"/>
                    </a:lnTo>
                    <a:cubicBezTo>
                      <a:pt x="324943" y="-6972"/>
                      <a:pt x="370177" y="-6972"/>
                      <a:pt x="398066" y="20917"/>
                    </a:cubicBezTo>
                    <a:cubicBezTo>
                      <a:pt x="425965" y="48825"/>
                      <a:pt x="425965" y="94050"/>
                      <a:pt x="398066" y="121949"/>
                    </a:cubicBezTo>
                    <a:lnTo>
                      <a:pt x="121946" y="398069"/>
                    </a:lnTo>
                    <a:cubicBezTo>
                      <a:pt x="108002" y="412013"/>
                      <a:pt x="89714" y="418986"/>
                      <a:pt x="71435" y="418986"/>
                    </a:cubicBezTo>
                    <a:close/>
                  </a:path>
                </a:pathLst>
              </a:custGeom>
              <a:solidFill>
                <a:schemeClr val="accent3"/>
              </a:solidFill>
              <a:ln w="9525" cap="flat">
                <a:noFill/>
                <a:prstDash val="solid"/>
                <a:miter/>
              </a:ln>
            </p:spPr>
            <p:txBody>
              <a:bodyPr rtlCol="0" anchor="ctr"/>
              <a:lstStyle/>
              <a:p>
                <a:endParaRPr lang="en-US" noProof="0"/>
              </a:p>
            </p:txBody>
          </p:sp>
          <p:sp>
            <p:nvSpPr>
              <p:cNvPr id="97" name="Freeform 96">
                <a:extLst>
                  <a:ext uri="{FF2B5EF4-FFF2-40B4-BE49-F238E27FC236}">
                    <a16:creationId xmlns:a16="http://schemas.microsoft.com/office/drawing/2014/main" id="{06BE78C8-183F-5CE2-C667-0723960ECF95}"/>
                  </a:ext>
                </a:extLst>
              </p:cNvPr>
              <p:cNvSpPr/>
              <p:nvPr/>
            </p:nvSpPr>
            <p:spPr>
              <a:xfrm>
                <a:off x="4685185" y="1453219"/>
                <a:ext cx="1235678" cy="4414189"/>
              </a:xfrm>
              <a:custGeom>
                <a:avLst/>
                <a:gdLst>
                  <a:gd name="connsiteX0" fmla="*/ 1157287 w 1235678"/>
                  <a:gd name="connsiteY0" fmla="*/ 778802 h 4414189"/>
                  <a:gd name="connsiteX1" fmla="*/ 378485 w 1235678"/>
                  <a:gd name="connsiteY1" fmla="*/ 0 h 4414189"/>
                  <a:gd name="connsiteX2" fmla="*/ 0 w 1235678"/>
                  <a:gd name="connsiteY2" fmla="*/ 378485 h 4414189"/>
                  <a:gd name="connsiteX3" fmla="*/ 700411 w 1235678"/>
                  <a:gd name="connsiteY3" fmla="*/ 1078897 h 4414189"/>
                  <a:gd name="connsiteX4" fmla="*/ 700411 w 1235678"/>
                  <a:gd name="connsiteY4" fmla="*/ 4146557 h 4414189"/>
                  <a:gd name="connsiteX5" fmla="*/ 968045 w 1235678"/>
                  <a:gd name="connsiteY5" fmla="*/ 4414190 h 4414189"/>
                  <a:gd name="connsiteX6" fmla="*/ 1235678 w 1235678"/>
                  <a:gd name="connsiteY6" fmla="*/ 4146557 h 4414189"/>
                  <a:gd name="connsiteX7" fmla="*/ 1235678 w 1235678"/>
                  <a:gd name="connsiteY7" fmla="*/ 968035 h 4414189"/>
                  <a:gd name="connsiteX8" fmla="*/ 1157287 w 1235678"/>
                  <a:gd name="connsiteY8" fmla="*/ 778802 h 441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5678" h="4414189">
                    <a:moveTo>
                      <a:pt x="1157287" y="778802"/>
                    </a:moveTo>
                    <a:lnTo>
                      <a:pt x="378485" y="0"/>
                    </a:lnTo>
                    <a:lnTo>
                      <a:pt x="0" y="378485"/>
                    </a:lnTo>
                    <a:lnTo>
                      <a:pt x="700411" y="1078897"/>
                    </a:lnTo>
                    <a:lnTo>
                      <a:pt x="700411" y="4146557"/>
                    </a:lnTo>
                    <a:cubicBezTo>
                      <a:pt x="700411" y="4294365"/>
                      <a:pt x="820236" y="4414190"/>
                      <a:pt x="968045" y="4414190"/>
                    </a:cubicBezTo>
                    <a:cubicBezTo>
                      <a:pt x="1115854" y="4414190"/>
                      <a:pt x="1235678" y="4294365"/>
                      <a:pt x="1235678" y="4146557"/>
                    </a:cubicBezTo>
                    <a:lnTo>
                      <a:pt x="1235678" y="968035"/>
                    </a:lnTo>
                    <a:cubicBezTo>
                      <a:pt x="1235678" y="897064"/>
                      <a:pt x="1207475" y="828989"/>
                      <a:pt x="1157287" y="778802"/>
                    </a:cubicBezTo>
                    <a:close/>
                  </a:path>
                </a:pathLst>
              </a:custGeom>
              <a:solidFill>
                <a:schemeClr val="accent3">
                  <a:lumMod val="20000"/>
                  <a:lumOff val="80000"/>
                </a:schemeClr>
              </a:solidFill>
              <a:ln w="9525" cap="flat">
                <a:noFill/>
                <a:prstDash val="solid"/>
                <a:miter/>
              </a:ln>
            </p:spPr>
            <p:txBody>
              <a:bodyPr rtlCol="0" anchor="ctr"/>
              <a:lstStyle/>
              <a:p>
                <a:endParaRPr lang="en-US" noProof="0"/>
              </a:p>
            </p:txBody>
          </p:sp>
          <p:sp>
            <p:nvSpPr>
              <p:cNvPr id="98" name="Freeform 97">
                <a:extLst>
                  <a:ext uri="{FF2B5EF4-FFF2-40B4-BE49-F238E27FC236}">
                    <a16:creationId xmlns:a16="http://schemas.microsoft.com/office/drawing/2014/main" id="{A2DF4069-F9B3-6D92-8F63-5486F58CF493}"/>
                  </a:ext>
                </a:extLst>
              </p:cNvPr>
              <p:cNvSpPr/>
              <p:nvPr/>
            </p:nvSpPr>
            <p:spPr>
              <a:xfrm>
                <a:off x="5385596" y="4350048"/>
                <a:ext cx="535266" cy="1517351"/>
              </a:xfrm>
              <a:custGeom>
                <a:avLst/>
                <a:gdLst>
                  <a:gd name="connsiteX0" fmla="*/ 0 w 535266"/>
                  <a:gd name="connsiteY0" fmla="*/ 215255 h 1517351"/>
                  <a:gd name="connsiteX1" fmla="*/ 0 w 535266"/>
                  <a:gd name="connsiteY1" fmla="*/ 1249718 h 1517351"/>
                  <a:gd name="connsiteX2" fmla="*/ 267633 w 535266"/>
                  <a:gd name="connsiteY2" fmla="*/ 1517352 h 1517351"/>
                  <a:gd name="connsiteX3" fmla="*/ 535267 w 535266"/>
                  <a:gd name="connsiteY3" fmla="*/ 1249718 h 1517351"/>
                  <a:gd name="connsiteX4" fmla="*/ 535267 w 535266"/>
                  <a:gd name="connsiteY4" fmla="*/ 0 h 1517351"/>
                  <a:gd name="connsiteX5" fmla="*/ 0 w 535266"/>
                  <a:gd name="connsiteY5" fmla="*/ 215255 h 151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266" h="1517351">
                    <a:moveTo>
                      <a:pt x="0" y="215255"/>
                    </a:moveTo>
                    <a:lnTo>
                      <a:pt x="0" y="1249718"/>
                    </a:lnTo>
                    <a:cubicBezTo>
                      <a:pt x="0" y="1397527"/>
                      <a:pt x="119824" y="1517352"/>
                      <a:pt x="267633" y="1517352"/>
                    </a:cubicBezTo>
                    <a:cubicBezTo>
                      <a:pt x="415442" y="1517352"/>
                      <a:pt x="535267" y="1397527"/>
                      <a:pt x="535267" y="1249718"/>
                    </a:cubicBezTo>
                    <a:lnTo>
                      <a:pt x="535267" y="0"/>
                    </a:lnTo>
                    <a:cubicBezTo>
                      <a:pt x="355949" y="94155"/>
                      <a:pt x="175831" y="166306"/>
                      <a:pt x="0" y="215255"/>
                    </a:cubicBezTo>
                    <a:close/>
                  </a:path>
                </a:pathLst>
              </a:custGeom>
              <a:solidFill>
                <a:schemeClr val="accent3">
                  <a:lumMod val="60000"/>
                  <a:lumOff val="40000"/>
                </a:schemeClr>
              </a:solidFill>
              <a:ln w="9525" cap="flat">
                <a:noFill/>
                <a:prstDash val="solid"/>
                <a:miter/>
              </a:ln>
            </p:spPr>
            <p:txBody>
              <a:bodyPr rtlCol="0" anchor="ctr"/>
              <a:lstStyle/>
              <a:p>
                <a:endParaRPr lang="en-US" noProof="0"/>
              </a:p>
            </p:txBody>
          </p:sp>
          <p:sp>
            <p:nvSpPr>
              <p:cNvPr id="99" name="Freeform 98">
                <a:extLst>
                  <a:ext uri="{FF2B5EF4-FFF2-40B4-BE49-F238E27FC236}">
                    <a16:creationId xmlns:a16="http://schemas.microsoft.com/office/drawing/2014/main" id="{CD2BE083-F247-DF44-AB59-3EE732E01F9E}"/>
                  </a:ext>
                </a:extLst>
              </p:cNvPr>
              <p:cNvSpPr/>
              <p:nvPr/>
            </p:nvSpPr>
            <p:spPr>
              <a:xfrm>
                <a:off x="4222568" y="990602"/>
                <a:ext cx="841102" cy="841102"/>
              </a:xfrm>
              <a:custGeom>
                <a:avLst/>
                <a:gdLst>
                  <a:gd name="connsiteX0" fmla="*/ 456874 w 841102"/>
                  <a:gd name="connsiteY0" fmla="*/ 78388 h 841102"/>
                  <a:gd name="connsiteX1" fmla="*/ 78388 w 841102"/>
                  <a:gd name="connsiteY1" fmla="*/ 78388 h 841102"/>
                  <a:gd name="connsiteX2" fmla="*/ 78388 w 841102"/>
                  <a:gd name="connsiteY2" fmla="*/ 456874 h 841102"/>
                  <a:gd name="connsiteX3" fmla="*/ 462617 w 841102"/>
                  <a:gd name="connsiteY3" fmla="*/ 841103 h 841102"/>
                  <a:gd name="connsiteX4" fmla="*/ 841103 w 841102"/>
                  <a:gd name="connsiteY4" fmla="*/ 462617 h 841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102" h="841102">
                    <a:moveTo>
                      <a:pt x="456874" y="78388"/>
                    </a:moveTo>
                    <a:cubicBezTo>
                      <a:pt x="352356" y="-26129"/>
                      <a:pt x="182906" y="-26129"/>
                      <a:pt x="78388" y="78388"/>
                    </a:cubicBezTo>
                    <a:cubicBezTo>
                      <a:pt x="-26129" y="182906"/>
                      <a:pt x="-26129" y="352356"/>
                      <a:pt x="78388" y="456874"/>
                    </a:cubicBezTo>
                    <a:lnTo>
                      <a:pt x="462617" y="841103"/>
                    </a:lnTo>
                    <a:lnTo>
                      <a:pt x="841103" y="462617"/>
                    </a:lnTo>
                    <a:close/>
                  </a:path>
                </a:pathLst>
              </a:custGeom>
              <a:solidFill>
                <a:schemeClr val="tx2">
                  <a:lumMod val="20000"/>
                  <a:lumOff val="80000"/>
                </a:schemeClr>
              </a:solidFill>
              <a:ln w="9525" cap="flat">
                <a:noFill/>
                <a:prstDash val="solid"/>
                <a:miter/>
              </a:ln>
            </p:spPr>
            <p:txBody>
              <a:bodyPr rtlCol="0" anchor="ctr"/>
              <a:lstStyle/>
              <a:p>
                <a:endParaRPr lang="en-US" noProof="0"/>
              </a:p>
            </p:txBody>
          </p:sp>
          <p:sp>
            <p:nvSpPr>
              <p:cNvPr id="100" name="Freeform 99">
                <a:extLst>
                  <a:ext uri="{FF2B5EF4-FFF2-40B4-BE49-F238E27FC236}">
                    <a16:creationId xmlns:a16="http://schemas.microsoft.com/office/drawing/2014/main" id="{3DDF38DD-4AC9-EB55-11E4-8F23364E5EA3}"/>
                  </a:ext>
                </a:extLst>
              </p:cNvPr>
              <p:cNvSpPr/>
              <p:nvPr/>
            </p:nvSpPr>
            <p:spPr>
              <a:xfrm>
                <a:off x="3657602" y="1555577"/>
                <a:ext cx="841102" cy="841102"/>
              </a:xfrm>
              <a:custGeom>
                <a:avLst/>
                <a:gdLst>
                  <a:gd name="connsiteX0" fmla="*/ 78388 w 841102"/>
                  <a:gd name="connsiteY0" fmla="*/ 78388 h 841102"/>
                  <a:gd name="connsiteX1" fmla="*/ 78388 w 841102"/>
                  <a:gd name="connsiteY1" fmla="*/ 456874 h 841102"/>
                  <a:gd name="connsiteX2" fmla="*/ 462617 w 841102"/>
                  <a:gd name="connsiteY2" fmla="*/ 841103 h 841102"/>
                  <a:gd name="connsiteX3" fmla="*/ 841103 w 841102"/>
                  <a:gd name="connsiteY3" fmla="*/ 462617 h 841102"/>
                  <a:gd name="connsiteX4" fmla="*/ 456864 w 841102"/>
                  <a:gd name="connsiteY4" fmla="*/ 78388 h 841102"/>
                  <a:gd name="connsiteX5" fmla="*/ 78388 w 841102"/>
                  <a:gd name="connsiteY5" fmla="*/ 78388 h 84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102" h="841102">
                    <a:moveTo>
                      <a:pt x="78388" y="78388"/>
                    </a:moveTo>
                    <a:cubicBezTo>
                      <a:pt x="-26129" y="182906"/>
                      <a:pt x="-26129" y="352356"/>
                      <a:pt x="78388" y="456874"/>
                    </a:cubicBezTo>
                    <a:lnTo>
                      <a:pt x="462617" y="841103"/>
                    </a:lnTo>
                    <a:lnTo>
                      <a:pt x="841103" y="462617"/>
                    </a:lnTo>
                    <a:lnTo>
                      <a:pt x="456864" y="78388"/>
                    </a:lnTo>
                    <a:cubicBezTo>
                      <a:pt x="352356" y="-26129"/>
                      <a:pt x="182897" y="-26129"/>
                      <a:pt x="78388" y="78388"/>
                    </a:cubicBezTo>
                    <a:close/>
                  </a:path>
                </a:pathLst>
              </a:custGeom>
              <a:solidFill>
                <a:schemeClr val="accent1"/>
              </a:solidFill>
              <a:ln w="9525" cap="flat">
                <a:noFill/>
                <a:prstDash val="solid"/>
                <a:miter/>
              </a:ln>
            </p:spPr>
            <p:txBody>
              <a:bodyPr rtlCol="0" anchor="ctr"/>
              <a:lstStyle/>
              <a:p>
                <a:endParaRPr lang="en-US" noProof="0"/>
              </a:p>
            </p:txBody>
          </p:sp>
          <p:sp>
            <p:nvSpPr>
              <p:cNvPr id="101" name="Freeform 100">
                <a:extLst>
                  <a:ext uri="{FF2B5EF4-FFF2-40B4-BE49-F238E27FC236}">
                    <a16:creationId xmlns:a16="http://schemas.microsoft.com/office/drawing/2014/main" id="{2C96742F-1A0B-39D8-6D30-83EF1741F43F}"/>
                  </a:ext>
                </a:extLst>
              </p:cNvPr>
              <p:cNvSpPr/>
              <p:nvPr/>
            </p:nvSpPr>
            <p:spPr>
              <a:xfrm>
                <a:off x="4120219" y="2018185"/>
                <a:ext cx="841102" cy="841102"/>
              </a:xfrm>
              <a:custGeom>
                <a:avLst/>
                <a:gdLst>
                  <a:gd name="connsiteX0" fmla="*/ 384229 w 841102"/>
                  <a:gd name="connsiteY0" fmla="*/ 762714 h 841102"/>
                  <a:gd name="connsiteX1" fmla="*/ 762714 w 841102"/>
                  <a:gd name="connsiteY1" fmla="*/ 762714 h 841102"/>
                  <a:gd name="connsiteX2" fmla="*/ 762714 w 841102"/>
                  <a:gd name="connsiteY2" fmla="*/ 384229 h 841102"/>
                  <a:gd name="connsiteX3" fmla="*/ 378485 w 841102"/>
                  <a:gd name="connsiteY3" fmla="*/ 0 h 841102"/>
                  <a:gd name="connsiteX4" fmla="*/ 0 w 841102"/>
                  <a:gd name="connsiteY4" fmla="*/ 378485 h 841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102" h="841102">
                    <a:moveTo>
                      <a:pt x="384229" y="762714"/>
                    </a:moveTo>
                    <a:cubicBezTo>
                      <a:pt x="488747" y="867232"/>
                      <a:pt x="658197" y="867232"/>
                      <a:pt x="762714" y="762714"/>
                    </a:cubicBezTo>
                    <a:cubicBezTo>
                      <a:pt x="867232" y="658197"/>
                      <a:pt x="867232" y="488747"/>
                      <a:pt x="762714" y="384229"/>
                    </a:cubicBezTo>
                    <a:lnTo>
                      <a:pt x="378485" y="0"/>
                    </a:lnTo>
                    <a:lnTo>
                      <a:pt x="0" y="378485"/>
                    </a:lnTo>
                    <a:close/>
                  </a:path>
                </a:pathLst>
              </a:custGeom>
              <a:solidFill>
                <a:schemeClr val="accent5"/>
              </a:solidFill>
              <a:ln w="9525" cap="flat">
                <a:noFill/>
                <a:prstDash val="solid"/>
                <a:miter/>
              </a:ln>
            </p:spPr>
            <p:txBody>
              <a:bodyPr rtlCol="0" anchor="ctr"/>
              <a:lstStyle/>
              <a:p>
                <a:endParaRPr lang="en-US" noProof="0"/>
              </a:p>
            </p:txBody>
          </p:sp>
          <p:sp>
            <p:nvSpPr>
              <p:cNvPr id="102" name="Freeform 101">
                <a:extLst>
                  <a:ext uri="{FF2B5EF4-FFF2-40B4-BE49-F238E27FC236}">
                    <a16:creationId xmlns:a16="http://schemas.microsoft.com/office/drawing/2014/main" id="{CFB94B47-A48F-5163-3077-F5A69627F6BA}"/>
                  </a:ext>
                </a:extLst>
              </p:cNvPr>
              <p:cNvSpPr/>
              <p:nvPr/>
            </p:nvSpPr>
            <p:spPr>
              <a:xfrm>
                <a:off x="6271136" y="1453219"/>
                <a:ext cx="1235678" cy="4414189"/>
              </a:xfrm>
              <a:custGeom>
                <a:avLst/>
                <a:gdLst>
                  <a:gd name="connsiteX0" fmla="*/ 78391 w 1235678"/>
                  <a:gd name="connsiteY0" fmla="*/ 778802 h 4414189"/>
                  <a:gd name="connsiteX1" fmla="*/ 857193 w 1235678"/>
                  <a:gd name="connsiteY1" fmla="*/ 0 h 4414189"/>
                  <a:gd name="connsiteX2" fmla="*/ 1235678 w 1235678"/>
                  <a:gd name="connsiteY2" fmla="*/ 378485 h 4414189"/>
                  <a:gd name="connsiteX3" fmla="*/ 535267 w 1235678"/>
                  <a:gd name="connsiteY3" fmla="*/ 1078897 h 4414189"/>
                  <a:gd name="connsiteX4" fmla="*/ 535267 w 1235678"/>
                  <a:gd name="connsiteY4" fmla="*/ 4146557 h 4414189"/>
                  <a:gd name="connsiteX5" fmla="*/ 267633 w 1235678"/>
                  <a:gd name="connsiteY5" fmla="*/ 4414190 h 4414189"/>
                  <a:gd name="connsiteX6" fmla="*/ 0 w 1235678"/>
                  <a:gd name="connsiteY6" fmla="*/ 4146557 h 4414189"/>
                  <a:gd name="connsiteX7" fmla="*/ 0 w 1235678"/>
                  <a:gd name="connsiteY7" fmla="*/ 968035 h 4414189"/>
                  <a:gd name="connsiteX8" fmla="*/ 78391 w 1235678"/>
                  <a:gd name="connsiteY8" fmla="*/ 778802 h 441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5678" h="4414189">
                    <a:moveTo>
                      <a:pt x="78391" y="778802"/>
                    </a:moveTo>
                    <a:lnTo>
                      <a:pt x="857193" y="0"/>
                    </a:lnTo>
                    <a:lnTo>
                      <a:pt x="1235678" y="378485"/>
                    </a:lnTo>
                    <a:lnTo>
                      <a:pt x="535267" y="1078897"/>
                    </a:lnTo>
                    <a:lnTo>
                      <a:pt x="535267" y="4146557"/>
                    </a:lnTo>
                    <a:cubicBezTo>
                      <a:pt x="535267" y="4294365"/>
                      <a:pt x="415442" y="4414190"/>
                      <a:pt x="267633" y="4414190"/>
                    </a:cubicBezTo>
                    <a:cubicBezTo>
                      <a:pt x="119825" y="4414190"/>
                      <a:pt x="0" y="4294365"/>
                      <a:pt x="0" y="4146557"/>
                    </a:cubicBezTo>
                    <a:lnTo>
                      <a:pt x="0" y="968035"/>
                    </a:lnTo>
                    <a:cubicBezTo>
                      <a:pt x="10" y="897064"/>
                      <a:pt x="28204" y="828989"/>
                      <a:pt x="78391" y="778802"/>
                    </a:cubicBezTo>
                    <a:close/>
                  </a:path>
                </a:pathLst>
              </a:custGeom>
              <a:solidFill>
                <a:schemeClr val="accent3">
                  <a:lumMod val="20000"/>
                  <a:lumOff val="80000"/>
                </a:schemeClr>
              </a:solidFill>
              <a:ln w="9525" cap="flat">
                <a:noFill/>
                <a:prstDash val="solid"/>
                <a:miter/>
              </a:ln>
            </p:spPr>
            <p:txBody>
              <a:bodyPr rtlCol="0" anchor="ctr"/>
              <a:lstStyle/>
              <a:p>
                <a:endParaRPr lang="en-US" noProof="0"/>
              </a:p>
            </p:txBody>
          </p:sp>
          <p:sp>
            <p:nvSpPr>
              <p:cNvPr id="103" name="Freeform 102">
                <a:extLst>
                  <a:ext uri="{FF2B5EF4-FFF2-40B4-BE49-F238E27FC236}">
                    <a16:creationId xmlns:a16="http://schemas.microsoft.com/office/drawing/2014/main" id="{9C5DDB15-3DD8-279A-F4DC-1C70074FB6EA}"/>
                  </a:ext>
                </a:extLst>
              </p:cNvPr>
              <p:cNvSpPr/>
              <p:nvPr/>
            </p:nvSpPr>
            <p:spPr>
              <a:xfrm>
                <a:off x="6271145" y="3681184"/>
                <a:ext cx="535267" cy="2186215"/>
              </a:xfrm>
              <a:custGeom>
                <a:avLst/>
                <a:gdLst>
                  <a:gd name="connsiteX0" fmla="*/ 498805 w 535267"/>
                  <a:gd name="connsiteY0" fmla="*/ 37033 h 2186215"/>
                  <a:gd name="connsiteX1" fmla="*/ 0 w 535267"/>
                  <a:gd name="connsiteY1" fmla="*/ 455638 h 2186215"/>
                  <a:gd name="connsiteX2" fmla="*/ 0 w 535267"/>
                  <a:gd name="connsiteY2" fmla="*/ 1918583 h 2186215"/>
                  <a:gd name="connsiteX3" fmla="*/ 267633 w 535267"/>
                  <a:gd name="connsiteY3" fmla="*/ 2186216 h 2186215"/>
                  <a:gd name="connsiteX4" fmla="*/ 535267 w 535267"/>
                  <a:gd name="connsiteY4" fmla="*/ 1918583 h 2186215"/>
                  <a:gd name="connsiteX5" fmla="*/ 535267 w 535267"/>
                  <a:gd name="connsiteY5" fmla="*/ 0 h 2186215"/>
                  <a:gd name="connsiteX6" fmla="*/ 498805 w 535267"/>
                  <a:gd name="connsiteY6" fmla="*/ 37033 h 218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5267" h="2186215">
                    <a:moveTo>
                      <a:pt x="498805" y="37033"/>
                    </a:moveTo>
                    <a:cubicBezTo>
                      <a:pt x="339728" y="196110"/>
                      <a:pt x="171869" y="335994"/>
                      <a:pt x="0" y="455638"/>
                    </a:cubicBezTo>
                    <a:lnTo>
                      <a:pt x="0" y="1918583"/>
                    </a:lnTo>
                    <a:cubicBezTo>
                      <a:pt x="0" y="2066392"/>
                      <a:pt x="119824" y="2186216"/>
                      <a:pt x="267633" y="2186216"/>
                    </a:cubicBezTo>
                    <a:cubicBezTo>
                      <a:pt x="415442" y="2186216"/>
                      <a:pt x="535267" y="2066392"/>
                      <a:pt x="535267" y="1918583"/>
                    </a:cubicBezTo>
                    <a:lnTo>
                      <a:pt x="535267" y="0"/>
                    </a:lnTo>
                    <a:cubicBezTo>
                      <a:pt x="523199" y="12382"/>
                      <a:pt x="511083" y="24746"/>
                      <a:pt x="498805" y="37033"/>
                    </a:cubicBezTo>
                    <a:close/>
                  </a:path>
                </a:pathLst>
              </a:custGeom>
              <a:solidFill>
                <a:schemeClr val="accent3">
                  <a:lumMod val="60000"/>
                  <a:lumOff val="40000"/>
                </a:schemeClr>
              </a:solidFill>
              <a:ln w="9525" cap="flat">
                <a:noFill/>
                <a:prstDash val="solid"/>
                <a:miter/>
              </a:ln>
            </p:spPr>
            <p:txBody>
              <a:bodyPr rtlCol="0" anchor="ctr"/>
              <a:lstStyle/>
              <a:p>
                <a:endParaRPr lang="en-US" noProof="0"/>
              </a:p>
            </p:txBody>
          </p:sp>
          <p:sp>
            <p:nvSpPr>
              <p:cNvPr id="104" name="Freeform 103">
                <a:extLst>
                  <a:ext uri="{FF2B5EF4-FFF2-40B4-BE49-F238E27FC236}">
                    <a16:creationId xmlns:a16="http://schemas.microsoft.com/office/drawing/2014/main" id="{0632B96C-036D-0FE9-7CCD-3CDB257FA5CF}"/>
                  </a:ext>
                </a:extLst>
              </p:cNvPr>
              <p:cNvSpPr/>
              <p:nvPr/>
            </p:nvSpPr>
            <p:spPr>
              <a:xfrm>
                <a:off x="7128329" y="990602"/>
                <a:ext cx="841102" cy="841102"/>
              </a:xfrm>
              <a:custGeom>
                <a:avLst/>
                <a:gdLst>
                  <a:gd name="connsiteX0" fmla="*/ 384229 w 841102"/>
                  <a:gd name="connsiteY0" fmla="*/ 78388 h 841102"/>
                  <a:gd name="connsiteX1" fmla="*/ 762714 w 841102"/>
                  <a:gd name="connsiteY1" fmla="*/ 78388 h 841102"/>
                  <a:gd name="connsiteX2" fmla="*/ 762714 w 841102"/>
                  <a:gd name="connsiteY2" fmla="*/ 456874 h 841102"/>
                  <a:gd name="connsiteX3" fmla="*/ 378485 w 841102"/>
                  <a:gd name="connsiteY3" fmla="*/ 841103 h 841102"/>
                  <a:gd name="connsiteX4" fmla="*/ 0 w 841102"/>
                  <a:gd name="connsiteY4" fmla="*/ 462617 h 841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102" h="841102">
                    <a:moveTo>
                      <a:pt x="384229" y="78388"/>
                    </a:moveTo>
                    <a:cubicBezTo>
                      <a:pt x="488747" y="-26129"/>
                      <a:pt x="658196" y="-26129"/>
                      <a:pt x="762714" y="78388"/>
                    </a:cubicBezTo>
                    <a:cubicBezTo>
                      <a:pt x="867232" y="182906"/>
                      <a:pt x="867232" y="352356"/>
                      <a:pt x="762714" y="456874"/>
                    </a:cubicBezTo>
                    <a:lnTo>
                      <a:pt x="378485" y="841103"/>
                    </a:lnTo>
                    <a:lnTo>
                      <a:pt x="0" y="462617"/>
                    </a:lnTo>
                    <a:close/>
                  </a:path>
                </a:pathLst>
              </a:custGeom>
              <a:solidFill>
                <a:schemeClr val="tx2">
                  <a:lumMod val="20000"/>
                  <a:lumOff val="80000"/>
                </a:schemeClr>
              </a:solidFill>
              <a:ln w="9525" cap="flat">
                <a:noFill/>
                <a:prstDash val="solid"/>
                <a:miter/>
              </a:ln>
            </p:spPr>
            <p:txBody>
              <a:bodyPr rtlCol="0" anchor="ctr"/>
              <a:lstStyle/>
              <a:p>
                <a:endParaRPr lang="en-US" noProof="0"/>
              </a:p>
            </p:txBody>
          </p:sp>
          <p:sp>
            <p:nvSpPr>
              <p:cNvPr id="105" name="Freeform 104">
                <a:extLst>
                  <a:ext uri="{FF2B5EF4-FFF2-40B4-BE49-F238E27FC236}">
                    <a16:creationId xmlns:a16="http://schemas.microsoft.com/office/drawing/2014/main" id="{27EF2E25-B3FF-BB92-B600-975B898190AE}"/>
                  </a:ext>
                </a:extLst>
              </p:cNvPr>
              <p:cNvSpPr/>
              <p:nvPr/>
            </p:nvSpPr>
            <p:spPr>
              <a:xfrm>
                <a:off x="7693294" y="1555577"/>
                <a:ext cx="841102" cy="841102"/>
              </a:xfrm>
              <a:custGeom>
                <a:avLst/>
                <a:gdLst>
                  <a:gd name="connsiteX0" fmla="*/ 762714 w 841102"/>
                  <a:gd name="connsiteY0" fmla="*/ 78388 h 841102"/>
                  <a:gd name="connsiteX1" fmla="*/ 762714 w 841102"/>
                  <a:gd name="connsiteY1" fmla="*/ 456874 h 841102"/>
                  <a:gd name="connsiteX2" fmla="*/ 378485 w 841102"/>
                  <a:gd name="connsiteY2" fmla="*/ 841103 h 841102"/>
                  <a:gd name="connsiteX3" fmla="*/ 0 w 841102"/>
                  <a:gd name="connsiteY3" fmla="*/ 462617 h 841102"/>
                  <a:gd name="connsiteX4" fmla="*/ 384229 w 841102"/>
                  <a:gd name="connsiteY4" fmla="*/ 78388 h 841102"/>
                  <a:gd name="connsiteX5" fmla="*/ 762714 w 841102"/>
                  <a:gd name="connsiteY5" fmla="*/ 78388 h 84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102" h="841102">
                    <a:moveTo>
                      <a:pt x="762714" y="78388"/>
                    </a:moveTo>
                    <a:cubicBezTo>
                      <a:pt x="867232" y="182906"/>
                      <a:pt x="867232" y="352356"/>
                      <a:pt x="762714" y="456874"/>
                    </a:cubicBezTo>
                    <a:lnTo>
                      <a:pt x="378485" y="841103"/>
                    </a:lnTo>
                    <a:lnTo>
                      <a:pt x="0" y="462617"/>
                    </a:lnTo>
                    <a:lnTo>
                      <a:pt x="384229" y="78388"/>
                    </a:lnTo>
                    <a:cubicBezTo>
                      <a:pt x="488747" y="-26129"/>
                      <a:pt x="658206" y="-26129"/>
                      <a:pt x="762714" y="78388"/>
                    </a:cubicBezTo>
                    <a:close/>
                  </a:path>
                </a:pathLst>
              </a:custGeom>
              <a:solidFill>
                <a:schemeClr val="accent1"/>
              </a:solidFill>
              <a:ln w="9525" cap="flat">
                <a:noFill/>
                <a:prstDash val="solid"/>
                <a:miter/>
              </a:ln>
            </p:spPr>
            <p:txBody>
              <a:bodyPr rtlCol="0" anchor="ctr"/>
              <a:lstStyle/>
              <a:p>
                <a:endParaRPr lang="en-US" noProof="0"/>
              </a:p>
            </p:txBody>
          </p:sp>
          <p:sp>
            <p:nvSpPr>
              <p:cNvPr id="106" name="Freeform 105">
                <a:extLst>
                  <a:ext uri="{FF2B5EF4-FFF2-40B4-BE49-F238E27FC236}">
                    <a16:creationId xmlns:a16="http://schemas.microsoft.com/office/drawing/2014/main" id="{D216742D-34EB-45BE-19BC-3945ACEEACE9}"/>
                  </a:ext>
                </a:extLst>
              </p:cNvPr>
              <p:cNvSpPr/>
              <p:nvPr/>
            </p:nvSpPr>
            <p:spPr>
              <a:xfrm>
                <a:off x="7230677" y="2018185"/>
                <a:ext cx="841102" cy="841102"/>
              </a:xfrm>
              <a:custGeom>
                <a:avLst/>
                <a:gdLst>
                  <a:gd name="connsiteX0" fmla="*/ 456874 w 841102"/>
                  <a:gd name="connsiteY0" fmla="*/ 762714 h 841102"/>
                  <a:gd name="connsiteX1" fmla="*/ 78388 w 841102"/>
                  <a:gd name="connsiteY1" fmla="*/ 762714 h 841102"/>
                  <a:gd name="connsiteX2" fmla="*/ 78388 w 841102"/>
                  <a:gd name="connsiteY2" fmla="*/ 384229 h 841102"/>
                  <a:gd name="connsiteX3" fmla="*/ 462617 w 841102"/>
                  <a:gd name="connsiteY3" fmla="*/ 0 h 841102"/>
                  <a:gd name="connsiteX4" fmla="*/ 841103 w 841102"/>
                  <a:gd name="connsiteY4" fmla="*/ 378485 h 841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102" h="841102">
                    <a:moveTo>
                      <a:pt x="456874" y="762714"/>
                    </a:moveTo>
                    <a:cubicBezTo>
                      <a:pt x="352356" y="867232"/>
                      <a:pt x="182906" y="867232"/>
                      <a:pt x="78388" y="762714"/>
                    </a:cubicBezTo>
                    <a:cubicBezTo>
                      <a:pt x="-26129" y="658197"/>
                      <a:pt x="-26129" y="488747"/>
                      <a:pt x="78388" y="384229"/>
                    </a:cubicBezTo>
                    <a:lnTo>
                      <a:pt x="462617" y="0"/>
                    </a:lnTo>
                    <a:lnTo>
                      <a:pt x="841103" y="378485"/>
                    </a:lnTo>
                    <a:close/>
                  </a:path>
                </a:pathLst>
              </a:custGeom>
              <a:solidFill>
                <a:schemeClr val="accent5"/>
              </a:solidFill>
              <a:ln w="9525" cap="flat">
                <a:noFill/>
                <a:prstDash val="solid"/>
                <a:miter/>
              </a:ln>
            </p:spPr>
            <p:txBody>
              <a:bodyPr rtlCol="0" anchor="ctr"/>
              <a:lstStyle/>
              <a:p>
                <a:endParaRPr lang="en-US" noProof="0"/>
              </a:p>
            </p:txBody>
          </p:sp>
        </p:grpSp>
      </p:grpSp>
      <p:sp>
        <p:nvSpPr>
          <p:cNvPr id="112" name="Rectangle 111">
            <a:extLst>
              <a:ext uri="{FF2B5EF4-FFF2-40B4-BE49-F238E27FC236}">
                <a16:creationId xmlns:a16="http://schemas.microsoft.com/office/drawing/2014/main" id="{0FCBDD77-36C0-2E26-182D-6035F3EFC4D6}"/>
              </a:ext>
            </a:extLst>
          </p:cNvPr>
          <p:cNvSpPr/>
          <p:nvPr/>
        </p:nvSpPr>
        <p:spPr>
          <a:xfrm>
            <a:off x="-2" y="4886423"/>
            <a:ext cx="12192001" cy="914400"/>
          </a:xfrm>
          <a:prstGeom prst="rect">
            <a:avLst/>
          </a:prstGeom>
          <a:solidFill>
            <a:schemeClr val="accent3">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pPr algn="ctr">
              <a:lnSpc>
                <a:spcPct val="105000"/>
              </a:lnSpc>
              <a:spcBef>
                <a:spcPts val="1800"/>
              </a:spcBef>
              <a:buClr>
                <a:schemeClr val="accent1"/>
              </a:buClr>
            </a:pPr>
            <a:r>
              <a:rPr lang="en-US" sz="1600" b="1" noProof="0">
                <a:solidFill>
                  <a:schemeClr val="accent3"/>
                </a:solidFill>
              </a:rPr>
              <a:t>There is an unmet need for targeted treatment options with a favorable safety profile and corticosteroid-sparing effect </a:t>
            </a:r>
            <a:br>
              <a:rPr lang="en-US" sz="1600" b="1" noProof="0">
                <a:solidFill>
                  <a:schemeClr val="accent3"/>
                </a:solidFill>
              </a:rPr>
            </a:br>
            <a:r>
              <a:rPr lang="en-US" sz="1600" b="1" noProof="0">
                <a:solidFill>
                  <a:schemeClr val="accent3"/>
                </a:solidFill>
              </a:rPr>
              <a:t>that can provide a sustained response in muscular and extra-muscular manifestations across IIM subtypes</a:t>
            </a:r>
          </a:p>
        </p:txBody>
      </p:sp>
      <p:grpSp>
        <p:nvGrpSpPr>
          <p:cNvPr id="15" name="Group 14">
            <a:extLst>
              <a:ext uri="{FF2B5EF4-FFF2-40B4-BE49-F238E27FC236}">
                <a16:creationId xmlns:a16="http://schemas.microsoft.com/office/drawing/2014/main" id="{66E8F0FF-1028-1C3C-0763-888EE5737C2B}"/>
              </a:ext>
            </a:extLst>
          </p:cNvPr>
          <p:cNvGrpSpPr/>
          <p:nvPr/>
        </p:nvGrpSpPr>
        <p:grpSpPr>
          <a:xfrm>
            <a:off x="361948" y="4977607"/>
            <a:ext cx="714004" cy="732031"/>
            <a:chOff x="137131" y="4953169"/>
            <a:chExt cx="767743" cy="787127"/>
          </a:xfrm>
        </p:grpSpPr>
        <p:sp>
          <p:nvSpPr>
            <p:cNvPr id="8" name="Oval 7">
              <a:extLst>
                <a:ext uri="{FF2B5EF4-FFF2-40B4-BE49-F238E27FC236}">
                  <a16:creationId xmlns:a16="http://schemas.microsoft.com/office/drawing/2014/main" id="{EED61EFF-C5C0-C92E-92AA-8129188FDB77}"/>
                </a:ext>
              </a:extLst>
            </p:cNvPr>
            <p:cNvSpPr/>
            <p:nvPr/>
          </p:nvSpPr>
          <p:spPr>
            <a:xfrm>
              <a:off x="137131" y="4953169"/>
              <a:ext cx="767743" cy="787127"/>
            </a:xfrm>
            <a:prstGeom prst="ellipse">
              <a:avLst/>
            </a:prstGeom>
            <a:solidFill>
              <a:schemeClr val="accent3"/>
            </a:solidFill>
            <a:ln w="12700" cap="flat">
              <a:solidFill>
                <a:schemeClr val="accent3">
                  <a:lumMod val="40000"/>
                  <a:lumOff val="60000"/>
                </a:schemeClr>
              </a:solidFill>
              <a:prstDash val="solid"/>
              <a:miter/>
            </a:ln>
            <a:effectLst/>
          </p:spPr>
          <p:txBody>
            <a:bodyPr bIns="182880" rtlCol="0" anchor="b"/>
            <a:lstStyle/>
            <a:p>
              <a:pPr marL="24166" marR="79020" lvl="1" algn="ctr">
                <a:spcAft>
                  <a:spcPts val="3000"/>
                </a:spcAft>
              </a:pPr>
              <a:endParaRPr lang="en-US" sz="800" b="1" spc="-7" noProof="0">
                <a:solidFill>
                  <a:schemeClr val="bg1"/>
                </a:solidFill>
                <a:cs typeface="Calibri"/>
              </a:endParaRPr>
            </a:p>
          </p:txBody>
        </p:sp>
        <p:grpSp>
          <p:nvGrpSpPr>
            <p:cNvPr id="9" name="Graphic 46">
              <a:extLst>
                <a:ext uri="{FF2B5EF4-FFF2-40B4-BE49-F238E27FC236}">
                  <a16:creationId xmlns:a16="http://schemas.microsoft.com/office/drawing/2014/main" id="{D719027D-05BC-308C-652F-FBD8F419F495}"/>
                </a:ext>
              </a:extLst>
            </p:cNvPr>
            <p:cNvGrpSpPr/>
            <p:nvPr/>
          </p:nvGrpSpPr>
          <p:grpSpPr>
            <a:xfrm>
              <a:off x="260384" y="5049758"/>
              <a:ext cx="521237" cy="463318"/>
              <a:chOff x="10712243" y="758313"/>
              <a:chExt cx="521237" cy="463318"/>
            </a:xfrm>
          </p:grpSpPr>
          <p:sp>
            <p:nvSpPr>
              <p:cNvPr id="10" name="Freeform 9">
                <a:extLst>
                  <a:ext uri="{FF2B5EF4-FFF2-40B4-BE49-F238E27FC236}">
                    <a16:creationId xmlns:a16="http://schemas.microsoft.com/office/drawing/2014/main" id="{C529B3B2-FD1B-AB06-EBAB-567335D8A224}"/>
                  </a:ext>
                </a:extLst>
              </p:cNvPr>
              <p:cNvSpPr/>
              <p:nvPr/>
            </p:nvSpPr>
            <p:spPr>
              <a:xfrm>
                <a:off x="10712243" y="758313"/>
                <a:ext cx="521237" cy="463318"/>
              </a:xfrm>
              <a:custGeom>
                <a:avLst/>
                <a:gdLst>
                  <a:gd name="connsiteX0" fmla="*/ 222126 w 521237"/>
                  <a:gd name="connsiteY0" fmla="*/ 22239 h 463318"/>
                  <a:gd name="connsiteX1" fmla="*/ 5969 w 521237"/>
                  <a:gd name="connsiteY1" fmla="*/ 396607 h 463318"/>
                  <a:gd name="connsiteX2" fmla="*/ 22237 w 521237"/>
                  <a:gd name="connsiteY2" fmla="*/ 457355 h 463318"/>
                  <a:gd name="connsiteX3" fmla="*/ 44482 w 521237"/>
                  <a:gd name="connsiteY3" fmla="*/ 463319 h 463318"/>
                  <a:gd name="connsiteX4" fmla="*/ 476761 w 521237"/>
                  <a:gd name="connsiteY4" fmla="*/ 463319 h 463318"/>
                  <a:gd name="connsiteX5" fmla="*/ 521238 w 521237"/>
                  <a:gd name="connsiteY5" fmla="*/ 418852 h 463318"/>
                  <a:gd name="connsiteX6" fmla="*/ 515274 w 521237"/>
                  <a:gd name="connsiteY6" fmla="*/ 396607 h 463318"/>
                  <a:gd name="connsiteX7" fmla="*/ 299140 w 521237"/>
                  <a:gd name="connsiteY7" fmla="*/ 22239 h 463318"/>
                  <a:gd name="connsiteX8" fmla="*/ 238400 w 521237"/>
                  <a:gd name="connsiteY8" fmla="*/ 5965 h 463318"/>
                  <a:gd name="connsiteX9" fmla="*/ 222126 w 521237"/>
                  <a:gd name="connsiteY9" fmla="*/ 22239 h 463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237" h="463318">
                    <a:moveTo>
                      <a:pt x="222126" y="22239"/>
                    </a:moveTo>
                    <a:lnTo>
                      <a:pt x="5969" y="396607"/>
                    </a:lnTo>
                    <a:cubicBezTo>
                      <a:pt x="-6315" y="417875"/>
                      <a:pt x="969" y="445074"/>
                      <a:pt x="22237" y="457355"/>
                    </a:cubicBezTo>
                    <a:cubicBezTo>
                      <a:pt x="29000" y="461265"/>
                      <a:pt x="36672" y="463319"/>
                      <a:pt x="44482" y="463319"/>
                    </a:cubicBezTo>
                    <a:lnTo>
                      <a:pt x="476761" y="463319"/>
                    </a:lnTo>
                    <a:cubicBezTo>
                      <a:pt x="501323" y="463319"/>
                      <a:pt x="521232" y="443412"/>
                      <a:pt x="521238" y="418852"/>
                    </a:cubicBezTo>
                    <a:cubicBezTo>
                      <a:pt x="521238" y="411042"/>
                      <a:pt x="519178" y="403370"/>
                      <a:pt x="515274" y="396607"/>
                    </a:cubicBezTo>
                    <a:lnTo>
                      <a:pt x="299140" y="22239"/>
                    </a:lnTo>
                    <a:cubicBezTo>
                      <a:pt x="286861" y="972"/>
                      <a:pt x="259667" y="-6314"/>
                      <a:pt x="238400" y="5965"/>
                    </a:cubicBezTo>
                    <a:cubicBezTo>
                      <a:pt x="231641" y="9868"/>
                      <a:pt x="226028" y="15480"/>
                      <a:pt x="222126" y="22239"/>
                    </a:cubicBezTo>
                    <a:close/>
                  </a:path>
                </a:pathLst>
              </a:custGeom>
              <a:solidFill>
                <a:srgbClr val="FF6C66"/>
              </a:solidFill>
              <a:ln w="12700" cap="flat">
                <a:solidFill>
                  <a:schemeClr val="bg1"/>
                </a:solidFill>
                <a:prstDash val="solid"/>
                <a:miter/>
              </a:ln>
            </p:spPr>
            <p:txBody>
              <a:bodyPr rtlCol="0" anchor="ctr"/>
              <a:lstStyle/>
              <a:p>
                <a:endParaRPr lang="en-US" noProof="0"/>
              </a:p>
            </p:txBody>
          </p:sp>
          <p:grpSp>
            <p:nvGrpSpPr>
              <p:cNvPr id="11" name="Graphic 46">
                <a:extLst>
                  <a:ext uri="{FF2B5EF4-FFF2-40B4-BE49-F238E27FC236}">
                    <a16:creationId xmlns:a16="http://schemas.microsoft.com/office/drawing/2014/main" id="{9C2E22D8-5AF7-A44B-EA72-BD54E70A20A4}"/>
                  </a:ext>
                </a:extLst>
              </p:cNvPr>
              <p:cNvGrpSpPr/>
              <p:nvPr/>
            </p:nvGrpSpPr>
            <p:grpSpPr>
              <a:xfrm>
                <a:off x="10944921" y="903050"/>
                <a:ext cx="55910" cy="258669"/>
                <a:chOff x="10944921" y="903050"/>
                <a:chExt cx="55910" cy="258669"/>
              </a:xfrm>
              <a:solidFill>
                <a:srgbClr val="FFF7ED"/>
              </a:solidFill>
            </p:grpSpPr>
            <p:sp>
              <p:nvSpPr>
                <p:cNvPr id="13" name="Rounded Rectangle 12">
                  <a:extLst>
                    <a:ext uri="{FF2B5EF4-FFF2-40B4-BE49-F238E27FC236}">
                      <a16:creationId xmlns:a16="http://schemas.microsoft.com/office/drawing/2014/main" id="{A102FD08-060A-29B3-819B-C7A26BA229ED}"/>
                    </a:ext>
                  </a:extLst>
                </p:cNvPr>
                <p:cNvSpPr/>
                <p:nvPr/>
              </p:nvSpPr>
              <p:spPr>
                <a:xfrm>
                  <a:off x="10944921" y="903050"/>
                  <a:ext cx="53602" cy="163382"/>
                </a:xfrm>
                <a:prstGeom prst="roundRect">
                  <a:avLst>
                    <a:gd name="adj" fmla="val 50000"/>
                  </a:avLst>
                </a:prstGeom>
                <a:solidFill>
                  <a:srgbClr val="FFF7ED"/>
                </a:solidFill>
                <a:ln w="5730" cap="flat">
                  <a:noFill/>
                  <a:prstDash val="solid"/>
                  <a:miter/>
                </a:ln>
              </p:spPr>
              <p:txBody>
                <a:bodyPr rtlCol="0" anchor="ctr"/>
                <a:lstStyle/>
                <a:p>
                  <a:endParaRPr lang="en-US" noProof="0"/>
                </a:p>
              </p:txBody>
            </p:sp>
            <p:sp>
              <p:nvSpPr>
                <p:cNvPr id="14" name="Freeform 13">
                  <a:extLst>
                    <a:ext uri="{FF2B5EF4-FFF2-40B4-BE49-F238E27FC236}">
                      <a16:creationId xmlns:a16="http://schemas.microsoft.com/office/drawing/2014/main" id="{10EE10EF-E8E5-70C1-4985-4768C16738D7}"/>
                    </a:ext>
                  </a:extLst>
                </p:cNvPr>
                <p:cNvSpPr/>
                <p:nvPr/>
              </p:nvSpPr>
              <p:spPr>
                <a:xfrm>
                  <a:off x="10944921" y="1105809"/>
                  <a:ext cx="55910" cy="55910"/>
                </a:xfrm>
                <a:custGeom>
                  <a:avLst/>
                  <a:gdLst>
                    <a:gd name="connsiteX0" fmla="*/ 55910 w 55910"/>
                    <a:gd name="connsiteY0" fmla="*/ 27955 h 55910"/>
                    <a:gd name="connsiteX1" fmla="*/ 27955 w 55910"/>
                    <a:gd name="connsiteY1" fmla="*/ 55910 h 55910"/>
                    <a:gd name="connsiteX2" fmla="*/ 0 w 55910"/>
                    <a:gd name="connsiteY2" fmla="*/ 27955 h 55910"/>
                    <a:gd name="connsiteX3" fmla="*/ 27955 w 55910"/>
                    <a:gd name="connsiteY3" fmla="*/ 0 h 55910"/>
                    <a:gd name="connsiteX4" fmla="*/ 55910 w 55910"/>
                    <a:gd name="connsiteY4" fmla="*/ 27955 h 5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10" h="55910">
                      <a:moveTo>
                        <a:pt x="55910" y="27955"/>
                      </a:moveTo>
                      <a:cubicBezTo>
                        <a:pt x="55910" y="43394"/>
                        <a:pt x="43394" y="55910"/>
                        <a:pt x="27955" y="55910"/>
                      </a:cubicBezTo>
                      <a:cubicBezTo>
                        <a:pt x="12516" y="55910"/>
                        <a:pt x="0" y="43394"/>
                        <a:pt x="0" y="27955"/>
                      </a:cubicBezTo>
                      <a:cubicBezTo>
                        <a:pt x="0" y="12516"/>
                        <a:pt x="12516" y="0"/>
                        <a:pt x="27955" y="0"/>
                      </a:cubicBezTo>
                      <a:cubicBezTo>
                        <a:pt x="43394" y="0"/>
                        <a:pt x="55910" y="12516"/>
                        <a:pt x="55910" y="27955"/>
                      </a:cubicBezTo>
                      <a:close/>
                    </a:path>
                  </a:pathLst>
                </a:custGeom>
                <a:solidFill>
                  <a:srgbClr val="FFF7ED"/>
                </a:solidFill>
                <a:ln w="5730" cap="flat">
                  <a:noFill/>
                  <a:prstDash val="solid"/>
                  <a:miter/>
                </a:ln>
              </p:spPr>
              <p:txBody>
                <a:bodyPr rtlCol="0" anchor="ctr"/>
                <a:lstStyle/>
                <a:p>
                  <a:endParaRPr lang="en-US" noProof="0"/>
                </a:p>
              </p:txBody>
            </p:sp>
          </p:grpSp>
        </p:grpSp>
      </p:grpSp>
    </p:spTree>
    <p:extLst>
      <p:ext uri="{BB962C8B-B14F-4D97-AF65-F5344CB8AC3E}">
        <p14:creationId xmlns:p14="http://schemas.microsoft.com/office/powerpoint/2010/main" val="163653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11905-FF33-37EB-2DDF-9626672D8D3A}"/>
            </a:ext>
          </a:extLst>
        </p:cNvPr>
        <p:cNvGrpSpPr/>
        <p:nvPr/>
      </p:nvGrpSpPr>
      <p:grpSpPr>
        <a:xfrm>
          <a:off x="0" y="0"/>
          <a:ext cx="0" cy="0"/>
          <a:chOff x="0" y="0"/>
          <a:chExt cx="0" cy="0"/>
        </a:xfrm>
      </p:grpSpPr>
      <p:sp>
        <p:nvSpPr>
          <p:cNvPr id="41" name="Title 40">
            <a:extLst>
              <a:ext uri="{FF2B5EF4-FFF2-40B4-BE49-F238E27FC236}">
                <a16:creationId xmlns:a16="http://schemas.microsoft.com/office/drawing/2014/main" id="{7E0342D3-2C6A-3471-12EA-2B62DD0C7875}"/>
              </a:ext>
            </a:extLst>
          </p:cNvPr>
          <p:cNvSpPr>
            <a:spLocks noGrp="1"/>
          </p:cNvSpPr>
          <p:nvPr>
            <p:ph type="title"/>
          </p:nvPr>
        </p:nvSpPr>
        <p:spPr/>
        <p:txBody>
          <a:bodyPr wrap="none"/>
          <a:lstStyle/>
          <a:p>
            <a:r>
              <a:rPr lang="en-US" sz="1900" b="1" noProof="0"/>
              <a:t>Efgartigimod Blocks FcRn</a:t>
            </a:r>
            <a:r>
              <a:rPr lang="en-US" sz="1900" b="0" noProof="0"/>
              <a:t> and </a:t>
            </a:r>
            <a:r>
              <a:rPr lang="en-US" sz="1900" b="1" noProof="0"/>
              <a:t>Reduces IgG Levels</a:t>
            </a:r>
          </a:p>
        </p:txBody>
      </p:sp>
      <p:sp>
        <p:nvSpPr>
          <p:cNvPr id="3" name="Slide Number Placeholder 2">
            <a:extLst>
              <a:ext uri="{FF2B5EF4-FFF2-40B4-BE49-F238E27FC236}">
                <a16:creationId xmlns:a16="http://schemas.microsoft.com/office/drawing/2014/main" id="{14981076-BAE1-FD0D-9E7D-0C7F6FE3F267}"/>
              </a:ext>
            </a:extLst>
          </p:cNvPr>
          <p:cNvSpPr>
            <a:spLocks noGrp="1"/>
          </p:cNvSpPr>
          <p:nvPr>
            <p:ph type="sldNum" sz="quarter" idx="4"/>
          </p:nvPr>
        </p:nvSpPr>
        <p:spPr>
          <a:xfrm>
            <a:off x="361949" y="6409540"/>
            <a:ext cx="274320" cy="274320"/>
          </a:xfrm>
        </p:spPr>
        <p:txBody>
          <a:bodyPr/>
          <a:lstStyle/>
          <a:p>
            <a:fld id="{1916DDDD-2DB5-41B0-89CB-F50E795279FE}" type="slidenum">
              <a:rPr lang="en-US" noProof="0" smtClean="0"/>
              <a:pPr/>
              <a:t>4</a:t>
            </a:fld>
            <a:endParaRPr lang="en-US" noProof="0"/>
          </a:p>
        </p:txBody>
      </p:sp>
      <p:sp>
        <p:nvSpPr>
          <p:cNvPr id="94" name="Footer Placeholder 19">
            <a:extLst>
              <a:ext uri="{FF2B5EF4-FFF2-40B4-BE49-F238E27FC236}">
                <a16:creationId xmlns:a16="http://schemas.microsoft.com/office/drawing/2014/main" id="{369F8301-1D7C-F066-84E7-58ABF42C9CA3}"/>
              </a:ext>
            </a:extLst>
          </p:cNvPr>
          <p:cNvSpPr>
            <a:spLocks noGrp="1"/>
          </p:cNvSpPr>
          <p:nvPr>
            <p:ph type="ftr" sz="quarter" idx="11"/>
          </p:nvPr>
        </p:nvSpPr>
        <p:spPr>
          <a:xfrm>
            <a:off x="904875" y="6164744"/>
            <a:ext cx="5047270" cy="519116"/>
          </a:xfrm>
        </p:spPr>
        <p:txBody>
          <a:bodyPr/>
          <a:lstStyle/>
          <a:p>
            <a:pPr>
              <a:defRPr/>
            </a:pPr>
            <a:r>
              <a:rPr lang="en-US" noProof="0" err="1">
                <a:solidFill>
                  <a:srgbClr val="5A5A5A"/>
                </a:solidFill>
              </a:rPr>
              <a:t>FcRn</a:t>
            </a:r>
            <a:r>
              <a:rPr lang="en-US" noProof="0">
                <a:solidFill>
                  <a:srgbClr val="5A5A5A"/>
                </a:solidFill>
              </a:rPr>
              <a:t>, neonatal Fc receptor; Ig, immunoglobulin; LDL, low-density lipoprotein.</a:t>
            </a:r>
          </a:p>
          <a:p>
            <a:pPr>
              <a:defRPr/>
            </a:pPr>
            <a:r>
              <a:rPr lang="en-US" b="1" noProof="0">
                <a:solidFill>
                  <a:srgbClr val="5A5A5A"/>
                </a:solidFill>
              </a:rPr>
              <a:t>1. </a:t>
            </a:r>
            <a:r>
              <a:rPr lang="en-US" noProof="0" err="1">
                <a:solidFill>
                  <a:srgbClr val="5A5A5A"/>
                </a:solidFill>
              </a:rPr>
              <a:t>Ulrichts</a:t>
            </a:r>
            <a:r>
              <a:rPr lang="en-US" noProof="0">
                <a:solidFill>
                  <a:srgbClr val="5A5A5A"/>
                </a:solidFill>
              </a:rPr>
              <a:t> P, et al. </a:t>
            </a:r>
            <a:r>
              <a:rPr lang="en-US" i="1" noProof="0">
                <a:solidFill>
                  <a:srgbClr val="5A5A5A"/>
                </a:solidFill>
              </a:rPr>
              <a:t>J Clin Invest</a:t>
            </a:r>
            <a:r>
              <a:rPr lang="en-US" noProof="0">
                <a:solidFill>
                  <a:srgbClr val="5A5A5A"/>
                </a:solidFill>
              </a:rPr>
              <a:t>. 2018;128:4372–86.</a:t>
            </a:r>
            <a:r>
              <a:rPr lang="en-US" b="1" noProof="0">
                <a:solidFill>
                  <a:srgbClr val="5A5A5A"/>
                </a:solidFill>
              </a:rPr>
              <a:t> 2. </a:t>
            </a:r>
            <a:r>
              <a:rPr lang="en-US" noProof="0">
                <a:solidFill>
                  <a:srgbClr val="5A5A5A"/>
                </a:solidFill>
              </a:rPr>
              <a:t>Vaccaro C, et al. </a:t>
            </a:r>
            <a:r>
              <a:rPr lang="en-US" i="1" noProof="0">
                <a:solidFill>
                  <a:srgbClr val="5A5A5A"/>
                </a:solidFill>
              </a:rPr>
              <a:t>Nat </a:t>
            </a:r>
            <a:r>
              <a:rPr lang="en-US" i="1" noProof="0" err="1">
                <a:solidFill>
                  <a:srgbClr val="5A5A5A"/>
                </a:solidFill>
              </a:rPr>
              <a:t>Biotechnol</a:t>
            </a:r>
            <a:r>
              <a:rPr lang="en-US" noProof="0">
                <a:solidFill>
                  <a:srgbClr val="5A5A5A"/>
                </a:solidFill>
              </a:rPr>
              <a:t>. 2005;23:1283–8. </a:t>
            </a:r>
            <a:r>
              <a:rPr lang="en-US" b="1" noProof="0">
                <a:solidFill>
                  <a:srgbClr val="5A5A5A"/>
                </a:solidFill>
              </a:rPr>
              <a:t>3.</a:t>
            </a:r>
            <a:r>
              <a:rPr lang="en-US" noProof="0">
                <a:solidFill>
                  <a:srgbClr val="5A5A5A"/>
                </a:solidFill>
              </a:rPr>
              <a:t> </a:t>
            </a:r>
            <a:r>
              <a:rPr lang="en-US" noProof="0" err="1">
                <a:solidFill>
                  <a:srgbClr val="5A5A5A"/>
                </a:solidFill>
              </a:rPr>
              <a:t>Roopenian</a:t>
            </a:r>
            <a:r>
              <a:rPr lang="en-US" noProof="0">
                <a:solidFill>
                  <a:srgbClr val="5A5A5A"/>
                </a:solidFill>
              </a:rPr>
              <a:t> DC, Akilesh S. </a:t>
            </a:r>
            <a:r>
              <a:rPr lang="en-US" i="1" noProof="0">
                <a:solidFill>
                  <a:srgbClr val="5A5A5A"/>
                </a:solidFill>
              </a:rPr>
              <a:t>Nat Rev Immunol</a:t>
            </a:r>
            <a:r>
              <a:rPr lang="en-US" noProof="0">
                <a:solidFill>
                  <a:srgbClr val="5A5A5A"/>
                </a:solidFill>
              </a:rPr>
              <a:t>. 2007;7:715–25. </a:t>
            </a:r>
            <a:r>
              <a:rPr lang="en-US" b="1" noProof="0">
                <a:solidFill>
                  <a:srgbClr val="5A5A5A"/>
                </a:solidFill>
              </a:rPr>
              <a:t>4.</a:t>
            </a:r>
            <a:r>
              <a:rPr lang="en-US" noProof="0">
                <a:solidFill>
                  <a:srgbClr val="5A5A5A"/>
                </a:solidFill>
              </a:rPr>
              <a:t> Ward ES, Ober RJ. </a:t>
            </a:r>
            <a:r>
              <a:rPr lang="en-US" i="1" noProof="0">
                <a:solidFill>
                  <a:srgbClr val="5A5A5A"/>
                </a:solidFill>
              </a:rPr>
              <a:t>Trends </a:t>
            </a:r>
            <a:r>
              <a:rPr lang="en-US" i="1" noProof="0" err="1">
                <a:solidFill>
                  <a:srgbClr val="5A5A5A"/>
                </a:solidFill>
              </a:rPr>
              <a:t>Pharmacol</a:t>
            </a:r>
            <a:r>
              <a:rPr lang="en-US" i="1" noProof="0">
                <a:solidFill>
                  <a:srgbClr val="5A5A5A"/>
                </a:solidFill>
              </a:rPr>
              <a:t> Sci</a:t>
            </a:r>
            <a:r>
              <a:rPr lang="en-US" noProof="0">
                <a:solidFill>
                  <a:srgbClr val="5A5A5A"/>
                </a:solidFill>
              </a:rPr>
              <a:t>. 2018;39:892–904. </a:t>
            </a:r>
            <a:r>
              <a:rPr lang="en-US" b="1" noProof="0">
                <a:solidFill>
                  <a:srgbClr val="5A5A5A"/>
                </a:solidFill>
              </a:rPr>
              <a:t>5.</a:t>
            </a:r>
            <a:r>
              <a:rPr lang="en-US" noProof="0">
                <a:solidFill>
                  <a:srgbClr val="5A5A5A"/>
                </a:solidFill>
              </a:rPr>
              <a:t> Howard JF Jr, et al. </a:t>
            </a:r>
            <a:r>
              <a:rPr lang="en-US" i="1" noProof="0">
                <a:solidFill>
                  <a:srgbClr val="5A5A5A"/>
                </a:solidFill>
              </a:rPr>
              <a:t>Lancet Neurol</a:t>
            </a:r>
            <a:r>
              <a:rPr lang="en-US" noProof="0">
                <a:solidFill>
                  <a:srgbClr val="5A5A5A"/>
                </a:solidFill>
              </a:rPr>
              <a:t>. 2021;20:526–36. </a:t>
            </a:r>
            <a:r>
              <a:rPr lang="en-US" b="1">
                <a:solidFill>
                  <a:srgbClr val="5A5A5A"/>
                </a:solidFill>
              </a:rPr>
              <a:t>6</a:t>
            </a:r>
            <a:r>
              <a:rPr lang="en-US" b="1" noProof="0">
                <a:solidFill>
                  <a:srgbClr val="5A5A5A"/>
                </a:solidFill>
              </a:rPr>
              <a:t>.</a:t>
            </a:r>
            <a:r>
              <a:rPr lang="en-US" noProof="0">
                <a:solidFill>
                  <a:srgbClr val="5A5A5A"/>
                </a:solidFill>
              </a:rPr>
              <a:t> Guptill JT, et al. </a:t>
            </a:r>
            <a:r>
              <a:rPr lang="en-US" i="1" noProof="0">
                <a:solidFill>
                  <a:srgbClr val="5A5A5A"/>
                </a:solidFill>
              </a:rPr>
              <a:t>Autoimmunity</a:t>
            </a:r>
            <a:r>
              <a:rPr lang="en-US" noProof="0">
                <a:solidFill>
                  <a:srgbClr val="5A5A5A"/>
                </a:solidFill>
              </a:rPr>
              <a:t>. 2022;55:620–31. </a:t>
            </a:r>
            <a:r>
              <a:rPr lang="en-US" b="1" noProof="0">
                <a:solidFill>
                  <a:srgbClr val="5A5A5A"/>
                </a:solidFill>
              </a:rPr>
              <a:t>7.</a:t>
            </a:r>
            <a:r>
              <a:rPr lang="en-US" noProof="0">
                <a:solidFill>
                  <a:srgbClr val="5A5A5A"/>
                </a:solidFill>
              </a:rPr>
              <a:t> </a:t>
            </a:r>
            <a:r>
              <a:rPr lang="en-US" noProof="0" err="1">
                <a:solidFill>
                  <a:srgbClr val="5A5A5A"/>
                </a:solidFill>
              </a:rPr>
              <a:t>argenx</a:t>
            </a:r>
            <a:r>
              <a:rPr lang="en-US" noProof="0">
                <a:solidFill>
                  <a:srgbClr val="5A5A5A"/>
                </a:solidFill>
              </a:rPr>
              <a:t>, data on file.</a:t>
            </a:r>
          </a:p>
        </p:txBody>
      </p:sp>
      <p:sp>
        <p:nvSpPr>
          <p:cNvPr id="19" name="Content Placeholder 1">
            <a:extLst>
              <a:ext uri="{FF2B5EF4-FFF2-40B4-BE49-F238E27FC236}">
                <a16:creationId xmlns:a16="http://schemas.microsoft.com/office/drawing/2014/main" id="{AA343015-B031-03BE-C10D-D3E0F8DEE5A5}"/>
              </a:ext>
            </a:extLst>
          </p:cNvPr>
          <p:cNvSpPr>
            <a:spLocks noGrp="1"/>
          </p:cNvSpPr>
          <p:nvPr>
            <p:ph idx="1"/>
          </p:nvPr>
        </p:nvSpPr>
        <p:spPr>
          <a:xfrm>
            <a:off x="361948" y="1630680"/>
            <a:ext cx="5269895" cy="4389120"/>
          </a:xfrm>
        </p:spPr>
        <p:txBody>
          <a:bodyPr/>
          <a:lstStyle/>
          <a:p>
            <a:r>
              <a:rPr lang="en-US" noProof="0" dirty="0"/>
              <a:t>Efgartigimod</a:t>
            </a:r>
            <a:endParaRPr lang="en-US" baseline="30000" noProof="0" dirty="0"/>
          </a:p>
          <a:p>
            <a:pPr lvl="1"/>
            <a:r>
              <a:rPr lang="en-GB" dirty="0">
                <a:solidFill>
                  <a:srgbClr val="5A5A5A"/>
                </a:solidFill>
              </a:rPr>
              <a:t>Efgartigimod is a human </a:t>
            </a:r>
            <a:r>
              <a:rPr lang="en-GB" b="1" dirty="0">
                <a:solidFill>
                  <a:srgbClr val="0B436E"/>
                </a:solidFill>
              </a:rPr>
              <a:t>IgG1 antibody Fc fragment</a:t>
            </a:r>
            <a:r>
              <a:rPr lang="en-GB" dirty="0">
                <a:solidFill>
                  <a:srgbClr val="0B436E"/>
                </a:solidFill>
              </a:rPr>
              <a:t> </a:t>
            </a:r>
            <a:br>
              <a:rPr lang="en-GB" dirty="0">
                <a:solidFill>
                  <a:srgbClr val="0B436E"/>
                </a:solidFill>
              </a:rPr>
            </a:br>
            <a:r>
              <a:rPr lang="en-GB" dirty="0">
                <a:solidFill>
                  <a:srgbClr val="5A5A5A"/>
                </a:solidFill>
              </a:rPr>
              <a:t>that has been engineered for </a:t>
            </a:r>
            <a:r>
              <a:rPr lang="en-GB" b="1" dirty="0">
                <a:solidFill>
                  <a:srgbClr val="0B436E"/>
                </a:solidFill>
              </a:rPr>
              <a:t>increased affinity to </a:t>
            </a:r>
            <a:r>
              <a:rPr lang="en-GB" b="1" dirty="0" err="1">
                <a:solidFill>
                  <a:srgbClr val="0B436E"/>
                </a:solidFill>
              </a:rPr>
              <a:t>FcRn</a:t>
            </a:r>
            <a:r>
              <a:rPr lang="en-GB" dirty="0">
                <a:solidFill>
                  <a:srgbClr val="5A5A5A"/>
                </a:solidFill>
              </a:rPr>
              <a:t> compared to endogenous IgG and is </a:t>
            </a:r>
            <a:r>
              <a:rPr lang="en-GB" b="1" dirty="0">
                <a:solidFill>
                  <a:srgbClr val="0B436E"/>
                </a:solidFill>
              </a:rPr>
              <a:t>uniquely composed of only the part of the IgG antibody that normally </a:t>
            </a:r>
            <a:br>
              <a:rPr lang="en-GB" b="1" dirty="0">
                <a:solidFill>
                  <a:srgbClr val="0B436E"/>
                </a:solidFill>
              </a:rPr>
            </a:br>
            <a:r>
              <a:rPr lang="en-GB" b="1" dirty="0">
                <a:solidFill>
                  <a:srgbClr val="0B436E"/>
                </a:solidFill>
              </a:rPr>
              <a:t>binds FcRn</a:t>
            </a:r>
            <a:r>
              <a:rPr lang="en-GB" baseline="30000" dirty="0">
                <a:solidFill>
                  <a:srgbClr val="5A5A5A"/>
                </a:solidFill>
              </a:rPr>
              <a:t>1,2</a:t>
            </a:r>
          </a:p>
          <a:p>
            <a:pPr lvl="1"/>
            <a:r>
              <a:rPr lang="en-GB" dirty="0">
                <a:solidFill>
                  <a:srgbClr val="5A5A5A"/>
                </a:solidFill>
              </a:rPr>
              <a:t>By blocking </a:t>
            </a:r>
            <a:r>
              <a:rPr lang="en-GB" dirty="0" err="1">
                <a:solidFill>
                  <a:srgbClr val="5A5A5A"/>
                </a:solidFill>
              </a:rPr>
              <a:t>FcRn</a:t>
            </a:r>
            <a:r>
              <a:rPr lang="en-GB" dirty="0">
                <a:solidFill>
                  <a:srgbClr val="5A5A5A"/>
                </a:solidFill>
              </a:rPr>
              <a:t>, </a:t>
            </a:r>
            <a:r>
              <a:rPr lang="en-GB" b="1" dirty="0">
                <a:solidFill>
                  <a:srgbClr val="0B436E"/>
                </a:solidFill>
              </a:rPr>
              <a:t>efgartigimod selectively reduces IgG antibodies, including pathogenic autoantibodies</a:t>
            </a:r>
            <a:r>
              <a:rPr lang="en-GB" dirty="0">
                <a:solidFill>
                  <a:srgbClr val="5A5A5A"/>
                </a:solidFill>
              </a:rPr>
              <a:t>, and does so </a:t>
            </a:r>
            <a:r>
              <a:rPr lang="en-GB" b="1" dirty="0">
                <a:solidFill>
                  <a:srgbClr val="0B436E"/>
                </a:solidFill>
              </a:rPr>
              <a:t>without</a:t>
            </a:r>
            <a:r>
              <a:rPr lang="en-GB" dirty="0">
                <a:solidFill>
                  <a:srgbClr val="5A5A5A"/>
                </a:solidFill>
              </a:rPr>
              <a:t>:</a:t>
            </a:r>
            <a:r>
              <a:rPr lang="en-GB" baseline="30000" dirty="0">
                <a:solidFill>
                  <a:srgbClr val="5A5A5A"/>
                </a:solidFill>
              </a:rPr>
              <a:t>1,5–7</a:t>
            </a:r>
            <a:endParaRPr lang="en-US" b="1" noProof="0" dirty="0">
              <a:solidFill>
                <a:schemeClr val="accent3"/>
              </a:solidFill>
            </a:endParaRPr>
          </a:p>
          <a:p>
            <a:pPr lvl="2">
              <a:spcBef>
                <a:spcPts val="500"/>
              </a:spcBef>
            </a:pPr>
            <a:r>
              <a:rPr lang="en-GB" noProof="0" dirty="0"/>
              <a:t>Impacting antibody production (including other Ig antibodies) or other parts of the immune system</a:t>
            </a:r>
          </a:p>
          <a:p>
            <a:pPr lvl="2">
              <a:spcBef>
                <a:spcPts val="500"/>
              </a:spcBef>
            </a:pPr>
            <a:r>
              <a:rPr lang="en-US" noProof="0" dirty="0"/>
              <a:t>Decreasing albumin levels</a:t>
            </a:r>
          </a:p>
          <a:p>
            <a:pPr lvl="2">
              <a:spcBef>
                <a:spcPts val="500"/>
              </a:spcBef>
            </a:pPr>
            <a:r>
              <a:rPr lang="en-US" noProof="0" dirty="0"/>
              <a:t>Increasing LDL cholesterol levels</a:t>
            </a:r>
          </a:p>
        </p:txBody>
      </p:sp>
      <p:grpSp>
        <p:nvGrpSpPr>
          <p:cNvPr id="2" name="Group 1">
            <a:extLst>
              <a:ext uri="{FF2B5EF4-FFF2-40B4-BE49-F238E27FC236}">
                <a16:creationId xmlns:a16="http://schemas.microsoft.com/office/drawing/2014/main" id="{FC647537-AA11-696A-AC68-866FC01E3D98}"/>
              </a:ext>
            </a:extLst>
          </p:cNvPr>
          <p:cNvGrpSpPr/>
          <p:nvPr/>
        </p:nvGrpSpPr>
        <p:grpSpPr>
          <a:xfrm>
            <a:off x="6545978" y="674880"/>
            <a:ext cx="5754240" cy="289396"/>
            <a:chOff x="6552779" y="3169554"/>
            <a:chExt cx="2545412" cy="128016"/>
          </a:xfrm>
        </p:grpSpPr>
        <p:sp>
          <p:nvSpPr>
            <p:cNvPr id="5" name="TextBox 4">
              <a:extLst>
                <a:ext uri="{FF2B5EF4-FFF2-40B4-BE49-F238E27FC236}">
                  <a16:creationId xmlns:a16="http://schemas.microsoft.com/office/drawing/2014/main" id="{9019B008-0D4A-9696-3D17-46CB07ADA5B1}"/>
                </a:ext>
              </a:extLst>
            </p:cNvPr>
            <p:cNvSpPr txBox="1"/>
            <p:nvPr/>
          </p:nvSpPr>
          <p:spPr>
            <a:xfrm>
              <a:off x="6671695" y="3177274"/>
              <a:ext cx="2426496" cy="114363"/>
            </a:xfrm>
            <a:prstGeom prst="rect">
              <a:avLst/>
            </a:prstGeom>
            <a:noFill/>
          </p:spPr>
          <p:txBody>
            <a:bodyPr wrap="square" lIns="91440" tIns="45720" rIns="91440" bIns="45720" anchor="t">
              <a:spAutoFit/>
            </a:bodyPr>
            <a:lstStyle/>
            <a:p>
              <a:pPr lvl="0">
                <a:lnSpc>
                  <a:spcPct val="90000"/>
                </a:lnSpc>
                <a:defRPr/>
              </a:pPr>
              <a:r>
                <a:rPr lang="en-GB" sz="1200" b="1" kern="0" noProof="0">
                  <a:solidFill>
                    <a:prstClr val="white"/>
                  </a:solidFill>
                </a:rPr>
                <a:t>Efgartigimod and IgG are internalized into the cell</a:t>
              </a:r>
            </a:p>
          </p:txBody>
        </p:sp>
        <p:sp>
          <p:nvSpPr>
            <p:cNvPr id="10" name="Oval 9">
              <a:extLst>
                <a:ext uri="{FF2B5EF4-FFF2-40B4-BE49-F238E27FC236}">
                  <a16:creationId xmlns:a16="http://schemas.microsoft.com/office/drawing/2014/main" id="{53CF5C0C-E82B-19FA-0653-CBBA6E915898}"/>
                </a:ext>
              </a:extLst>
            </p:cNvPr>
            <p:cNvSpPr/>
            <p:nvPr/>
          </p:nvSpPr>
          <p:spPr>
            <a:xfrm>
              <a:off x="6552779" y="3169554"/>
              <a:ext cx="126378" cy="128016"/>
            </a:xfrm>
            <a:prstGeom prst="ellipse">
              <a:avLst/>
            </a:prstGeom>
            <a:solidFill>
              <a:sysClr val="window" lastClr="FFFFFF"/>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srgbClr val="3E496D"/>
                  </a:solidFill>
                  <a:effectLst/>
                  <a:uLnTx/>
                  <a:uFillTx/>
                  <a:latin typeface="Calibri" panose="020F0502020204030204"/>
                  <a:ea typeface="+mn-ea"/>
                  <a:cs typeface="+mn-cs"/>
                </a:rPr>
                <a:t>1</a:t>
              </a:r>
            </a:p>
          </p:txBody>
        </p:sp>
      </p:grpSp>
      <p:grpSp>
        <p:nvGrpSpPr>
          <p:cNvPr id="14" name="Group 13">
            <a:extLst>
              <a:ext uri="{FF2B5EF4-FFF2-40B4-BE49-F238E27FC236}">
                <a16:creationId xmlns:a16="http://schemas.microsoft.com/office/drawing/2014/main" id="{062D3CA1-3D14-0310-3722-A769D25B15C5}"/>
              </a:ext>
            </a:extLst>
          </p:cNvPr>
          <p:cNvGrpSpPr/>
          <p:nvPr/>
        </p:nvGrpSpPr>
        <p:grpSpPr>
          <a:xfrm>
            <a:off x="6549114" y="1160441"/>
            <a:ext cx="5443855" cy="590932"/>
            <a:chOff x="6552778" y="3390122"/>
            <a:chExt cx="2408111" cy="261400"/>
          </a:xfrm>
        </p:grpSpPr>
        <p:sp>
          <p:nvSpPr>
            <p:cNvPr id="34" name="TextBox 33">
              <a:extLst>
                <a:ext uri="{FF2B5EF4-FFF2-40B4-BE49-F238E27FC236}">
                  <a16:creationId xmlns:a16="http://schemas.microsoft.com/office/drawing/2014/main" id="{A1AFF6D3-ED7A-3516-01D5-5AE73CE1C4EF}"/>
                </a:ext>
              </a:extLst>
            </p:cNvPr>
            <p:cNvSpPr txBox="1"/>
            <p:nvPr/>
          </p:nvSpPr>
          <p:spPr>
            <a:xfrm>
              <a:off x="6677769" y="3390122"/>
              <a:ext cx="2283120" cy="261400"/>
            </a:xfrm>
            <a:prstGeom prst="rect">
              <a:avLst/>
            </a:prstGeom>
            <a:noFill/>
          </p:spPr>
          <p:txBody>
            <a:bodyPr wrap="square" lIns="91440" tIns="45720" rIns="91440" bIns="45720" anchor="t">
              <a:spAutoFit/>
            </a:bodyPr>
            <a:lstStyle/>
            <a:p>
              <a:pPr>
                <a:lnSpc>
                  <a:spcPct val="90000"/>
                </a:lnSpc>
              </a:pPr>
              <a:r>
                <a:rPr lang="en-US" sz="1200" b="1" kern="0" noProof="0">
                  <a:solidFill>
                    <a:prstClr val="white"/>
                  </a:solidFill>
                  <a:ea typeface="Calibri"/>
                  <a:cs typeface="Calibri"/>
                </a:rPr>
                <a:t>Efgartigimod outcompetes endogenous IgG antibodies and pathogenic autoantibodies for binding to FcRn, due to increased affinity to FcRn. </a:t>
              </a:r>
              <a:br>
                <a:rPr lang="en-US" sz="1200" b="1" kern="0" noProof="0">
                  <a:solidFill>
                    <a:prstClr val="white"/>
                  </a:solidFill>
                  <a:ea typeface="Calibri"/>
                  <a:cs typeface="Calibri"/>
                </a:rPr>
              </a:br>
              <a:r>
                <a:rPr lang="en-US" sz="1200" b="1" kern="0" noProof="0">
                  <a:solidFill>
                    <a:prstClr val="white"/>
                  </a:solidFill>
                  <a:ea typeface="Calibri"/>
                  <a:cs typeface="Calibri"/>
                </a:rPr>
                <a:t>When bound to FcRn, efgartigimod and IgG escape lysosomal degradation</a:t>
              </a:r>
            </a:p>
          </p:txBody>
        </p:sp>
        <p:sp>
          <p:nvSpPr>
            <p:cNvPr id="35" name="Oval 34">
              <a:extLst>
                <a:ext uri="{FF2B5EF4-FFF2-40B4-BE49-F238E27FC236}">
                  <a16:creationId xmlns:a16="http://schemas.microsoft.com/office/drawing/2014/main" id="{55159505-76F8-AAE8-F6CC-D5CF03A7D825}"/>
                </a:ext>
              </a:extLst>
            </p:cNvPr>
            <p:cNvSpPr/>
            <p:nvPr/>
          </p:nvSpPr>
          <p:spPr>
            <a:xfrm>
              <a:off x="6552778" y="3453063"/>
              <a:ext cx="126378" cy="128016"/>
            </a:xfrm>
            <a:prstGeom prst="ellipse">
              <a:avLst/>
            </a:prstGeom>
            <a:solidFill>
              <a:sysClr val="window" lastClr="FFFFFF"/>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srgbClr val="3E496D"/>
                  </a:solidFill>
                  <a:effectLst/>
                  <a:uLnTx/>
                  <a:uFillTx/>
                  <a:latin typeface="Calibri" panose="020F0502020204030204"/>
                  <a:ea typeface="+mn-ea"/>
                  <a:cs typeface="+mn-cs"/>
                </a:rPr>
                <a:t>2</a:t>
              </a:r>
            </a:p>
          </p:txBody>
        </p:sp>
      </p:grpSp>
      <p:grpSp>
        <p:nvGrpSpPr>
          <p:cNvPr id="36" name="Group 35">
            <a:extLst>
              <a:ext uri="{FF2B5EF4-FFF2-40B4-BE49-F238E27FC236}">
                <a16:creationId xmlns:a16="http://schemas.microsoft.com/office/drawing/2014/main" id="{BC2D4BE8-6998-0EA8-F1BD-72915C4FFADB}"/>
              </a:ext>
            </a:extLst>
          </p:cNvPr>
          <p:cNvGrpSpPr/>
          <p:nvPr/>
        </p:nvGrpSpPr>
        <p:grpSpPr>
          <a:xfrm>
            <a:off x="6549118" y="1930588"/>
            <a:ext cx="5286217" cy="293717"/>
            <a:chOff x="6552778" y="3826297"/>
            <a:chExt cx="2338379" cy="129926"/>
          </a:xfrm>
        </p:grpSpPr>
        <p:sp>
          <p:nvSpPr>
            <p:cNvPr id="37" name="TextBox 36">
              <a:extLst>
                <a:ext uri="{FF2B5EF4-FFF2-40B4-BE49-F238E27FC236}">
                  <a16:creationId xmlns:a16="http://schemas.microsoft.com/office/drawing/2014/main" id="{3461ED44-D3EE-0D92-D900-DDAACD30D6EC}"/>
                </a:ext>
              </a:extLst>
            </p:cNvPr>
            <p:cNvSpPr txBox="1"/>
            <p:nvPr/>
          </p:nvSpPr>
          <p:spPr>
            <a:xfrm>
              <a:off x="6677767" y="3841861"/>
              <a:ext cx="2213390" cy="114362"/>
            </a:xfrm>
            <a:prstGeom prst="rect">
              <a:avLst/>
            </a:prstGeom>
            <a:noFill/>
          </p:spPr>
          <p:txBody>
            <a:bodyPr wrap="square">
              <a:spAutoFit/>
            </a:bodyPr>
            <a:lstStyle/>
            <a:p>
              <a:pPr lvl="0">
                <a:lnSpc>
                  <a:spcPct val="90000"/>
                </a:lnSpc>
                <a:defRPr/>
              </a:pPr>
              <a:r>
                <a:rPr lang="en-GB" sz="1200" b="1" kern="0" noProof="0">
                  <a:solidFill>
                    <a:prstClr val="white"/>
                  </a:solidFill>
                </a:rPr>
                <a:t>Unbound IgG and efgartigimod are degraded in the lysosome</a:t>
              </a:r>
            </a:p>
          </p:txBody>
        </p:sp>
        <p:sp>
          <p:nvSpPr>
            <p:cNvPr id="38" name="Oval 37">
              <a:extLst>
                <a:ext uri="{FF2B5EF4-FFF2-40B4-BE49-F238E27FC236}">
                  <a16:creationId xmlns:a16="http://schemas.microsoft.com/office/drawing/2014/main" id="{7B9B3B54-E709-2145-57B5-A3CFFD9C32D8}"/>
                </a:ext>
              </a:extLst>
            </p:cNvPr>
            <p:cNvSpPr/>
            <p:nvPr/>
          </p:nvSpPr>
          <p:spPr>
            <a:xfrm>
              <a:off x="6552778" y="3826297"/>
              <a:ext cx="126378" cy="128016"/>
            </a:xfrm>
            <a:prstGeom prst="ellipse">
              <a:avLst/>
            </a:prstGeom>
            <a:solidFill>
              <a:sysClr val="window" lastClr="FFFFFF"/>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srgbClr val="3E496D"/>
                  </a:solidFill>
                  <a:effectLst/>
                  <a:uLnTx/>
                  <a:uFillTx/>
                  <a:latin typeface="Calibri" panose="020F0502020204030204"/>
                  <a:ea typeface="+mn-ea"/>
                  <a:cs typeface="+mn-cs"/>
                </a:rPr>
                <a:t>3</a:t>
              </a:r>
            </a:p>
          </p:txBody>
        </p:sp>
      </p:grpSp>
      <p:grpSp>
        <p:nvGrpSpPr>
          <p:cNvPr id="39" name="Group 38">
            <a:extLst>
              <a:ext uri="{FF2B5EF4-FFF2-40B4-BE49-F238E27FC236}">
                <a16:creationId xmlns:a16="http://schemas.microsoft.com/office/drawing/2014/main" id="{8FB19552-56DC-7698-DBAD-DAA1D944712F}"/>
              </a:ext>
            </a:extLst>
          </p:cNvPr>
          <p:cNvGrpSpPr/>
          <p:nvPr/>
        </p:nvGrpSpPr>
        <p:grpSpPr>
          <a:xfrm>
            <a:off x="6562434" y="2544318"/>
            <a:ext cx="5430535" cy="289398"/>
            <a:chOff x="6579740" y="2088232"/>
            <a:chExt cx="5430535" cy="289398"/>
          </a:xfrm>
        </p:grpSpPr>
        <p:sp>
          <p:nvSpPr>
            <p:cNvPr id="40" name="TextBox 39">
              <a:extLst>
                <a:ext uri="{FF2B5EF4-FFF2-40B4-BE49-F238E27FC236}">
                  <a16:creationId xmlns:a16="http://schemas.microsoft.com/office/drawing/2014/main" id="{30FF5ADE-4CEE-0F1F-D8CE-65A971EDD0BF}"/>
                </a:ext>
              </a:extLst>
            </p:cNvPr>
            <p:cNvSpPr txBox="1"/>
            <p:nvPr/>
          </p:nvSpPr>
          <p:spPr>
            <a:xfrm>
              <a:off x="6852118" y="2112322"/>
              <a:ext cx="5158157" cy="258532"/>
            </a:xfrm>
            <a:prstGeom prst="rect">
              <a:avLst/>
            </a:prstGeom>
            <a:noFill/>
          </p:spPr>
          <p:txBody>
            <a:bodyPr wrap="square">
              <a:spAutoFit/>
            </a:bodyPr>
            <a:lstStyle/>
            <a:p>
              <a:pPr lvl="0">
                <a:lnSpc>
                  <a:spcPct val="90000"/>
                </a:lnSpc>
                <a:defRPr/>
              </a:pPr>
              <a:r>
                <a:rPr lang="en-GB" sz="1200" b="1" kern="0" noProof="0">
                  <a:solidFill>
                    <a:prstClr val="white"/>
                  </a:solidFill>
                </a:rPr>
                <a:t>FcRn-bound efgartigimod and fewer IgG are recycled back into circulation</a:t>
              </a:r>
            </a:p>
          </p:txBody>
        </p:sp>
        <p:sp>
          <p:nvSpPr>
            <p:cNvPr id="42" name="Oval 41">
              <a:extLst>
                <a:ext uri="{FF2B5EF4-FFF2-40B4-BE49-F238E27FC236}">
                  <a16:creationId xmlns:a16="http://schemas.microsoft.com/office/drawing/2014/main" id="{B49464AE-4A2D-EC5D-D2FC-4789E3641E8F}"/>
                </a:ext>
              </a:extLst>
            </p:cNvPr>
            <p:cNvSpPr/>
            <p:nvPr/>
          </p:nvSpPr>
          <p:spPr>
            <a:xfrm>
              <a:off x="6579740" y="2088232"/>
              <a:ext cx="285694" cy="289398"/>
            </a:xfrm>
            <a:prstGeom prst="ellipse">
              <a:avLst/>
            </a:prstGeom>
            <a:solidFill>
              <a:sysClr val="window" lastClr="FFFFFF"/>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srgbClr val="3E496D"/>
                  </a:solidFill>
                  <a:effectLst/>
                  <a:uLnTx/>
                  <a:uFillTx/>
                  <a:latin typeface="Calibri" panose="020F0502020204030204"/>
                  <a:ea typeface="+mn-ea"/>
                  <a:cs typeface="+mn-cs"/>
                </a:rPr>
                <a:t>4</a:t>
              </a:r>
            </a:p>
          </p:txBody>
        </p:sp>
      </p:grpSp>
      <p:pic>
        <p:nvPicPr>
          <p:cNvPr id="43" name="Picture 42">
            <a:extLst>
              <a:ext uri="{FF2B5EF4-FFF2-40B4-BE49-F238E27FC236}">
                <a16:creationId xmlns:a16="http://schemas.microsoft.com/office/drawing/2014/main" id="{2F61BF9A-3190-5A20-2B01-853FE74AA61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952145" y="3348081"/>
            <a:ext cx="6239855" cy="3509919"/>
          </a:xfrm>
          <a:prstGeom prst="roundRect">
            <a:avLst>
              <a:gd name="adj" fmla="val 0"/>
            </a:avLst>
          </a:prstGeom>
        </p:spPr>
      </p:pic>
      <p:grpSp>
        <p:nvGrpSpPr>
          <p:cNvPr id="44" name="Group 43">
            <a:extLst>
              <a:ext uri="{FF2B5EF4-FFF2-40B4-BE49-F238E27FC236}">
                <a16:creationId xmlns:a16="http://schemas.microsoft.com/office/drawing/2014/main" id="{DA69CC3D-1E56-08C5-A726-BFD2E2174597}"/>
              </a:ext>
            </a:extLst>
          </p:cNvPr>
          <p:cNvGrpSpPr/>
          <p:nvPr/>
        </p:nvGrpSpPr>
        <p:grpSpPr>
          <a:xfrm>
            <a:off x="6312679" y="3080310"/>
            <a:ext cx="761814" cy="2354119"/>
            <a:chOff x="6239856" y="3507030"/>
            <a:chExt cx="761814" cy="2354119"/>
          </a:xfrm>
        </p:grpSpPr>
        <p:grpSp>
          <p:nvGrpSpPr>
            <p:cNvPr id="45" name="Group 44">
              <a:extLst>
                <a:ext uri="{FF2B5EF4-FFF2-40B4-BE49-F238E27FC236}">
                  <a16:creationId xmlns:a16="http://schemas.microsoft.com/office/drawing/2014/main" id="{72EDBB8B-0C17-4820-4796-0CF018D2EF3F}"/>
                </a:ext>
              </a:extLst>
            </p:cNvPr>
            <p:cNvGrpSpPr/>
            <p:nvPr/>
          </p:nvGrpSpPr>
          <p:grpSpPr>
            <a:xfrm>
              <a:off x="6239856" y="3507030"/>
              <a:ext cx="761814" cy="431700"/>
              <a:chOff x="6239856" y="3507030"/>
              <a:chExt cx="761814" cy="431700"/>
            </a:xfrm>
          </p:grpSpPr>
          <p:pic>
            <p:nvPicPr>
              <p:cNvPr id="55" name="Picture 54" descr="A yellow vest with a black stripe&#10;&#10;Description automatically generated">
                <a:extLst>
                  <a:ext uri="{FF2B5EF4-FFF2-40B4-BE49-F238E27FC236}">
                    <a16:creationId xmlns:a16="http://schemas.microsoft.com/office/drawing/2014/main" id="{3F1ECE47-3D44-11AB-2370-6F1D923E27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40922" y="3507030"/>
                <a:ext cx="159683" cy="263783"/>
              </a:xfrm>
              <a:prstGeom prst="rect">
                <a:avLst/>
              </a:prstGeom>
            </p:spPr>
          </p:pic>
          <p:sp>
            <p:nvSpPr>
              <p:cNvPr id="56" name="TextBox 55">
                <a:extLst>
                  <a:ext uri="{FF2B5EF4-FFF2-40B4-BE49-F238E27FC236}">
                    <a16:creationId xmlns:a16="http://schemas.microsoft.com/office/drawing/2014/main" id="{ECE1A937-94B1-09AE-9B64-E0636EE84D42}"/>
                  </a:ext>
                </a:extLst>
              </p:cNvPr>
              <p:cNvSpPr txBox="1"/>
              <p:nvPr/>
            </p:nvSpPr>
            <p:spPr>
              <a:xfrm>
                <a:off x="6239856" y="3764317"/>
                <a:ext cx="761814" cy="174413"/>
              </a:xfrm>
              <a:prstGeom prst="rect">
                <a:avLst/>
              </a:prstGeom>
              <a:noFill/>
            </p:spPr>
            <p:txBody>
              <a:bodyPr wrap="square" lIns="0" tIns="36000" rIns="0" bIns="3600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0" cap="none" spc="0" normalizeH="0" baseline="0" noProof="0">
                    <a:ln>
                      <a:noFill/>
                    </a:ln>
                    <a:solidFill>
                      <a:schemeClr val="bg1"/>
                    </a:solidFill>
                    <a:effectLst/>
                    <a:uLnTx/>
                    <a:uFillTx/>
                    <a:latin typeface="Calibri" panose="020F0502020204030204"/>
                    <a:ea typeface="+mn-ea"/>
                    <a:cs typeface="+mn-cs"/>
                  </a:rPr>
                  <a:t>Efgartigimod</a:t>
                </a:r>
              </a:p>
            </p:txBody>
          </p:sp>
        </p:grpSp>
        <p:grpSp>
          <p:nvGrpSpPr>
            <p:cNvPr id="46" name="Group 45">
              <a:extLst>
                <a:ext uri="{FF2B5EF4-FFF2-40B4-BE49-F238E27FC236}">
                  <a16:creationId xmlns:a16="http://schemas.microsoft.com/office/drawing/2014/main" id="{1D92D3E0-2420-2570-555F-8A187CCDFA88}"/>
                </a:ext>
              </a:extLst>
            </p:cNvPr>
            <p:cNvGrpSpPr/>
            <p:nvPr/>
          </p:nvGrpSpPr>
          <p:grpSpPr>
            <a:xfrm>
              <a:off x="6239856" y="5447465"/>
              <a:ext cx="761814" cy="413684"/>
              <a:chOff x="6239856" y="5447465"/>
              <a:chExt cx="761814" cy="413684"/>
            </a:xfrm>
          </p:grpSpPr>
          <p:pic>
            <p:nvPicPr>
              <p:cNvPr id="53" name="Picture 52" descr="A blue and white logo&#10;&#10;Description automatically generated with medium confidence">
                <a:extLst>
                  <a:ext uri="{FF2B5EF4-FFF2-40B4-BE49-F238E27FC236}">
                    <a16:creationId xmlns:a16="http://schemas.microsoft.com/office/drawing/2014/main" id="{37567661-3B35-E5A1-85CA-0F5EE46D15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19850" y="5447465"/>
                <a:ext cx="398777" cy="245930"/>
              </a:xfrm>
              <a:prstGeom prst="rect">
                <a:avLst/>
              </a:prstGeom>
            </p:spPr>
          </p:pic>
          <p:sp>
            <p:nvSpPr>
              <p:cNvPr id="54" name="TextBox 53">
                <a:extLst>
                  <a:ext uri="{FF2B5EF4-FFF2-40B4-BE49-F238E27FC236}">
                    <a16:creationId xmlns:a16="http://schemas.microsoft.com/office/drawing/2014/main" id="{29255B9D-6964-81AF-F4CB-C4162EB7EAF4}"/>
                  </a:ext>
                </a:extLst>
              </p:cNvPr>
              <p:cNvSpPr txBox="1"/>
              <p:nvPr/>
            </p:nvSpPr>
            <p:spPr>
              <a:xfrm>
                <a:off x="6239856" y="5686736"/>
                <a:ext cx="761814" cy="174413"/>
              </a:xfrm>
              <a:prstGeom prst="rect">
                <a:avLst/>
              </a:prstGeom>
              <a:noFill/>
            </p:spPr>
            <p:txBody>
              <a:bodyPr wrap="square" lIns="0" tIns="36000" rIns="0" bIns="3600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0" cap="none" spc="0" normalizeH="0" baseline="0" noProof="0">
                    <a:ln>
                      <a:noFill/>
                    </a:ln>
                    <a:solidFill>
                      <a:schemeClr val="bg1"/>
                    </a:solidFill>
                    <a:effectLst/>
                    <a:uLnTx/>
                    <a:uFillTx/>
                    <a:latin typeface="Calibri" panose="020F0502020204030204"/>
                    <a:ea typeface="+mn-ea"/>
                    <a:cs typeface="+mn-cs"/>
                  </a:rPr>
                  <a:t>FcRn</a:t>
                </a:r>
              </a:p>
            </p:txBody>
          </p:sp>
        </p:grpSp>
        <p:grpSp>
          <p:nvGrpSpPr>
            <p:cNvPr id="47" name="Group 46">
              <a:extLst>
                <a:ext uri="{FF2B5EF4-FFF2-40B4-BE49-F238E27FC236}">
                  <a16:creationId xmlns:a16="http://schemas.microsoft.com/office/drawing/2014/main" id="{71717DF5-2DE5-800E-492F-0E5F6B462CA7}"/>
                </a:ext>
              </a:extLst>
            </p:cNvPr>
            <p:cNvGrpSpPr/>
            <p:nvPr/>
          </p:nvGrpSpPr>
          <p:grpSpPr>
            <a:xfrm>
              <a:off x="6350150" y="4741705"/>
              <a:ext cx="541226" cy="556092"/>
              <a:chOff x="6350150" y="4741705"/>
              <a:chExt cx="541226" cy="556092"/>
            </a:xfrm>
          </p:grpSpPr>
          <p:pic>
            <p:nvPicPr>
              <p:cNvPr id="51" name="Picture 50" descr="A pink and black logo&#10;&#10;Description automatically generated with medium confidence">
                <a:extLst>
                  <a:ext uri="{FF2B5EF4-FFF2-40B4-BE49-F238E27FC236}">
                    <a16:creationId xmlns:a16="http://schemas.microsoft.com/office/drawing/2014/main" id="{E4A07BF7-6448-1D75-D4FC-218F79D211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2448" y="4741705"/>
                <a:ext cx="242227" cy="324558"/>
              </a:xfrm>
              <a:prstGeom prst="rect">
                <a:avLst/>
              </a:prstGeom>
            </p:spPr>
          </p:pic>
          <p:sp>
            <p:nvSpPr>
              <p:cNvPr id="52" name="TextBox 51">
                <a:extLst>
                  <a:ext uri="{FF2B5EF4-FFF2-40B4-BE49-F238E27FC236}">
                    <a16:creationId xmlns:a16="http://schemas.microsoft.com/office/drawing/2014/main" id="{71F659A5-5FF0-DDB1-1A11-F0232C6A879E}"/>
                  </a:ext>
                </a:extLst>
              </p:cNvPr>
              <p:cNvSpPr txBox="1"/>
              <p:nvPr/>
            </p:nvSpPr>
            <p:spPr>
              <a:xfrm>
                <a:off x="6350150" y="5123384"/>
                <a:ext cx="541226" cy="174413"/>
              </a:xfrm>
              <a:prstGeom prst="rect">
                <a:avLst/>
              </a:prstGeom>
              <a:noFill/>
            </p:spPr>
            <p:txBody>
              <a:bodyPr wrap="none" lIns="0" tIns="36000" rIns="0" bIns="3600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0" cap="none" spc="0" normalizeH="0" baseline="0" noProof="0">
                    <a:ln>
                      <a:noFill/>
                    </a:ln>
                    <a:solidFill>
                      <a:schemeClr val="bg1"/>
                    </a:solidFill>
                    <a:effectLst/>
                    <a:uLnTx/>
                    <a:uFillTx/>
                    <a:latin typeface="Calibri" panose="020F0502020204030204"/>
                    <a:ea typeface="+mn-ea"/>
                    <a:cs typeface="+mn-cs"/>
                  </a:rPr>
                  <a:t>IgG </a:t>
                </a:r>
                <a:br>
                  <a:rPr kumimoji="0" lang="en-US" sz="700" b="0" i="0" u="none" strike="noStrike" kern="0" cap="none" spc="0" normalizeH="0" baseline="0" noProof="0">
                    <a:ln>
                      <a:noFill/>
                    </a:ln>
                    <a:solidFill>
                      <a:schemeClr val="bg1"/>
                    </a:solidFill>
                    <a:effectLst/>
                    <a:uLnTx/>
                    <a:uFillTx/>
                    <a:latin typeface="Calibri" panose="020F0502020204030204"/>
                    <a:ea typeface="+mn-ea"/>
                    <a:cs typeface="+mn-cs"/>
                  </a:rPr>
                </a:br>
                <a:r>
                  <a:rPr kumimoji="0" lang="en-US" sz="700" b="0" i="0" u="none" strike="noStrike" kern="0" cap="none" spc="0" normalizeH="0" baseline="0" noProof="0">
                    <a:ln>
                      <a:noFill/>
                    </a:ln>
                    <a:solidFill>
                      <a:schemeClr val="bg1"/>
                    </a:solidFill>
                    <a:effectLst/>
                    <a:uLnTx/>
                    <a:uFillTx/>
                    <a:latin typeface="Calibri" panose="020F0502020204030204"/>
                    <a:ea typeface="+mn-ea"/>
                    <a:cs typeface="+mn-cs"/>
                  </a:rPr>
                  <a:t>autoantibodies</a:t>
                </a:r>
              </a:p>
            </p:txBody>
          </p:sp>
        </p:grpSp>
        <p:grpSp>
          <p:nvGrpSpPr>
            <p:cNvPr id="48" name="Group 47">
              <a:extLst>
                <a:ext uri="{FF2B5EF4-FFF2-40B4-BE49-F238E27FC236}">
                  <a16:creationId xmlns:a16="http://schemas.microsoft.com/office/drawing/2014/main" id="{B8CAA618-7AA3-DA4E-6F40-2E58DA98B3B6}"/>
                </a:ext>
              </a:extLst>
            </p:cNvPr>
            <p:cNvGrpSpPr/>
            <p:nvPr/>
          </p:nvGrpSpPr>
          <p:grpSpPr>
            <a:xfrm>
              <a:off x="6331595" y="4023775"/>
              <a:ext cx="578336" cy="557413"/>
              <a:chOff x="6331595" y="4023775"/>
              <a:chExt cx="578336" cy="557413"/>
            </a:xfrm>
          </p:grpSpPr>
          <p:pic>
            <p:nvPicPr>
              <p:cNvPr id="49" name="Picture 48" descr="A blue and purple logo&#10;&#10;Description automatically generated with medium confidence">
                <a:extLst>
                  <a:ext uri="{FF2B5EF4-FFF2-40B4-BE49-F238E27FC236}">
                    <a16:creationId xmlns:a16="http://schemas.microsoft.com/office/drawing/2014/main" id="{04AEE2CA-D5BE-ED00-E620-0755BAAC550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99648" y="4023775"/>
                <a:ext cx="242227" cy="324558"/>
              </a:xfrm>
              <a:prstGeom prst="rect">
                <a:avLst/>
              </a:prstGeom>
            </p:spPr>
          </p:pic>
          <p:sp>
            <p:nvSpPr>
              <p:cNvPr id="50" name="TextBox 49">
                <a:extLst>
                  <a:ext uri="{FF2B5EF4-FFF2-40B4-BE49-F238E27FC236}">
                    <a16:creationId xmlns:a16="http://schemas.microsoft.com/office/drawing/2014/main" id="{84328376-5A31-E145-3546-5019A67BBDD2}"/>
                  </a:ext>
                </a:extLst>
              </p:cNvPr>
              <p:cNvSpPr txBox="1"/>
              <p:nvPr/>
            </p:nvSpPr>
            <p:spPr>
              <a:xfrm>
                <a:off x="6331595" y="4406775"/>
                <a:ext cx="578336" cy="174413"/>
              </a:xfrm>
              <a:prstGeom prst="rect">
                <a:avLst/>
              </a:prstGeom>
              <a:noFill/>
            </p:spPr>
            <p:txBody>
              <a:bodyPr wrap="none" lIns="0" tIns="36000" rIns="0" bIns="3600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0" cap="none" spc="0" normalizeH="0" baseline="0" noProof="0">
                    <a:ln>
                      <a:noFill/>
                    </a:ln>
                    <a:solidFill>
                      <a:schemeClr val="bg1"/>
                    </a:solidFill>
                    <a:effectLst/>
                    <a:uLnTx/>
                    <a:uFillTx/>
                    <a:latin typeface="Calibri" panose="020F0502020204030204"/>
                    <a:ea typeface="+mn-ea"/>
                    <a:cs typeface="+mn-cs"/>
                  </a:rPr>
                  <a:t>IgG </a:t>
                </a:r>
                <a:br>
                  <a:rPr kumimoji="0" lang="en-US" sz="700" b="0" i="0" u="none" strike="noStrike" kern="0" cap="none" spc="0" normalizeH="0" baseline="0" noProof="0">
                    <a:ln>
                      <a:noFill/>
                    </a:ln>
                    <a:solidFill>
                      <a:schemeClr val="bg1"/>
                    </a:solidFill>
                    <a:effectLst/>
                    <a:uLnTx/>
                    <a:uFillTx/>
                    <a:latin typeface="Calibri" panose="020F0502020204030204"/>
                    <a:ea typeface="+mn-ea"/>
                    <a:cs typeface="+mn-cs"/>
                  </a:rPr>
                </a:br>
                <a:r>
                  <a:rPr kumimoji="0" lang="en-US" sz="700" b="0" i="0" u="none" strike="noStrike" kern="0" cap="none" spc="0" normalizeH="0" baseline="0" noProof="0">
                    <a:ln>
                      <a:noFill/>
                    </a:ln>
                    <a:solidFill>
                      <a:schemeClr val="bg1"/>
                    </a:solidFill>
                    <a:effectLst/>
                    <a:uLnTx/>
                    <a:uFillTx/>
                    <a:latin typeface="Calibri" panose="020F0502020204030204"/>
                    <a:ea typeface="+mn-ea"/>
                    <a:cs typeface="+mn-cs"/>
                  </a:rPr>
                  <a:t>antibodies</a:t>
                </a:r>
              </a:p>
            </p:txBody>
          </p:sp>
        </p:grpSp>
      </p:grpSp>
      <p:sp>
        <p:nvSpPr>
          <p:cNvPr id="57" name="bg object 16">
            <a:extLst>
              <a:ext uri="{FF2B5EF4-FFF2-40B4-BE49-F238E27FC236}">
                <a16:creationId xmlns:a16="http://schemas.microsoft.com/office/drawing/2014/main" id="{B6CF0BFB-E875-C6B9-060C-90F19B8798EB}"/>
              </a:ext>
            </a:extLst>
          </p:cNvPr>
          <p:cNvSpPr/>
          <p:nvPr/>
        </p:nvSpPr>
        <p:spPr>
          <a:xfrm>
            <a:off x="6374758" y="189436"/>
            <a:ext cx="5269895" cy="314185"/>
          </a:xfrm>
          <a:prstGeom prst="rect">
            <a:avLst/>
          </a:prstGeom>
          <a:noFill/>
          <a:ln w="6350">
            <a:noFill/>
          </a:ln>
        </p:spPr>
        <p:txBody>
          <a:bodyPr wrap="square"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Calibri" panose="020F0502020204030204"/>
                <a:ea typeface="+mn-ea"/>
                <a:cs typeface="+mn-cs"/>
              </a:rPr>
              <a:t>Efgartigimod Mechanism of Action</a:t>
            </a:r>
            <a:r>
              <a:rPr kumimoji="0" lang="en-US" sz="1600" b="1" i="0" u="none" strike="noStrike" kern="0" cap="none" spc="0" normalizeH="0" baseline="30000" noProof="0">
                <a:ln>
                  <a:noFill/>
                </a:ln>
                <a:solidFill>
                  <a:srgbClr val="FFFFFF"/>
                </a:solidFill>
                <a:effectLst/>
                <a:uLnTx/>
                <a:uFillTx/>
                <a:latin typeface="Calibri" panose="020F0502020204030204"/>
                <a:ea typeface="+mn-ea"/>
                <a:cs typeface="+mn-cs"/>
              </a:rPr>
              <a:t>1,3,4</a:t>
            </a:r>
            <a:endParaRPr kumimoji="0" lang="en-GB" sz="1600" b="1" i="0" u="none" strike="noStrike" kern="0" cap="none" spc="0" normalizeH="0" baseline="3000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6555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065CF-0244-0B35-9C25-B81933893567}"/>
            </a:ext>
          </a:extLst>
        </p:cNvPr>
        <p:cNvGrpSpPr/>
        <p:nvPr/>
      </p:nvGrpSpPr>
      <p:grpSpPr>
        <a:xfrm>
          <a:off x="0" y="0"/>
          <a:ext cx="0" cy="0"/>
          <a:chOff x="0" y="0"/>
          <a:chExt cx="0" cy="0"/>
        </a:xfrm>
      </p:grpSpPr>
      <p:sp>
        <p:nvSpPr>
          <p:cNvPr id="20" name="Footer Placeholder 19">
            <a:extLst>
              <a:ext uri="{FF2B5EF4-FFF2-40B4-BE49-F238E27FC236}">
                <a16:creationId xmlns:a16="http://schemas.microsoft.com/office/drawing/2014/main" id="{7471995B-F46B-5E03-39FB-2E3493A3DE8C}"/>
              </a:ext>
            </a:extLst>
          </p:cNvPr>
          <p:cNvSpPr>
            <a:spLocks noGrp="1"/>
          </p:cNvSpPr>
          <p:nvPr>
            <p:ph type="ftr" sz="quarter" idx="11"/>
          </p:nvPr>
        </p:nvSpPr>
        <p:spPr>
          <a:xfrm>
            <a:off x="904874" y="6216040"/>
            <a:ext cx="10909035" cy="467820"/>
          </a:xfrm>
        </p:spPr>
        <p:txBody>
          <a:bodyPr/>
          <a:lstStyle/>
          <a:p>
            <a:r>
              <a:rPr lang="en-US" noProof="0" dirty="0" err="1">
                <a:solidFill>
                  <a:srgbClr val="5A5A5A"/>
                </a:solidFill>
              </a:rPr>
              <a:t>ASyS</a:t>
            </a:r>
            <a:r>
              <a:rPr lang="en-US" noProof="0" dirty="0">
                <a:solidFill>
                  <a:srgbClr val="5A5A5A"/>
                </a:solidFill>
              </a:rPr>
              <a:t>, anti-synthetase syndrome; DM, dermatomyositis; IIM, idiopathic inflammatory myopathy; IMNM, immune-mediated necrotizing myopathy; MDGA, </a:t>
            </a:r>
            <a:r>
              <a:rPr lang="en-GB" noProof="0" dirty="0">
                <a:solidFill>
                  <a:srgbClr val="5A5A5A"/>
                </a:solidFill>
              </a:rPr>
              <a:t>Medical Doctor (Physician) Global Assessment</a:t>
            </a:r>
            <a:r>
              <a:rPr lang="en-US" noProof="0" dirty="0">
                <a:solidFill>
                  <a:srgbClr val="5A5A5A"/>
                </a:solidFill>
              </a:rPr>
              <a:t>; OCS, oral corticosteroids; OLE, open-label extension; </a:t>
            </a:r>
            <a:br>
              <a:rPr lang="en-US" noProof="0" dirty="0">
                <a:solidFill>
                  <a:srgbClr val="5A5A5A"/>
                </a:solidFill>
              </a:rPr>
            </a:br>
            <a:r>
              <a:rPr lang="en-US" noProof="0" dirty="0">
                <a:solidFill>
                  <a:srgbClr val="5A5A5A"/>
                </a:solidFill>
              </a:rPr>
              <a:t>PH20, recombinant human hyaluronidase PH20; PM, polymyositis; R, randomization; SC, subcutaneous. </a:t>
            </a:r>
            <a:br>
              <a:rPr lang="en-US" noProof="0" dirty="0">
                <a:solidFill>
                  <a:srgbClr val="5A5A5A"/>
                </a:solidFill>
              </a:rPr>
            </a:br>
            <a:r>
              <a:rPr lang="en-US" noProof="0" dirty="0">
                <a:solidFill>
                  <a:srgbClr val="5A5A5A"/>
                </a:solidFill>
              </a:rPr>
              <a:t>*Phase 2 and phase 3 stages are independent cohorts. </a:t>
            </a:r>
            <a:r>
              <a:rPr lang="en-US" baseline="30000" noProof="0" dirty="0">
                <a:solidFill>
                  <a:srgbClr val="5A5A5A"/>
                </a:solidFill>
              </a:rPr>
              <a:t>†</a:t>
            </a:r>
            <a:r>
              <a:rPr lang="en-US" noProof="0" dirty="0">
                <a:solidFill>
                  <a:srgbClr val="5A5A5A"/>
                </a:solidFill>
              </a:rPr>
              <a:t>Efgartigimod </a:t>
            </a:r>
            <a:r>
              <a:rPr lang="en-US" noProof="0" dirty="0" err="1">
                <a:solidFill>
                  <a:srgbClr val="5A5A5A"/>
                </a:solidFill>
              </a:rPr>
              <a:t>coformulated</a:t>
            </a:r>
            <a:r>
              <a:rPr lang="en-US" noProof="0" dirty="0">
                <a:solidFill>
                  <a:srgbClr val="5A5A5A"/>
                </a:solidFill>
              </a:rPr>
              <a:t> with hyaluronidase PH20 for convenient SC administration in &lt;2 minutes. </a:t>
            </a:r>
            <a:r>
              <a:rPr lang="en-US" baseline="30000" noProof="0" dirty="0">
                <a:solidFill>
                  <a:srgbClr val="5A5A5A"/>
                </a:solidFill>
              </a:rPr>
              <a:t>‡</a:t>
            </a:r>
            <a:r>
              <a:rPr lang="en-US" noProof="0" dirty="0">
                <a:solidFill>
                  <a:srgbClr val="5A5A5A"/>
                </a:solidFill>
              </a:rPr>
              <a:t>Participants may receive OCS and/or up to 1 antimalarial or immunosuppressant.</a:t>
            </a:r>
            <a:br>
              <a:rPr lang="en-US" noProof="0" dirty="0">
                <a:solidFill>
                  <a:srgbClr val="5A5A5A"/>
                </a:solidFill>
              </a:rPr>
            </a:br>
            <a:r>
              <a:rPr lang="en-US" noProof="0" dirty="0">
                <a:solidFill>
                  <a:srgbClr val="5A5A5A"/>
                </a:solidFill>
              </a:rPr>
              <a:t>ClinicalTrials.gov Identifier: NCT05523167. https://www.clinicaltrials.gov/study/NCT05523167. Accessed October 2025.</a:t>
            </a:r>
          </a:p>
        </p:txBody>
      </p:sp>
      <p:sp>
        <p:nvSpPr>
          <p:cNvPr id="3" name="Slide Number Placeholder 2">
            <a:extLst>
              <a:ext uri="{FF2B5EF4-FFF2-40B4-BE49-F238E27FC236}">
                <a16:creationId xmlns:a16="http://schemas.microsoft.com/office/drawing/2014/main" id="{D438A7C6-3892-DD9A-82A7-EAFE60E7A1AE}"/>
              </a:ext>
            </a:extLst>
          </p:cNvPr>
          <p:cNvSpPr>
            <a:spLocks noGrp="1"/>
          </p:cNvSpPr>
          <p:nvPr>
            <p:ph type="sldNum" sz="quarter" idx="12"/>
          </p:nvPr>
        </p:nvSpPr>
        <p:spPr>
          <a:xfrm>
            <a:off x="361949" y="6409540"/>
            <a:ext cx="274320" cy="274320"/>
          </a:xfrm>
        </p:spPr>
        <p:txBody>
          <a:bodyPr/>
          <a:lstStyle/>
          <a:p>
            <a:fld id="{1916DDDD-2DB5-41B0-89CB-F50E795279FE}" type="slidenum">
              <a:rPr lang="en-US" noProof="0" smtClean="0"/>
              <a:pPr/>
              <a:t>5</a:t>
            </a:fld>
            <a:endParaRPr lang="en-US" noProof="0"/>
          </a:p>
        </p:txBody>
      </p:sp>
      <p:sp>
        <p:nvSpPr>
          <p:cNvPr id="38" name="Title 37">
            <a:extLst>
              <a:ext uri="{FF2B5EF4-FFF2-40B4-BE49-F238E27FC236}">
                <a16:creationId xmlns:a16="http://schemas.microsoft.com/office/drawing/2014/main" id="{3805B5DE-2794-0F05-6395-C6CFB6E9EDDB}"/>
              </a:ext>
            </a:extLst>
          </p:cNvPr>
          <p:cNvSpPr>
            <a:spLocks noGrp="1"/>
          </p:cNvSpPr>
          <p:nvPr>
            <p:ph type="title"/>
          </p:nvPr>
        </p:nvSpPr>
        <p:spPr>
          <a:xfrm rot="5400000">
            <a:off x="5786162" y="-5276004"/>
            <a:ext cx="457200" cy="12029521"/>
          </a:xfrm>
        </p:spPr>
        <p:txBody>
          <a:bodyPr tIns="0" bIns="0"/>
          <a:lstStyle/>
          <a:p>
            <a:r>
              <a:rPr lang="en-US" sz="1900" noProof="0"/>
              <a:t>                                        A Seamless, Phase 2/3, Randomized, Double-Blinded, Placebo-Controlled, Parallel Group Trial in IIM</a:t>
            </a:r>
          </a:p>
        </p:txBody>
      </p:sp>
      <p:grpSp>
        <p:nvGrpSpPr>
          <p:cNvPr id="7" name="Group 6">
            <a:extLst>
              <a:ext uri="{FF2B5EF4-FFF2-40B4-BE49-F238E27FC236}">
                <a16:creationId xmlns:a16="http://schemas.microsoft.com/office/drawing/2014/main" id="{D3A91500-588A-9099-2058-49188E81C278}"/>
              </a:ext>
            </a:extLst>
          </p:cNvPr>
          <p:cNvGrpSpPr/>
          <p:nvPr/>
        </p:nvGrpSpPr>
        <p:grpSpPr>
          <a:xfrm>
            <a:off x="-1" y="506626"/>
            <a:ext cx="1740299" cy="457200"/>
            <a:chOff x="357504" y="506626"/>
            <a:chExt cx="1740299" cy="457200"/>
          </a:xfrm>
        </p:grpSpPr>
        <p:sp>
          <p:nvSpPr>
            <p:cNvPr id="8" name="Title 1">
              <a:extLst>
                <a:ext uri="{FF2B5EF4-FFF2-40B4-BE49-F238E27FC236}">
                  <a16:creationId xmlns:a16="http://schemas.microsoft.com/office/drawing/2014/main" id="{9E9B27FD-85F4-255B-65C7-A8DF3D2BA9A7}"/>
                </a:ext>
              </a:extLst>
            </p:cNvPr>
            <p:cNvSpPr txBox="1">
              <a:spLocks/>
            </p:cNvSpPr>
            <p:nvPr userDrawn="1"/>
          </p:nvSpPr>
          <p:spPr>
            <a:xfrm rot="5400000">
              <a:off x="999054" y="-134923"/>
              <a:ext cx="457200" cy="1740298"/>
            </a:xfrm>
            <a:prstGeom prst="round2SameRect">
              <a:avLst>
                <a:gd name="adj1" fmla="val 50000"/>
                <a:gd name="adj2" fmla="val 0"/>
              </a:avLst>
            </a:prstGeom>
            <a:solidFill>
              <a:schemeClr val="accent3">
                <a:alpha val="25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9" name="Title 1">
              <a:extLst>
                <a:ext uri="{FF2B5EF4-FFF2-40B4-BE49-F238E27FC236}">
                  <a16:creationId xmlns:a16="http://schemas.microsoft.com/office/drawing/2014/main" id="{C288E9C6-54EF-5507-6824-07BE5B9B757A}"/>
                </a:ext>
              </a:extLst>
            </p:cNvPr>
            <p:cNvSpPr txBox="1">
              <a:spLocks/>
            </p:cNvSpPr>
            <p:nvPr userDrawn="1"/>
          </p:nvSpPr>
          <p:spPr>
            <a:xfrm rot="5400000">
              <a:off x="929427" y="-65297"/>
              <a:ext cx="457200" cy="1601045"/>
            </a:xfrm>
            <a:prstGeom prst="round2SameRect">
              <a:avLst>
                <a:gd name="adj1" fmla="val 50000"/>
                <a:gd name="adj2" fmla="val 0"/>
              </a:avLst>
            </a:prstGeom>
            <a:solidFill>
              <a:schemeClr val="accent3">
                <a:alpha val="50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10" name="Title 1">
              <a:extLst>
                <a:ext uri="{FF2B5EF4-FFF2-40B4-BE49-F238E27FC236}">
                  <a16:creationId xmlns:a16="http://schemas.microsoft.com/office/drawing/2014/main" id="{4F9FA9A7-AFD8-6E01-56F2-57360DD32F7A}"/>
                </a:ext>
              </a:extLst>
            </p:cNvPr>
            <p:cNvSpPr txBox="1">
              <a:spLocks/>
            </p:cNvSpPr>
            <p:nvPr userDrawn="1"/>
          </p:nvSpPr>
          <p:spPr>
            <a:xfrm rot="5400000">
              <a:off x="859801" y="4330"/>
              <a:ext cx="457200" cy="1461792"/>
            </a:xfrm>
            <a:prstGeom prst="round2SameRect">
              <a:avLst>
                <a:gd name="adj1" fmla="val 50000"/>
                <a:gd name="adj2" fmla="val 0"/>
              </a:avLst>
            </a:prstGeom>
            <a:solidFill>
              <a:schemeClr val="accent3"/>
            </a:solidFill>
            <a:ln>
              <a:solidFill>
                <a:schemeClr val="accent3"/>
              </a:solidFill>
            </a:ln>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r>
                <a:rPr lang="en-US"/>
                <a:t>ALKIVIA</a:t>
              </a:r>
            </a:p>
          </p:txBody>
        </p:sp>
      </p:grpSp>
      <p:sp>
        <p:nvSpPr>
          <p:cNvPr id="154" name="Content Placeholder 1">
            <a:extLst>
              <a:ext uri="{FF2B5EF4-FFF2-40B4-BE49-F238E27FC236}">
                <a16:creationId xmlns:a16="http://schemas.microsoft.com/office/drawing/2014/main" id="{4552B5AC-2225-4AB3-B2E9-3AB274FA897A}"/>
              </a:ext>
            </a:extLst>
          </p:cNvPr>
          <p:cNvSpPr txBox="1">
            <a:spLocks/>
          </p:cNvSpPr>
          <p:nvPr/>
        </p:nvSpPr>
        <p:spPr>
          <a:xfrm>
            <a:off x="3583448" y="3802927"/>
            <a:ext cx="2514600" cy="1417295"/>
          </a:xfrm>
          <a:prstGeom prst="rect">
            <a:avLst/>
          </a:prstGeom>
        </p:spPr>
        <p:txBody>
          <a:bodyPr vert="horz" lIns="0" tIns="0" rIns="0" bIns="0" rtlCol="0">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lang="en-US" sz="2000" b="1" kern="1200" dirty="0" smtClean="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3"/>
              </a:buBlip>
              <a:tabLst/>
              <a:defRPr lang="en-US" sz="1700" kern="1200" dirty="0" smtClean="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lang="en-US" sz="1500" kern="1200" dirty="0" smtClean="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lang="en-US" sz="1300" kern="1200" dirty="0" smtClean="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lang="en-US" sz="1100" kern="1200" dirty="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28600">
              <a:spcBef>
                <a:spcPts val="500"/>
              </a:spcBef>
            </a:pPr>
            <a:r>
              <a:rPr lang="en-GB" sz="1300">
                <a:solidFill>
                  <a:schemeClr val="accent1">
                    <a:lumMod val="75000"/>
                  </a:schemeClr>
                </a:solidFill>
              </a:rPr>
              <a:t>Study population</a:t>
            </a:r>
          </a:p>
        </p:txBody>
      </p:sp>
      <p:grpSp>
        <p:nvGrpSpPr>
          <p:cNvPr id="155" name="Group 154">
            <a:extLst>
              <a:ext uri="{FF2B5EF4-FFF2-40B4-BE49-F238E27FC236}">
                <a16:creationId xmlns:a16="http://schemas.microsoft.com/office/drawing/2014/main" id="{BCF24BB6-1B8E-9765-3681-52E156D920F5}"/>
              </a:ext>
            </a:extLst>
          </p:cNvPr>
          <p:cNvGrpSpPr/>
          <p:nvPr/>
        </p:nvGrpSpPr>
        <p:grpSpPr>
          <a:xfrm>
            <a:off x="5668533" y="4483689"/>
            <a:ext cx="854924" cy="832205"/>
            <a:chOff x="8749511" y="506556"/>
            <a:chExt cx="741085" cy="721392"/>
          </a:xfrm>
          <a:solidFill>
            <a:schemeClr val="bg1">
              <a:lumMod val="95000"/>
            </a:schemeClr>
          </a:solidFill>
        </p:grpSpPr>
        <p:grpSp>
          <p:nvGrpSpPr>
            <p:cNvPr id="557" name="Group 556">
              <a:extLst>
                <a:ext uri="{FF2B5EF4-FFF2-40B4-BE49-F238E27FC236}">
                  <a16:creationId xmlns:a16="http://schemas.microsoft.com/office/drawing/2014/main" id="{A5AD5F43-549F-D98D-D46F-592A2C5068D7}"/>
                </a:ext>
              </a:extLst>
            </p:cNvPr>
            <p:cNvGrpSpPr/>
            <p:nvPr/>
          </p:nvGrpSpPr>
          <p:grpSpPr>
            <a:xfrm>
              <a:off x="8749511" y="544634"/>
              <a:ext cx="741085" cy="683313"/>
              <a:chOff x="8749511" y="450850"/>
              <a:chExt cx="741085" cy="683313"/>
            </a:xfrm>
            <a:grpFill/>
          </p:grpSpPr>
          <p:sp>
            <p:nvSpPr>
              <p:cNvPr id="559" name="Freeform 558">
                <a:extLst>
                  <a:ext uri="{FF2B5EF4-FFF2-40B4-BE49-F238E27FC236}">
                    <a16:creationId xmlns:a16="http://schemas.microsoft.com/office/drawing/2014/main" id="{30F3227C-AF0F-914C-E5D8-CAF98C550B5F}"/>
                  </a:ext>
                </a:extLst>
              </p:cNvPr>
              <p:cNvSpPr/>
              <p:nvPr/>
            </p:nvSpPr>
            <p:spPr>
              <a:xfrm>
                <a:off x="8749857" y="455490"/>
                <a:ext cx="254484" cy="678673"/>
              </a:xfrm>
              <a:custGeom>
                <a:avLst/>
                <a:gdLst>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4 w 270502"/>
                  <a:gd name="connsiteY39" fmla="*/ 30058 h 721392"/>
                  <a:gd name="connsiteX40" fmla="*/ 90148 w 270502"/>
                  <a:gd name="connsiteY40" fmla="*/ 75145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90149 w 270502"/>
                  <a:gd name="connsiteY44" fmla="*/ 75145 h 721392"/>
                  <a:gd name="connsiteX45" fmla="*/ 103382 w 270502"/>
                  <a:gd name="connsiteY45" fmla="*/ 43280 h 721392"/>
                  <a:gd name="connsiteX46" fmla="*/ 135235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90149 w 270502"/>
                  <a:gd name="connsiteY45" fmla="*/ 75145 h 721392"/>
                  <a:gd name="connsiteX46" fmla="*/ 135235 w 270502"/>
                  <a:gd name="connsiteY46" fmla="*/ 30058 h 721392"/>
                  <a:gd name="connsiteX47" fmla="*/ 135234 w 270502"/>
                  <a:gd name="connsiteY47" fmla="*/ 30058 h 721392"/>
                  <a:gd name="connsiteX48" fmla="*/ 135234 w 270502"/>
                  <a:gd name="connsiteY48" fmla="*/ 0 h 721392"/>
                  <a:gd name="connsiteX49" fmla="*/ 210379 w 270502"/>
                  <a:gd name="connsiteY49" fmla="*/ 75145 h 721392"/>
                  <a:gd name="connsiteX50" fmla="*/ 135234 w 270502"/>
                  <a:gd name="connsiteY50" fmla="*/ 150290 h 721392"/>
                  <a:gd name="connsiteX51" fmla="*/ 60089 w 270502"/>
                  <a:gd name="connsiteY51" fmla="*/ 75145 h 721392"/>
                  <a:gd name="connsiteX52" fmla="*/ 135234 w 270502"/>
                  <a:gd name="connsiteY52"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0 h 721392"/>
                  <a:gd name="connsiteX47" fmla="*/ 210379 w 270502"/>
                  <a:gd name="connsiteY47" fmla="*/ 75145 h 721392"/>
                  <a:gd name="connsiteX48" fmla="*/ 135234 w 270502"/>
                  <a:gd name="connsiteY48" fmla="*/ 150290 h 721392"/>
                  <a:gd name="connsiteX49" fmla="*/ 60089 w 270502"/>
                  <a:gd name="connsiteY49" fmla="*/ 75145 h 721392"/>
                  <a:gd name="connsiteX50" fmla="*/ 135234 w 270502"/>
                  <a:gd name="connsiteY50"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5 w 270502"/>
                  <a:gd name="connsiteY44" fmla="*/ 30058 h 721392"/>
                  <a:gd name="connsiteX45" fmla="*/ 135234 w 270502"/>
                  <a:gd name="connsiteY45" fmla="*/ 0 h 721392"/>
                  <a:gd name="connsiteX46" fmla="*/ 210379 w 270502"/>
                  <a:gd name="connsiteY46" fmla="*/ 75145 h 721392"/>
                  <a:gd name="connsiteX47" fmla="*/ 135234 w 270502"/>
                  <a:gd name="connsiteY47" fmla="*/ 150290 h 721392"/>
                  <a:gd name="connsiteX48" fmla="*/ 60089 w 270502"/>
                  <a:gd name="connsiteY48" fmla="*/ 75145 h 721392"/>
                  <a:gd name="connsiteX49" fmla="*/ 135234 w 270502"/>
                  <a:gd name="connsiteY49"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03371 w 270502"/>
                  <a:gd name="connsiteY40" fmla="*/ 107010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4 w 270502"/>
                  <a:gd name="connsiteY44" fmla="*/ 0 h 721392"/>
                  <a:gd name="connsiteX45" fmla="*/ 210379 w 270502"/>
                  <a:gd name="connsiteY45" fmla="*/ 75145 h 721392"/>
                  <a:gd name="connsiteX46" fmla="*/ 135234 w 270502"/>
                  <a:gd name="connsiteY46" fmla="*/ 150290 h 721392"/>
                  <a:gd name="connsiteX47" fmla="*/ 60089 w 270502"/>
                  <a:gd name="connsiteY47" fmla="*/ 75145 h 721392"/>
                  <a:gd name="connsiteX48" fmla="*/ 135234 w 270502"/>
                  <a:gd name="connsiteY48"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120232 h 721392"/>
                  <a:gd name="connsiteX41" fmla="*/ 135234 w 270502"/>
                  <a:gd name="connsiteY41" fmla="*/ 120232 h 721392"/>
                  <a:gd name="connsiteX42" fmla="*/ 135235 w 270502"/>
                  <a:gd name="connsiteY42" fmla="*/ 120232 h 721392"/>
                  <a:gd name="connsiteX43" fmla="*/ 135234 w 270502"/>
                  <a:gd name="connsiteY43" fmla="*/ 0 h 721392"/>
                  <a:gd name="connsiteX44" fmla="*/ 210379 w 270502"/>
                  <a:gd name="connsiteY44" fmla="*/ 75145 h 721392"/>
                  <a:gd name="connsiteX45" fmla="*/ 135234 w 270502"/>
                  <a:gd name="connsiteY45" fmla="*/ 150290 h 721392"/>
                  <a:gd name="connsiteX46" fmla="*/ 60089 w 270502"/>
                  <a:gd name="connsiteY46" fmla="*/ 75145 h 721392"/>
                  <a:gd name="connsiteX47" fmla="*/ 135234 w 270502"/>
                  <a:gd name="connsiteY47" fmla="*/ 0 h 721392"/>
                  <a:gd name="connsiteX0" fmla="*/ 35142 w 270502"/>
                  <a:gd name="connsiteY0" fmla="*/ 447684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5 w 270502"/>
                  <a:gd name="connsiteY39" fmla="*/ 120232 h 721392"/>
                  <a:gd name="connsiteX40" fmla="*/ 135234 w 270502"/>
                  <a:gd name="connsiteY40" fmla="*/ 120232 h 721392"/>
                  <a:gd name="connsiteX41" fmla="*/ 135235 w 270502"/>
                  <a:gd name="connsiteY41" fmla="*/ 120232 h 721392"/>
                  <a:gd name="connsiteX42" fmla="*/ 135234 w 270502"/>
                  <a:gd name="connsiteY42" fmla="*/ 0 h 721392"/>
                  <a:gd name="connsiteX43" fmla="*/ 210379 w 270502"/>
                  <a:gd name="connsiteY43" fmla="*/ 75145 h 721392"/>
                  <a:gd name="connsiteX44" fmla="*/ 135234 w 270502"/>
                  <a:gd name="connsiteY44" fmla="*/ 150290 h 721392"/>
                  <a:gd name="connsiteX45" fmla="*/ 60089 w 270502"/>
                  <a:gd name="connsiteY45" fmla="*/ 75145 h 721392"/>
                  <a:gd name="connsiteX46" fmla="*/ 135234 w 270502"/>
                  <a:gd name="connsiteY46" fmla="*/ 0 h 721392"/>
                  <a:gd name="connsiteX0" fmla="*/ 35142 w 270502"/>
                  <a:gd name="connsiteY0" fmla="*/ 447684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35142 w 270502"/>
                  <a:gd name="connsiteY22" fmla="*/ 447684 h 721392"/>
                  <a:gd name="connsiteX23" fmla="*/ 96852 w 270502"/>
                  <a:gd name="connsiteY23" fmla="*/ 180349 h 721392"/>
                  <a:gd name="connsiteX24" fmla="*/ 173589 w 270502"/>
                  <a:gd name="connsiteY24" fmla="*/ 180349 h 721392"/>
                  <a:gd name="connsiteX25" fmla="*/ 250238 w 270502"/>
                  <a:gd name="connsiteY25" fmla="*/ 253359 h 721392"/>
                  <a:gd name="connsiteX26" fmla="*/ 270166 w 270502"/>
                  <a:gd name="connsiteY26" fmla="*/ 427937 h 721392"/>
                  <a:gd name="connsiteX27" fmla="*/ 257782 w 270502"/>
                  <a:gd name="connsiteY27" fmla="*/ 467703 h 721392"/>
                  <a:gd name="connsiteX28" fmla="*/ 226913 w 270502"/>
                  <a:gd name="connsiteY28" fmla="*/ 482882 h 721392"/>
                  <a:gd name="connsiteX29" fmla="*/ 210320 w 270502"/>
                  <a:gd name="connsiteY29" fmla="*/ 707475 h 721392"/>
                  <a:gd name="connsiteX30" fmla="*/ 195351 w 270502"/>
                  <a:gd name="connsiteY30" fmla="*/ 721392 h 721392"/>
                  <a:gd name="connsiteX31" fmla="*/ 75119 w 270502"/>
                  <a:gd name="connsiteY31" fmla="*/ 721392 h 721392"/>
                  <a:gd name="connsiteX32" fmla="*/ 60151 w 270502"/>
                  <a:gd name="connsiteY32" fmla="*/ 707475 h 721392"/>
                  <a:gd name="connsiteX33" fmla="*/ 43558 w 270502"/>
                  <a:gd name="connsiteY33" fmla="*/ 482882 h 721392"/>
                  <a:gd name="connsiteX34" fmla="*/ 12689 w 270502"/>
                  <a:gd name="connsiteY34" fmla="*/ 467703 h 721392"/>
                  <a:gd name="connsiteX35" fmla="*/ 335 w 270502"/>
                  <a:gd name="connsiteY35" fmla="*/ 427937 h 721392"/>
                  <a:gd name="connsiteX36" fmla="*/ 20264 w 270502"/>
                  <a:gd name="connsiteY36" fmla="*/ 253359 h 721392"/>
                  <a:gd name="connsiteX37" fmla="*/ 96852 w 270502"/>
                  <a:gd name="connsiteY37" fmla="*/ 180349 h 721392"/>
                  <a:gd name="connsiteX38" fmla="*/ 135235 w 270502"/>
                  <a:gd name="connsiteY38" fmla="*/ 120232 h 721392"/>
                  <a:gd name="connsiteX39" fmla="*/ 135234 w 270502"/>
                  <a:gd name="connsiteY39" fmla="*/ 120232 h 721392"/>
                  <a:gd name="connsiteX40" fmla="*/ 135235 w 270502"/>
                  <a:gd name="connsiteY40" fmla="*/ 120232 h 721392"/>
                  <a:gd name="connsiteX41" fmla="*/ 135234 w 270502"/>
                  <a:gd name="connsiteY41" fmla="*/ 0 h 721392"/>
                  <a:gd name="connsiteX42" fmla="*/ 210379 w 270502"/>
                  <a:gd name="connsiteY42" fmla="*/ 75145 h 721392"/>
                  <a:gd name="connsiteX43" fmla="*/ 135234 w 270502"/>
                  <a:gd name="connsiteY43" fmla="*/ 150290 h 721392"/>
                  <a:gd name="connsiteX44" fmla="*/ 60089 w 270502"/>
                  <a:gd name="connsiteY44" fmla="*/ 75145 h 721392"/>
                  <a:gd name="connsiteX45" fmla="*/ 135234 w 270502"/>
                  <a:gd name="connsiteY45" fmla="*/ 0 h 721392"/>
                  <a:gd name="connsiteX0" fmla="*/ 46144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96852 w 270502"/>
                  <a:gd name="connsiteY22" fmla="*/ 180349 h 721392"/>
                  <a:gd name="connsiteX23" fmla="*/ 173589 w 270502"/>
                  <a:gd name="connsiteY23" fmla="*/ 180349 h 721392"/>
                  <a:gd name="connsiteX24" fmla="*/ 250238 w 270502"/>
                  <a:gd name="connsiteY24" fmla="*/ 253359 h 721392"/>
                  <a:gd name="connsiteX25" fmla="*/ 270166 w 270502"/>
                  <a:gd name="connsiteY25" fmla="*/ 427937 h 721392"/>
                  <a:gd name="connsiteX26" fmla="*/ 257782 w 270502"/>
                  <a:gd name="connsiteY26" fmla="*/ 467703 h 721392"/>
                  <a:gd name="connsiteX27" fmla="*/ 226913 w 270502"/>
                  <a:gd name="connsiteY27" fmla="*/ 482882 h 721392"/>
                  <a:gd name="connsiteX28" fmla="*/ 210320 w 270502"/>
                  <a:gd name="connsiteY28" fmla="*/ 707475 h 721392"/>
                  <a:gd name="connsiteX29" fmla="*/ 195351 w 270502"/>
                  <a:gd name="connsiteY29" fmla="*/ 721392 h 721392"/>
                  <a:gd name="connsiteX30" fmla="*/ 75119 w 270502"/>
                  <a:gd name="connsiteY30" fmla="*/ 721392 h 721392"/>
                  <a:gd name="connsiteX31" fmla="*/ 60151 w 270502"/>
                  <a:gd name="connsiteY31" fmla="*/ 707475 h 721392"/>
                  <a:gd name="connsiteX32" fmla="*/ 43558 w 270502"/>
                  <a:gd name="connsiteY32" fmla="*/ 482882 h 721392"/>
                  <a:gd name="connsiteX33" fmla="*/ 12689 w 270502"/>
                  <a:gd name="connsiteY33" fmla="*/ 467703 h 721392"/>
                  <a:gd name="connsiteX34" fmla="*/ 335 w 270502"/>
                  <a:gd name="connsiteY34" fmla="*/ 427937 h 721392"/>
                  <a:gd name="connsiteX35" fmla="*/ 20264 w 270502"/>
                  <a:gd name="connsiteY35" fmla="*/ 253359 h 721392"/>
                  <a:gd name="connsiteX36" fmla="*/ 96852 w 270502"/>
                  <a:gd name="connsiteY36" fmla="*/ 180349 h 721392"/>
                  <a:gd name="connsiteX37" fmla="*/ 135235 w 270502"/>
                  <a:gd name="connsiteY37" fmla="*/ 120232 h 721392"/>
                  <a:gd name="connsiteX38" fmla="*/ 135234 w 270502"/>
                  <a:gd name="connsiteY38" fmla="*/ 120232 h 721392"/>
                  <a:gd name="connsiteX39" fmla="*/ 135235 w 270502"/>
                  <a:gd name="connsiteY39" fmla="*/ 120232 h 721392"/>
                  <a:gd name="connsiteX40" fmla="*/ 135234 w 270502"/>
                  <a:gd name="connsiteY40" fmla="*/ 0 h 721392"/>
                  <a:gd name="connsiteX41" fmla="*/ 210379 w 270502"/>
                  <a:gd name="connsiteY41" fmla="*/ 75145 h 721392"/>
                  <a:gd name="connsiteX42" fmla="*/ 135234 w 270502"/>
                  <a:gd name="connsiteY42" fmla="*/ 150290 h 721392"/>
                  <a:gd name="connsiteX43" fmla="*/ 60089 w 270502"/>
                  <a:gd name="connsiteY43" fmla="*/ 75145 h 721392"/>
                  <a:gd name="connsiteX44" fmla="*/ 135234 w 270502"/>
                  <a:gd name="connsiteY44" fmla="*/ 0 h 721392"/>
                  <a:gd name="connsiteX0" fmla="*/ 57565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96852 w 270502"/>
                  <a:gd name="connsiteY21" fmla="*/ 180349 h 721392"/>
                  <a:gd name="connsiteX22" fmla="*/ 173589 w 270502"/>
                  <a:gd name="connsiteY22" fmla="*/ 180349 h 721392"/>
                  <a:gd name="connsiteX23" fmla="*/ 250238 w 270502"/>
                  <a:gd name="connsiteY23" fmla="*/ 253359 h 721392"/>
                  <a:gd name="connsiteX24" fmla="*/ 270166 w 270502"/>
                  <a:gd name="connsiteY24" fmla="*/ 427937 h 721392"/>
                  <a:gd name="connsiteX25" fmla="*/ 257782 w 270502"/>
                  <a:gd name="connsiteY25" fmla="*/ 467703 h 721392"/>
                  <a:gd name="connsiteX26" fmla="*/ 226913 w 270502"/>
                  <a:gd name="connsiteY26" fmla="*/ 482882 h 721392"/>
                  <a:gd name="connsiteX27" fmla="*/ 210320 w 270502"/>
                  <a:gd name="connsiteY27" fmla="*/ 707475 h 721392"/>
                  <a:gd name="connsiteX28" fmla="*/ 195351 w 270502"/>
                  <a:gd name="connsiteY28" fmla="*/ 721392 h 721392"/>
                  <a:gd name="connsiteX29" fmla="*/ 75119 w 270502"/>
                  <a:gd name="connsiteY29" fmla="*/ 721392 h 721392"/>
                  <a:gd name="connsiteX30" fmla="*/ 60151 w 270502"/>
                  <a:gd name="connsiteY30" fmla="*/ 707475 h 721392"/>
                  <a:gd name="connsiteX31" fmla="*/ 43558 w 270502"/>
                  <a:gd name="connsiteY31" fmla="*/ 482882 h 721392"/>
                  <a:gd name="connsiteX32" fmla="*/ 12689 w 270502"/>
                  <a:gd name="connsiteY32" fmla="*/ 467703 h 721392"/>
                  <a:gd name="connsiteX33" fmla="*/ 335 w 270502"/>
                  <a:gd name="connsiteY33" fmla="*/ 427937 h 721392"/>
                  <a:gd name="connsiteX34" fmla="*/ 20264 w 270502"/>
                  <a:gd name="connsiteY34" fmla="*/ 253359 h 721392"/>
                  <a:gd name="connsiteX35" fmla="*/ 96852 w 270502"/>
                  <a:gd name="connsiteY35" fmla="*/ 180349 h 721392"/>
                  <a:gd name="connsiteX36" fmla="*/ 135235 w 270502"/>
                  <a:gd name="connsiteY36" fmla="*/ 120232 h 721392"/>
                  <a:gd name="connsiteX37" fmla="*/ 135234 w 270502"/>
                  <a:gd name="connsiteY37" fmla="*/ 120232 h 721392"/>
                  <a:gd name="connsiteX38" fmla="*/ 135235 w 270502"/>
                  <a:gd name="connsiteY38" fmla="*/ 120232 h 721392"/>
                  <a:gd name="connsiteX39" fmla="*/ 135234 w 270502"/>
                  <a:gd name="connsiteY39" fmla="*/ 0 h 721392"/>
                  <a:gd name="connsiteX40" fmla="*/ 210379 w 270502"/>
                  <a:gd name="connsiteY40" fmla="*/ 75145 h 721392"/>
                  <a:gd name="connsiteX41" fmla="*/ 135234 w 270502"/>
                  <a:gd name="connsiteY41" fmla="*/ 150290 h 721392"/>
                  <a:gd name="connsiteX42" fmla="*/ 60089 w 270502"/>
                  <a:gd name="connsiteY42" fmla="*/ 75145 h 721392"/>
                  <a:gd name="connsiteX43" fmla="*/ 135234 w 270502"/>
                  <a:gd name="connsiteY43" fmla="*/ 0 h 721392"/>
                  <a:gd name="connsiteX0" fmla="*/ 72565 w 270502"/>
                  <a:gd name="connsiteY0" fmla="*/ 466800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96852 w 270502"/>
                  <a:gd name="connsiteY20" fmla="*/ 180349 h 721392"/>
                  <a:gd name="connsiteX21" fmla="*/ 173589 w 270502"/>
                  <a:gd name="connsiteY21" fmla="*/ 180349 h 721392"/>
                  <a:gd name="connsiteX22" fmla="*/ 250238 w 270502"/>
                  <a:gd name="connsiteY22" fmla="*/ 253359 h 721392"/>
                  <a:gd name="connsiteX23" fmla="*/ 270166 w 270502"/>
                  <a:gd name="connsiteY23" fmla="*/ 427937 h 721392"/>
                  <a:gd name="connsiteX24" fmla="*/ 257782 w 270502"/>
                  <a:gd name="connsiteY24" fmla="*/ 467703 h 721392"/>
                  <a:gd name="connsiteX25" fmla="*/ 226913 w 270502"/>
                  <a:gd name="connsiteY25" fmla="*/ 482882 h 721392"/>
                  <a:gd name="connsiteX26" fmla="*/ 210320 w 270502"/>
                  <a:gd name="connsiteY26" fmla="*/ 707475 h 721392"/>
                  <a:gd name="connsiteX27" fmla="*/ 195351 w 270502"/>
                  <a:gd name="connsiteY27" fmla="*/ 721392 h 721392"/>
                  <a:gd name="connsiteX28" fmla="*/ 75119 w 270502"/>
                  <a:gd name="connsiteY28" fmla="*/ 721392 h 721392"/>
                  <a:gd name="connsiteX29" fmla="*/ 60151 w 270502"/>
                  <a:gd name="connsiteY29" fmla="*/ 707475 h 721392"/>
                  <a:gd name="connsiteX30" fmla="*/ 43558 w 270502"/>
                  <a:gd name="connsiteY30" fmla="*/ 482882 h 721392"/>
                  <a:gd name="connsiteX31" fmla="*/ 12689 w 270502"/>
                  <a:gd name="connsiteY31" fmla="*/ 467703 h 721392"/>
                  <a:gd name="connsiteX32" fmla="*/ 335 w 270502"/>
                  <a:gd name="connsiteY32" fmla="*/ 427937 h 721392"/>
                  <a:gd name="connsiteX33" fmla="*/ 20264 w 270502"/>
                  <a:gd name="connsiteY33" fmla="*/ 253359 h 721392"/>
                  <a:gd name="connsiteX34" fmla="*/ 96852 w 270502"/>
                  <a:gd name="connsiteY34" fmla="*/ 180349 h 721392"/>
                  <a:gd name="connsiteX35" fmla="*/ 135235 w 270502"/>
                  <a:gd name="connsiteY35" fmla="*/ 120232 h 721392"/>
                  <a:gd name="connsiteX36" fmla="*/ 135234 w 270502"/>
                  <a:gd name="connsiteY36" fmla="*/ 120232 h 721392"/>
                  <a:gd name="connsiteX37" fmla="*/ 135235 w 270502"/>
                  <a:gd name="connsiteY37" fmla="*/ 120232 h 721392"/>
                  <a:gd name="connsiteX38" fmla="*/ 135234 w 270502"/>
                  <a:gd name="connsiteY38" fmla="*/ 0 h 721392"/>
                  <a:gd name="connsiteX39" fmla="*/ 210379 w 270502"/>
                  <a:gd name="connsiteY39" fmla="*/ 75145 h 721392"/>
                  <a:gd name="connsiteX40" fmla="*/ 135234 w 270502"/>
                  <a:gd name="connsiteY40" fmla="*/ 150290 h 721392"/>
                  <a:gd name="connsiteX41" fmla="*/ 60089 w 270502"/>
                  <a:gd name="connsiteY41" fmla="*/ 75145 h 721392"/>
                  <a:gd name="connsiteX42" fmla="*/ 135234 w 270502"/>
                  <a:gd name="connsiteY42" fmla="*/ 0 h 721392"/>
                  <a:gd name="connsiteX0" fmla="*/ 72565 w 270502"/>
                  <a:gd name="connsiteY0" fmla="*/ 466800 h 721392"/>
                  <a:gd name="connsiteX1" fmla="*/ 35142 w 270502"/>
                  <a:gd name="connsiteY1" fmla="*/ 447685 h 721392"/>
                  <a:gd name="connsiteX2" fmla="*/ 57565 w 270502"/>
                  <a:gd name="connsiteY2" fmla="*/ 452884 h 721392"/>
                  <a:gd name="connsiteX3" fmla="*/ 72565 w 270502"/>
                  <a:gd name="connsiteY3" fmla="*/ 466801 h 721392"/>
                  <a:gd name="connsiteX4" fmla="*/ 89097 w 270502"/>
                  <a:gd name="connsiteY4" fmla="*/ 691334 h 721392"/>
                  <a:gd name="connsiteX5" fmla="*/ 181404 w 270502"/>
                  <a:gd name="connsiteY5" fmla="*/ 691334 h 721392"/>
                  <a:gd name="connsiteX6" fmla="*/ 197967 w 270502"/>
                  <a:gd name="connsiteY6" fmla="*/ 466801 h 721392"/>
                  <a:gd name="connsiteX7" fmla="*/ 212965 w 270502"/>
                  <a:gd name="connsiteY7" fmla="*/ 452884 h 721392"/>
                  <a:gd name="connsiteX8" fmla="*/ 224418 w 270502"/>
                  <a:gd name="connsiteY8" fmla="*/ 452884 h 721392"/>
                  <a:gd name="connsiteX9" fmla="*/ 235419 w 270502"/>
                  <a:gd name="connsiteY9" fmla="*/ 447685 h 721392"/>
                  <a:gd name="connsiteX10" fmla="*/ 240348 w 270502"/>
                  <a:gd name="connsiteY10" fmla="*/ 431333 h 721392"/>
                  <a:gd name="connsiteX11" fmla="*/ 240348 w 270502"/>
                  <a:gd name="connsiteY11" fmla="*/ 431332 h 721392"/>
                  <a:gd name="connsiteX12" fmla="*/ 235419 w 270502"/>
                  <a:gd name="connsiteY12" fmla="*/ 447684 h 721392"/>
                  <a:gd name="connsiteX13" fmla="*/ 224418 w 270502"/>
                  <a:gd name="connsiteY13" fmla="*/ 452883 h 721392"/>
                  <a:gd name="connsiteX14" fmla="*/ 212965 w 270502"/>
                  <a:gd name="connsiteY14" fmla="*/ 452883 h 721392"/>
                  <a:gd name="connsiteX15" fmla="*/ 197967 w 270502"/>
                  <a:gd name="connsiteY15" fmla="*/ 466800 h 721392"/>
                  <a:gd name="connsiteX16" fmla="*/ 181404 w 270502"/>
                  <a:gd name="connsiteY16" fmla="*/ 691333 h 721392"/>
                  <a:gd name="connsiteX17" fmla="*/ 89097 w 270502"/>
                  <a:gd name="connsiteY17" fmla="*/ 691333 h 721392"/>
                  <a:gd name="connsiteX18" fmla="*/ 72565 w 270502"/>
                  <a:gd name="connsiteY18" fmla="*/ 466800 h 721392"/>
                  <a:gd name="connsiteX19" fmla="*/ 96852 w 270502"/>
                  <a:gd name="connsiteY19" fmla="*/ 180349 h 721392"/>
                  <a:gd name="connsiteX20" fmla="*/ 173589 w 270502"/>
                  <a:gd name="connsiteY20" fmla="*/ 180349 h 721392"/>
                  <a:gd name="connsiteX21" fmla="*/ 250238 w 270502"/>
                  <a:gd name="connsiteY21" fmla="*/ 253359 h 721392"/>
                  <a:gd name="connsiteX22" fmla="*/ 270166 w 270502"/>
                  <a:gd name="connsiteY22" fmla="*/ 427937 h 721392"/>
                  <a:gd name="connsiteX23" fmla="*/ 257782 w 270502"/>
                  <a:gd name="connsiteY23" fmla="*/ 467703 h 721392"/>
                  <a:gd name="connsiteX24" fmla="*/ 226913 w 270502"/>
                  <a:gd name="connsiteY24" fmla="*/ 482882 h 721392"/>
                  <a:gd name="connsiteX25" fmla="*/ 210320 w 270502"/>
                  <a:gd name="connsiteY25" fmla="*/ 707475 h 721392"/>
                  <a:gd name="connsiteX26" fmla="*/ 195351 w 270502"/>
                  <a:gd name="connsiteY26" fmla="*/ 721392 h 721392"/>
                  <a:gd name="connsiteX27" fmla="*/ 75119 w 270502"/>
                  <a:gd name="connsiteY27" fmla="*/ 721392 h 721392"/>
                  <a:gd name="connsiteX28" fmla="*/ 60151 w 270502"/>
                  <a:gd name="connsiteY28" fmla="*/ 707475 h 721392"/>
                  <a:gd name="connsiteX29" fmla="*/ 43558 w 270502"/>
                  <a:gd name="connsiteY29" fmla="*/ 482882 h 721392"/>
                  <a:gd name="connsiteX30" fmla="*/ 12689 w 270502"/>
                  <a:gd name="connsiteY30" fmla="*/ 467703 h 721392"/>
                  <a:gd name="connsiteX31" fmla="*/ 335 w 270502"/>
                  <a:gd name="connsiteY31" fmla="*/ 427937 h 721392"/>
                  <a:gd name="connsiteX32" fmla="*/ 20264 w 270502"/>
                  <a:gd name="connsiteY32" fmla="*/ 253359 h 721392"/>
                  <a:gd name="connsiteX33" fmla="*/ 96852 w 270502"/>
                  <a:gd name="connsiteY33" fmla="*/ 180349 h 721392"/>
                  <a:gd name="connsiteX34" fmla="*/ 135235 w 270502"/>
                  <a:gd name="connsiteY34" fmla="*/ 120232 h 721392"/>
                  <a:gd name="connsiteX35" fmla="*/ 135234 w 270502"/>
                  <a:gd name="connsiteY35" fmla="*/ 120232 h 721392"/>
                  <a:gd name="connsiteX36" fmla="*/ 135235 w 270502"/>
                  <a:gd name="connsiteY36" fmla="*/ 120232 h 721392"/>
                  <a:gd name="connsiteX37" fmla="*/ 135234 w 270502"/>
                  <a:gd name="connsiteY37" fmla="*/ 0 h 721392"/>
                  <a:gd name="connsiteX38" fmla="*/ 210379 w 270502"/>
                  <a:gd name="connsiteY38" fmla="*/ 75145 h 721392"/>
                  <a:gd name="connsiteX39" fmla="*/ 135234 w 270502"/>
                  <a:gd name="connsiteY39" fmla="*/ 150290 h 721392"/>
                  <a:gd name="connsiteX40" fmla="*/ 60089 w 270502"/>
                  <a:gd name="connsiteY40" fmla="*/ 75145 h 721392"/>
                  <a:gd name="connsiteX41" fmla="*/ 135234 w 270502"/>
                  <a:gd name="connsiteY41" fmla="*/ 0 h 721392"/>
                  <a:gd name="connsiteX0" fmla="*/ 72565 w 270502"/>
                  <a:gd name="connsiteY0" fmla="*/ 466800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72565 w 270502"/>
                  <a:gd name="connsiteY17" fmla="*/ 466800 h 721392"/>
                  <a:gd name="connsiteX18" fmla="*/ 96852 w 270502"/>
                  <a:gd name="connsiteY18" fmla="*/ 180349 h 721392"/>
                  <a:gd name="connsiteX19" fmla="*/ 173589 w 270502"/>
                  <a:gd name="connsiteY19" fmla="*/ 180349 h 721392"/>
                  <a:gd name="connsiteX20" fmla="*/ 250238 w 270502"/>
                  <a:gd name="connsiteY20" fmla="*/ 253359 h 721392"/>
                  <a:gd name="connsiteX21" fmla="*/ 270166 w 270502"/>
                  <a:gd name="connsiteY21" fmla="*/ 427937 h 721392"/>
                  <a:gd name="connsiteX22" fmla="*/ 257782 w 270502"/>
                  <a:gd name="connsiteY22" fmla="*/ 467703 h 721392"/>
                  <a:gd name="connsiteX23" fmla="*/ 226913 w 270502"/>
                  <a:gd name="connsiteY23" fmla="*/ 482882 h 721392"/>
                  <a:gd name="connsiteX24" fmla="*/ 210320 w 270502"/>
                  <a:gd name="connsiteY24" fmla="*/ 707475 h 721392"/>
                  <a:gd name="connsiteX25" fmla="*/ 195351 w 270502"/>
                  <a:gd name="connsiteY25" fmla="*/ 721392 h 721392"/>
                  <a:gd name="connsiteX26" fmla="*/ 75119 w 270502"/>
                  <a:gd name="connsiteY26" fmla="*/ 721392 h 721392"/>
                  <a:gd name="connsiteX27" fmla="*/ 60151 w 270502"/>
                  <a:gd name="connsiteY27" fmla="*/ 707475 h 721392"/>
                  <a:gd name="connsiteX28" fmla="*/ 43558 w 270502"/>
                  <a:gd name="connsiteY28" fmla="*/ 482882 h 721392"/>
                  <a:gd name="connsiteX29" fmla="*/ 12689 w 270502"/>
                  <a:gd name="connsiteY29" fmla="*/ 467703 h 721392"/>
                  <a:gd name="connsiteX30" fmla="*/ 335 w 270502"/>
                  <a:gd name="connsiteY30" fmla="*/ 427937 h 721392"/>
                  <a:gd name="connsiteX31" fmla="*/ 20264 w 270502"/>
                  <a:gd name="connsiteY31" fmla="*/ 253359 h 721392"/>
                  <a:gd name="connsiteX32" fmla="*/ 96852 w 270502"/>
                  <a:gd name="connsiteY32" fmla="*/ 180349 h 721392"/>
                  <a:gd name="connsiteX33" fmla="*/ 135235 w 270502"/>
                  <a:gd name="connsiteY33" fmla="*/ 120232 h 721392"/>
                  <a:gd name="connsiteX34" fmla="*/ 135234 w 270502"/>
                  <a:gd name="connsiteY34" fmla="*/ 120232 h 721392"/>
                  <a:gd name="connsiteX35" fmla="*/ 135235 w 270502"/>
                  <a:gd name="connsiteY35" fmla="*/ 120232 h 721392"/>
                  <a:gd name="connsiteX36" fmla="*/ 135234 w 270502"/>
                  <a:gd name="connsiteY36" fmla="*/ 0 h 721392"/>
                  <a:gd name="connsiteX37" fmla="*/ 210379 w 270502"/>
                  <a:gd name="connsiteY37" fmla="*/ 75145 h 721392"/>
                  <a:gd name="connsiteX38" fmla="*/ 135234 w 270502"/>
                  <a:gd name="connsiteY38" fmla="*/ 150290 h 721392"/>
                  <a:gd name="connsiteX39" fmla="*/ 60089 w 270502"/>
                  <a:gd name="connsiteY39" fmla="*/ 75145 h 721392"/>
                  <a:gd name="connsiteX40" fmla="*/ 135234 w 270502"/>
                  <a:gd name="connsiteY40" fmla="*/ 0 h 721392"/>
                  <a:gd name="connsiteX0" fmla="*/ 89097 w 270502"/>
                  <a:gd name="connsiteY0" fmla="*/ 691333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96852 w 270502"/>
                  <a:gd name="connsiteY17" fmla="*/ 180349 h 721392"/>
                  <a:gd name="connsiteX18" fmla="*/ 173589 w 270502"/>
                  <a:gd name="connsiteY18" fmla="*/ 180349 h 721392"/>
                  <a:gd name="connsiteX19" fmla="*/ 250238 w 270502"/>
                  <a:gd name="connsiteY19" fmla="*/ 253359 h 721392"/>
                  <a:gd name="connsiteX20" fmla="*/ 270166 w 270502"/>
                  <a:gd name="connsiteY20" fmla="*/ 427937 h 721392"/>
                  <a:gd name="connsiteX21" fmla="*/ 257782 w 270502"/>
                  <a:gd name="connsiteY21" fmla="*/ 467703 h 721392"/>
                  <a:gd name="connsiteX22" fmla="*/ 226913 w 270502"/>
                  <a:gd name="connsiteY22" fmla="*/ 482882 h 721392"/>
                  <a:gd name="connsiteX23" fmla="*/ 210320 w 270502"/>
                  <a:gd name="connsiteY23" fmla="*/ 707475 h 721392"/>
                  <a:gd name="connsiteX24" fmla="*/ 195351 w 270502"/>
                  <a:gd name="connsiteY24" fmla="*/ 721392 h 721392"/>
                  <a:gd name="connsiteX25" fmla="*/ 75119 w 270502"/>
                  <a:gd name="connsiteY25" fmla="*/ 721392 h 721392"/>
                  <a:gd name="connsiteX26" fmla="*/ 60151 w 270502"/>
                  <a:gd name="connsiteY26" fmla="*/ 707475 h 721392"/>
                  <a:gd name="connsiteX27" fmla="*/ 43558 w 270502"/>
                  <a:gd name="connsiteY27" fmla="*/ 482882 h 721392"/>
                  <a:gd name="connsiteX28" fmla="*/ 12689 w 270502"/>
                  <a:gd name="connsiteY28" fmla="*/ 467703 h 721392"/>
                  <a:gd name="connsiteX29" fmla="*/ 335 w 270502"/>
                  <a:gd name="connsiteY29" fmla="*/ 427937 h 721392"/>
                  <a:gd name="connsiteX30" fmla="*/ 20264 w 270502"/>
                  <a:gd name="connsiteY30" fmla="*/ 253359 h 721392"/>
                  <a:gd name="connsiteX31" fmla="*/ 96852 w 270502"/>
                  <a:gd name="connsiteY31" fmla="*/ 180349 h 721392"/>
                  <a:gd name="connsiteX32" fmla="*/ 135235 w 270502"/>
                  <a:gd name="connsiteY32" fmla="*/ 120232 h 721392"/>
                  <a:gd name="connsiteX33" fmla="*/ 135234 w 270502"/>
                  <a:gd name="connsiteY33" fmla="*/ 120232 h 721392"/>
                  <a:gd name="connsiteX34" fmla="*/ 135235 w 270502"/>
                  <a:gd name="connsiteY34" fmla="*/ 120232 h 721392"/>
                  <a:gd name="connsiteX35" fmla="*/ 135234 w 270502"/>
                  <a:gd name="connsiteY35" fmla="*/ 0 h 721392"/>
                  <a:gd name="connsiteX36" fmla="*/ 210379 w 270502"/>
                  <a:gd name="connsiteY36" fmla="*/ 75145 h 721392"/>
                  <a:gd name="connsiteX37" fmla="*/ 135234 w 270502"/>
                  <a:gd name="connsiteY37" fmla="*/ 150290 h 721392"/>
                  <a:gd name="connsiteX38" fmla="*/ 60089 w 270502"/>
                  <a:gd name="connsiteY38" fmla="*/ 75145 h 721392"/>
                  <a:gd name="connsiteX39" fmla="*/ 135234 w 270502"/>
                  <a:gd name="connsiteY39" fmla="*/ 0 h 721392"/>
                  <a:gd name="connsiteX0" fmla="*/ 89097 w 270502"/>
                  <a:gd name="connsiteY0" fmla="*/ 691333 h 721392"/>
                  <a:gd name="connsiteX1" fmla="*/ 57565 w 270502"/>
                  <a:gd name="connsiteY1" fmla="*/ 452884 h 721392"/>
                  <a:gd name="connsiteX2" fmla="*/ 89097 w 270502"/>
                  <a:gd name="connsiteY2" fmla="*/ 691334 h 721392"/>
                  <a:gd name="connsiteX3" fmla="*/ 181404 w 270502"/>
                  <a:gd name="connsiteY3" fmla="*/ 691334 h 721392"/>
                  <a:gd name="connsiteX4" fmla="*/ 197967 w 270502"/>
                  <a:gd name="connsiteY4" fmla="*/ 466801 h 721392"/>
                  <a:gd name="connsiteX5" fmla="*/ 212965 w 270502"/>
                  <a:gd name="connsiteY5" fmla="*/ 452884 h 721392"/>
                  <a:gd name="connsiteX6" fmla="*/ 224418 w 270502"/>
                  <a:gd name="connsiteY6" fmla="*/ 452884 h 721392"/>
                  <a:gd name="connsiteX7" fmla="*/ 235419 w 270502"/>
                  <a:gd name="connsiteY7" fmla="*/ 447685 h 721392"/>
                  <a:gd name="connsiteX8" fmla="*/ 240348 w 270502"/>
                  <a:gd name="connsiteY8" fmla="*/ 431333 h 721392"/>
                  <a:gd name="connsiteX9" fmla="*/ 240348 w 270502"/>
                  <a:gd name="connsiteY9" fmla="*/ 431332 h 721392"/>
                  <a:gd name="connsiteX10" fmla="*/ 235419 w 270502"/>
                  <a:gd name="connsiteY10" fmla="*/ 447684 h 721392"/>
                  <a:gd name="connsiteX11" fmla="*/ 224418 w 270502"/>
                  <a:gd name="connsiteY11" fmla="*/ 452883 h 721392"/>
                  <a:gd name="connsiteX12" fmla="*/ 212965 w 270502"/>
                  <a:gd name="connsiteY12" fmla="*/ 452883 h 721392"/>
                  <a:gd name="connsiteX13" fmla="*/ 197967 w 270502"/>
                  <a:gd name="connsiteY13" fmla="*/ 466800 h 721392"/>
                  <a:gd name="connsiteX14" fmla="*/ 181404 w 270502"/>
                  <a:gd name="connsiteY14" fmla="*/ 691333 h 721392"/>
                  <a:gd name="connsiteX15" fmla="*/ 89097 w 270502"/>
                  <a:gd name="connsiteY15" fmla="*/ 691333 h 721392"/>
                  <a:gd name="connsiteX16" fmla="*/ 96852 w 270502"/>
                  <a:gd name="connsiteY16" fmla="*/ 180349 h 721392"/>
                  <a:gd name="connsiteX17" fmla="*/ 173589 w 270502"/>
                  <a:gd name="connsiteY17" fmla="*/ 180349 h 721392"/>
                  <a:gd name="connsiteX18" fmla="*/ 250238 w 270502"/>
                  <a:gd name="connsiteY18" fmla="*/ 253359 h 721392"/>
                  <a:gd name="connsiteX19" fmla="*/ 270166 w 270502"/>
                  <a:gd name="connsiteY19" fmla="*/ 427937 h 721392"/>
                  <a:gd name="connsiteX20" fmla="*/ 257782 w 270502"/>
                  <a:gd name="connsiteY20" fmla="*/ 467703 h 721392"/>
                  <a:gd name="connsiteX21" fmla="*/ 226913 w 270502"/>
                  <a:gd name="connsiteY21" fmla="*/ 482882 h 721392"/>
                  <a:gd name="connsiteX22" fmla="*/ 210320 w 270502"/>
                  <a:gd name="connsiteY22" fmla="*/ 707475 h 721392"/>
                  <a:gd name="connsiteX23" fmla="*/ 195351 w 270502"/>
                  <a:gd name="connsiteY23" fmla="*/ 721392 h 721392"/>
                  <a:gd name="connsiteX24" fmla="*/ 75119 w 270502"/>
                  <a:gd name="connsiteY24" fmla="*/ 721392 h 721392"/>
                  <a:gd name="connsiteX25" fmla="*/ 60151 w 270502"/>
                  <a:gd name="connsiteY25" fmla="*/ 707475 h 721392"/>
                  <a:gd name="connsiteX26" fmla="*/ 43558 w 270502"/>
                  <a:gd name="connsiteY26" fmla="*/ 482882 h 721392"/>
                  <a:gd name="connsiteX27" fmla="*/ 12689 w 270502"/>
                  <a:gd name="connsiteY27" fmla="*/ 467703 h 721392"/>
                  <a:gd name="connsiteX28" fmla="*/ 335 w 270502"/>
                  <a:gd name="connsiteY28" fmla="*/ 427937 h 721392"/>
                  <a:gd name="connsiteX29" fmla="*/ 20264 w 270502"/>
                  <a:gd name="connsiteY29" fmla="*/ 253359 h 721392"/>
                  <a:gd name="connsiteX30" fmla="*/ 96852 w 270502"/>
                  <a:gd name="connsiteY30" fmla="*/ 180349 h 721392"/>
                  <a:gd name="connsiteX31" fmla="*/ 135235 w 270502"/>
                  <a:gd name="connsiteY31" fmla="*/ 120232 h 721392"/>
                  <a:gd name="connsiteX32" fmla="*/ 135234 w 270502"/>
                  <a:gd name="connsiteY32" fmla="*/ 120232 h 721392"/>
                  <a:gd name="connsiteX33" fmla="*/ 135235 w 270502"/>
                  <a:gd name="connsiteY33" fmla="*/ 120232 h 721392"/>
                  <a:gd name="connsiteX34" fmla="*/ 135234 w 270502"/>
                  <a:gd name="connsiteY34" fmla="*/ 0 h 721392"/>
                  <a:gd name="connsiteX35" fmla="*/ 210379 w 270502"/>
                  <a:gd name="connsiteY35" fmla="*/ 75145 h 721392"/>
                  <a:gd name="connsiteX36" fmla="*/ 135234 w 270502"/>
                  <a:gd name="connsiteY36" fmla="*/ 150290 h 721392"/>
                  <a:gd name="connsiteX37" fmla="*/ 60089 w 270502"/>
                  <a:gd name="connsiteY37" fmla="*/ 75145 h 721392"/>
                  <a:gd name="connsiteX38" fmla="*/ 135234 w 270502"/>
                  <a:gd name="connsiteY3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97967 w 270502"/>
                  <a:gd name="connsiteY12" fmla="*/ 466800 h 721392"/>
                  <a:gd name="connsiteX13" fmla="*/ 181404 w 270502"/>
                  <a:gd name="connsiteY13" fmla="*/ 691333 h 721392"/>
                  <a:gd name="connsiteX14" fmla="*/ 89097 w 270502"/>
                  <a:gd name="connsiteY14" fmla="*/ 691333 h 721392"/>
                  <a:gd name="connsiteX15" fmla="*/ 96852 w 270502"/>
                  <a:gd name="connsiteY15" fmla="*/ 180349 h 721392"/>
                  <a:gd name="connsiteX16" fmla="*/ 173589 w 270502"/>
                  <a:gd name="connsiteY16" fmla="*/ 180349 h 721392"/>
                  <a:gd name="connsiteX17" fmla="*/ 250238 w 270502"/>
                  <a:gd name="connsiteY17" fmla="*/ 253359 h 721392"/>
                  <a:gd name="connsiteX18" fmla="*/ 270166 w 270502"/>
                  <a:gd name="connsiteY18" fmla="*/ 427937 h 721392"/>
                  <a:gd name="connsiteX19" fmla="*/ 257782 w 270502"/>
                  <a:gd name="connsiteY19" fmla="*/ 467703 h 721392"/>
                  <a:gd name="connsiteX20" fmla="*/ 226913 w 270502"/>
                  <a:gd name="connsiteY20" fmla="*/ 482882 h 721392"/>
                  <a:gd name="connsiteX21" fmla="*/ 210320 w 270502"/>
                  <a:gd name="connsiteY21" fmla="*/ 707475 h 721392"/>
                  <a:gd name="connsiteX22" fmla="*/ 195351 w 270502"/>
                  <a:gd name="connsiteY22" fmla="*/ 721392 h 721392"/>
                  <a:gd name="connsiteX23" fmla="*/ 75119 w 270502"/>
                  <a:gd name="connsiteY23" fmla="*/ 721392 h 721392"/>
                  <a:gd name="connsiteX24" fmla="*/ 60151 w 270502"/>
                  <a:gd name="connsiteY24" fmla="*/ 707475 h 721392"/>
                  <a:gd name="connsiteX25" fmla="*/ 43558 w 270502"/>
                  <a:gd name="connsiteY25" fmla="*/ 482882 h 721392"/>
                  <a:gd name="connsiteX26" fmla="*/ 12689 w 270502"/>
                  <a:gd name="connsiteY26" fmla="*/ 467703 h 721392"/>
                  <a:gd name="connsiteX27" fmla="*/ 335 w 270502"/>
                  <a:gd name="connsiteY27" fmla="*/ 427937 h 721392"/>
                  <a:gd name="connsiteX28" fmla="*/ 20264 w 270502"/>
                  <a:gd name="connsiteY28" fmla="*/ 253359 h 721392"/>
                  <a:gd name="connsiteX29" fmla="*/ 96852 w 270502"/>
                  <a:gd name="connsiteY29" fmla="*/ 180349 h 721392"/>
                  <a:gd name="connsiteX30" fmla="*/ 135235 w 270502"/>
                  <a:gd name="connsiteY30" fmla="*/ 120232 h 721392"/>
                  <a:gd name="connsiteX31" fmla="*/ 135234 w 270502"/>
                  <a:gd name="connsiteY31" fmla="*/ 120232 h 721392"/>
                  <a:gd name="connsiteX32" fmla="*/ 135235 w 270502"/>
                  <a:gd name="connsiteY32" fmla="*/ 120232 h 721392"/>
                  <a:gd name="connsiteX33" fmla="*/ 135234 w 270502"/>
                  <a:gd name="connsiteY33" fmla="*/ 0 h 721392"/>
                  <a:gd name="connsiteX34" fmla="*/ 210379 w 270502"/>
                  <a:gd name="connsiteY34" fmla="*/ 75145 h 721392"/>
                  <a:gd name="connsiteX35" fmla="*/ 135234 w 270502"/>
                  <a:gd name="connsiteY35" fmla="*/ 150290 h 721392"/>
                  <a:gd name="connsiteX36" fmla="*/ 60089 w 270502"/>
                  <a:gd name="connsiteY36" fmla="*/ 75145 h 721392"/>
                  <a:gd name="connsiteX37" fmla="*/ 135234 w 270502"/>
                  <a:gd name="connsiteY3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81404 w 270502"/>
                  <a:gd name="connsiteY12" fmla="*/ 691333 h 721392"/>
                  <a:gd name="connsiteX13" fmla="*/ 89097 w 270502"/>
                  <a:gd name="connsiteY13" fmla="*/ 691333 h 721392"/>
                  <a:gd name="connsiteX14" fmla="*/ 96852 w 270502"/>
                  <a:gd name="connsiteY14" fmla="*/ 180349 h 721392"/>
                  <a:gd name="connsiteX15" fmla="*/ 173589 w 270502"/>
                  <a:gd name="connsiteY15" fmla="*/ 180349 h 721392"/>
                  <a:gd name="connsiteX16" fmla="*/ 250238 w 270502"/>
                  <a:gd name="connsiteY16" fmla="*/ 253359 h 721392"/>
                  <a:gd name="connsiteX17" fmla="*/ 270166 w 270502"/>
                  <a:gd name="connsiteY17" fmla="*/ 427937 h 721392"/>
                  <a:gd name="connsiteX18" fmla="*/ 257782 w 270502"/>
                  <a:gd name="connsiteY18" fmla="*/ 467703 h 721392"/>
                  <a:gd name="connsiteX19" fmla="*/ 226913 w 270502"/>
                  <a:gd name="connsiteY19" fmla="*/ 482882 h 721392"/>
                  <a:gd name="connsiteX20" fmla="*/ 210320 w 270502"/>
                  <a:gd name="connsiteY20" fmla="*/ 707475 h 721392"/>
                  <a:gd name="connsiteX21" fmla="*/ 195351 w 270502"/>
                  <a:gd name="connsiteY21" fmla="*/ 721392 h 721392"/>
                  <a:gd name="connsiteX22" fmla="*/ 75119 w 270502"/>
                  <a:gd name="connsiteY22" fmla="*/ 721392 h 721392"/>
                  <a:gd name="connsiteX23" fmla="*/ 60151 w 270502"/>
                  <a:gd name="connsiteY23" fmla="*/ 707475 h 721392"/>
                  <a:gd name="connsiteX24" fmla="*/ 43558 w 270502"/>
                  <a:gd name="connsiteY24" fmla="*/ 482882 h 721392"/>
                  <a:gd name="connsiteX25" fmla="*/ 12689 w 270502"/>
                  <a:gd name="connsiteY25" fmla="*/ 467703 h 721392"/>
                  <a:gd name="connsiteX26" fmla="*/ 335 w 270502"/>
                  <a:gd name="connsiteY26" fmla="*/ 427937 h 721392"/>
                  <a:gd name="connsiteX27" fmla="*/ 20264 w 270502"/>
                  <a:gd name="connsiteY27" fmla="*/ 253359 h 721392"/>
                  <a:gd name="connsiteX28" fmla="*/ 96852 w 270502"/>
                  <a:gd name="connsiteY28" fmla="*/ 180349 h 721392"/>
                  <a:gd name="connsiteX29" fmla="*/ 135235 w 270502"/>
                  <a:gd name="connsiteY29" fmla="*/ 120232 h 721392"/>
                  <a:gd name="connsiteX30" fmla="*/ 135234 w 270502"/>
                  <a:gd name="connsiteY30" fmla="*/ 120232 h 721392"/>
                  <a:gd name="connsiteX31" fmla="*/ 135235 w 270502"/>
                  <a:gd name="connsiteY31" fmla="*/ 120232 h 721392"/>
                  <a:gd name="connsiteX32" fmla="*/ 135234 w 270502"/>
                  <a:gd name="connsiteY32" fmla="*/ 0 h 721392"/>
                  <a:gd name="connsiteX33" fmla="*/ 210379 w 270502"/>
                  <a:gd name="connsiteY33" fmla="*/ 75145 h 721392"/>
                  <a:gd name="connsiteX34" fmla="*/ 135234 w 270502"/>
                  <a:gd name="connsiteY34" fmla="*/ 150290 h 721392"/>
                  <a:gd name="connsiteX35" fmla="*/ 60089 w 270502"/>
                  <a:gd name="connsiteY35" fmla="*/ 75145 h 721392"/>
                  <a:gd name="connsiteX36" fmla="*/ 135234 w 270502"/>
                  <a:gd name="connsiteY36"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181404 w 270502"/>
                  <a:gd name="connsiteY11" fmla="*/ 691333 h 721392"/>
                  <a:gd name="connsiteX12" fmla="*/ 89097 w 270502"/>
                  <a:gd name="connsiteY12" fmla="*/ 691333 h 721392"/>
                  <a:gd name="connsiteX13" fmla="*/ 96852 w 270502"/>
                  <a:gd name="connsiteY13" fmla="*/ 180349 h 721392"/>
                  <a:gd name="connsiteX14" fmla="*/ 173589 w 270502"/>
                  <a:gd name="connsiteY14" fmla="*/ 180349 h 721392"/>
                  <a:gd name="connsiteX15" fmla="*/ 250238 w 270502"/>
                  <a:gd name="connsiteY15" fmla="*/ 253359 h 721392"/>
                  <a:gd name="connsiteX16" fmla="*/ 270166 w 270502"/>
                  <a:gd name="connsiteY16" fmla="*/ 427937 h 721392"/>
                  <a:gd name="connsiteX17" fmla="*/ 257782 w 270502"/>
                  <a:gd name="connsiteY17" fmla="*/ 467703 h 721392"/>
                  <a:gd name="connsiteX18" fmla="*/ 226913 w 270502"/>
                  <a:gd name="connsiteY18" fmla="*/ 482882 h 721392"/>
                  <a:gd name="connsiteX19" fmla="*/ 210320 w 270502"/>
                  <a:gd name="connsiteY19" fmla="*/ 707475 h 721392"/>
                  <a:gd name="connsiteX20" fmla="*/ 195351 w 270502"/>
                  <a:gd name="connsiteY20" fmla="*/ 721392 h 721392"/>
                  <a:gd name="connsiteX21" fmla="*/ 75119 w 270502"/>
                  <a:gd name="connsiteY21" fmla="*/ 721392 h 721392"/>
                  <a:gd name="connsiteX22" fmla="*/ 60151 w 270502"/>
                  <a:gd name="connsiteY22" fmla="*/ 707475 h 721392"/>
                  <a:gd name="connsiteX23" fmla="*/ 43558 w 270502"/>
                  <a:gd name="connsiteY23" fmla="*/ 482882 h 721392"/>
                  <a:gd name="connsiteX24" fmla="*/ 12689 w 270502"/>
                  <a:gd name="connsiteY24" fmla="*/ 467703 h 721392"/>
                  <a:gd name="connsiteX25" fmla="*/ 335 w 270502"/>
                  <a:gd name="connsiteY25" fmla="*/ 427937 h 721392"/>
                  <a:gd name="connsiteX26" fmla="*/ 20264 w 270502"/>
                  <a:gd name="connsiteY26" fmla="*/ 253359 h 721392"/>
                  <a:gd name="connsiteX27" fmla="*/ 96852 w 270502"/>
                  <a:gd name="connsiteY27" fmla="*/ 180349 h 721392"/>
                  <a:gd name="connsiteX28" fmla="*/ 135235 w 270502"/>
                  <a:gd name="connsiteY28" fmla="*/ 120232 h 721392"/>
                  <a:gd name="connsiteX29" fmla="*/ 135234 w 270502"/>
                  <a:gd name="connsiteY29" fmla="*/ 120232 h 721392"/>
                  <a:gd name="connsiteX30" fmla="*/ 135235 w 270502"/>
                  <a:gd name="connsiteY30" fmla="*/ 120232 h 721392"/>
                  <a:gd name="connsiteX31" fmla="*/ 135234 w 270502"/>
                  <a:gd name="connsiteY31" fmla="*/ 0 h 721392"/>
                  <a:gd name="connsiteX32" fmla="*/ 210379 w 270502"/>
                  <a:gd name="connsiteY32" fmla="*/ 75145 h 721392"/>
                  <a:gd name="connsiteX33" fmla="*/ 135234 w 270502"/>
                  <a:gd name="connsiteY33" fmla="*/ 150290 h 721392"/>
                  <a:gd name="connsiteX34" fmla="*/ 60089 w 270502"/>
                  <a:gd name="connsiteY34" fmla="*/ 75145 h 721392"/>
                  <a:gd name="connsiteX35" fmla="*/ 135234 w 270502"/>
                  <a:gd name="connsiteY35"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181404 w 270502"/>
                  <a:gd name="connsiteY10" fmla="*/ 691333 h 721392"/>
                  <a:gd name="connsiteX11" fmla="*/ 89097 w 270502"/>
                  <a:gd name="connsiteY11" fmla="*/ 691333 h 721392"/>
                  <a:gd name="connsiteX12" fmla="*/ 96852 w 270502"/>
                  <a:gd name="connsiteY12" fmla="*/ 180349 h 721392"/>
                  <a:gd name="connsiteX13" fmla="*/ 173589 w 270502"/>
                  <a:gd name="connsiteY13" fmla="*/ 180349 h 721392"/>
                  <a:gd name="connsiteX14" fmla="*/ 250238 w 270502"/>
                  <a:gd name="connsiteY14" fmla="*/ 253359 h 721392"/>
                  <a:gd name="connsiteX15" fmla="*/ 270166 w 270502"/>
                  <a:gd name="connsiteY15" fmla="*/ 427937 h 721392"/>
                  <a:gd name="connsiteX16" fmla="*/ 257782 w 270502"/>
                  <a:gd name="connsiteY16" fmla="*/ 467703 h 721392"/>
                  <a:gd name="connsiteX17" fmla="*/ 226913 w 270502"/>
                  <a:gd name="connsiteY17" fmla="*/ 482882 h 721392"/>
                  <a:gd name="connsiteX18" fmla="*/ 210320 w 270502"/>
                  <a:gd name="connsiteY18" fmla="*/ 707475 h 721392"/>
                  <a:gd name="connsiteX19" fmla="*/ 195351 w 270502"/>
                  <a:gd name="connsiteY19" fmla="*/ 721392 h 721392"/>
                  <a:gd name="connsiteX20" fmla="*/ 75119 w 270502"/>
                  <a:gd name="connsiteY20" fmla="*/ 721392 h 721392"/>
                  <a:gd name="connsiteX21" fmla="*/ 60151 w 270502"/>
                  <a:gd name="connsiteY21" fmla="*/ 707475 h 721392"/>
                  <a:gd name="connsiteX22" fmla="*/ 43558 w 270502"/>
                  <a:gd name="connsiteY22" fmla="*/ 482882 h 721392"/>
                  <a:gd name="connsiteX23" fmla="*/ 12689 w 270502"/>
                  <a:gd name="connsiteY23" fmla="*/ 467703 h 721392"/>
                  <a:gd name="connsiteX24" fmla="*/ 335 w 270502"/>
                  <a:gd name="connsiteY24" fmla="*/ 427937 h 721392"/>
                  <a:gd name="connsiteX25" fmla="*/ 20264 w 270502"/>
                  <a:gd name="connsiteY25" fmla="*/ 253359 h 721392"/>
                  <a:gd name="connsiteX26" fmla="*/ 96852 w 270502"/>
                  <a:gd name="connsiteY26" fmla="*/ 180349 h 721392"/>
                  <a:gd name="connsiteX27" fmla="*/ 135235 w 270502"/>
                  <a:gd name="connsiteY27" fmla="*/ 120232 h 721392"/>
                  <a:gd name="connsiteX28" fmla="*/ 135234 w 270502"/>
                  <a:gd name="connsiteY28" fmla="*/ 120232 h 721392"/>
                  <a:gd name="connsiteX29" fmla="*/ 135235 w 270502"/>
                  <a:gd name="connsiteY29" fmla="*/ 120232 h 721392"/>
                  <a:gd name="connsiteX30" fmla="*/ 135234 w 270502"/>
                  <a:gd name="connsiteY30" fmla="*/ 0 h 721392"/>
                  <a:gd name="connsiteX31" fmla="*/ 210379 w 270502"/>
                  <a:gd name="connsiteY31" fmla="*/ 75145 h 721392"/>
                  <a:gd name="connsiteX32" fmla="*/ 135234 w 270502"/>
                  <a:gd name="connsiteY32" fmla="*/ 150290 h 721392"/>
                  <a:gd name="connsiteX33" fmla="*/ 60089 w 270502"/>
                  <a:gd name="connsiteY33" fmla="*/ 75145 h 721392"/>
                  <a:gd name="connsiteX34" fmla="*/ 135234 w 270502"/>
                  <a:gd name="connsiteY34"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235419 w 270502"/>
                  <a:gd name="connsiteY8" fmla="*/ 447684 h 721392"/>
                  <a:gd name="connsiteX9" fmla="*/ 181404 w 270502"/>
                  <a:gd name="connsiteY9" fmla="*/ 691333 h 721392"/>
                  <a:gd name="connsiteX10" fmla="*/ 89097 w 270502"/>
                  <a:gd name="connsiteY10" fmla="*/ 691333 h 721392"/>
                  <a:gd name="connsiteX11" fmla="*/ 96852 w 270502"/>
                  <a:gd name="connsiteY11" fmla="*/ 180349 h 721392"/>
                  <a:gd name="connsiteX12" fmla="*/ 173589 w 270502"/>
                  <a:gd name="connsiteY12" fmla="*/ 180349 h 721392"/>
                  <a:gd name="connsiteX13" fmla="*/ 250238 w 270502"/>
                  <a:gd name="connsiteY13" fmla="*/ 253359 h 721392"/>
                  <a:gd name="connsiteX14" fmla="*/ 270166 w 270502"/>
                  <a:gd name="connsiteY14" fmla="*/ 427937 h 721392"/>
                  <a:gd name="connsiteX15" fmla="*/ 257782 w 270502"/>
                  <a:gd name="connsiteY15" fmla="*/ 467703 h 721392"/>
                  <a:gd name="connsiteX16" fmla="*/ 226913 w 270502"/>
                  <a:gd name="connsiteY16" fmla="*/ 482882 h 721392"/>
                  <a:gd name="connsiteX17" fmla="*/ 210320 w 270502"/>
                  <a:gd name="connsiteY17" fmla="*/ 707475 h 721392"/>
                  <a:gd name="connsiteX18" fmla="*/ 195351 w 270502"/>
                  <a:gd name="connsiteY18" fmla="*/ 721392 h 721392"/>
                  <a:gd name="connsiteX19" fmla="*/ 75119 w 270502"/>
                  <a:gd name="connsiteY19" fmla="*/ 721392 h 721392"/>
                  <a:gd name="connsiteX20" fmla="*/ 60151 w 270502"/>
                  <a:gd name="connsiteY20" fmla="*/ 707475 h 721392"/>
                  <a:gd name="connsiteX21" fmla="*/ 43558 w 270502"/>
                  <a:gd name="connsiteY21" fmla="*/ 482882 h 721392"/>
                  <a:gd name="connsiteX22" fmla="*/ 12689 w 270502"/>
                  <a:gd name="connsiteY22" fmla="*/ 467703 h 721392"/>
                  <a:gd name="connsiteX23" fmla="*/ 335 w 270502"/>
                  <a:gd name="connsiteY23" fmla="*/ 427937 h 721392"/>
                  <a:gd name="connsiteX24" fmla="*/ 20264 w 270502"/>
                  <a:gd name="connsiteY24" fmla="*/ 253359 h 721392"/>
                  <a:gd name="connsiteX25" fmla="*/ 96852 w 270502"/>
                  <a:gd name="connsiteY25" fmla="*/ 180349 h 721392"/>
                  <a:gd name="connsiteX26" fmla="*/ 135235 w 270502"/>
                  <a:gd name="connsiteY26" fmla="*/ 120232 h 721392"/>
                  <a:gd name="connsiteX27" fmla="*/ 135234 w 270502"/>
                  <a:gd name="connsiteY27" fmla="*/ 120232 h 721392"/>
                  <a:gd name="connsiteX28" fmla="*/ 135235 w 270502"/>
                  <a:gd name="connsiteY28" fmla="*/ 120232 h 721392"/>
                  <a:gd name="connsiteX29" fmla="*/ 135234 w 270502"/>
                  <a:gd name="connsiteY29" fmla="*/ 0 h 721392"/>
                  <a:gd name="connsiteX30" fmla="*/ 210379 w 270502"/>
                  <a:gd name="connsiteY30" fmla="*/ 75145 h 721392"/>
                  <a:gd name="connsiteX31" fmla="*/ 135234 w 270502"/>
                  <a:gd name="connsiteY31" fmla="*/ 150290 h 721392"/>
                  <a:gd name="connsiteX32" fmla="*/ 60089 w 270502"/>
                  <a:gd name="connsiteY32" fmla="*/ 75145 h 721392"/>
                  <a:gd name="connsiteX33" fmla="*/ 135234 w 270502"/>
                  <a:gd name="connsiteY33"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181404 w 270502"/>
                  <a:gd name="connsiteY8" fmla="*/ 691333 h 721392"/>
                  <a:gd name="connsiteX9" fmla="*/ 89097 w 270502"/>
                  <a:gd name="connsiteY9" fmla="*/ 691333 h 721392"/>
                  <a:gd name="connsiteX10" fmla="*/ 96852 w 270502"/>
                  <a:gd name="connsiteY10" fmla="*/ 180349 h 721392"/>
                  <a:gd name="connsiteX11" fmla="*/ 173589 w 270502"/>
                  <a:gd name="connsiteY11" fmla="*/ 180349 h 721392"/>
                  <a:gd name="connsiteX12" fmla="*/ 250238 w 270502"/>
                  <a:gd name="connsiteY12" fmla="*/ 253359 h 721392"/>
                  <a:gd name="connsiteX13" fmla="*/ 270166 w 270502"/>
                  <a:gd name="connsiteY13" fmla="*/ 427937 h 721392"/>
                  <a:gd name="connsiteX14" fmla="*/ 257782 w 270502"/>
                  <a:gd name="connsiteY14" fmla="*/ 467703 h 721392"/>
                  <a:gd name="connsiteX15" fmla="*/ 226913 w 270502"/>
                  <a:gd name="connsiteY15" fmla="*/ 482882 h 721392"/>
                  <a:gd name="connsiteX16" fmla="*/ 210320 w 270502"/>
                  <a:gd name="connsiteY16" fmla="*/ 707475 h 721392"/>
                  <a:gd name="connsiteX17" fmla="*/ 195351 w 270502"/>
                  <a:gd name="connsiteY17" fmla="*/ 721392 h 721392"/>
                  <a:gd name="connsiteX18" fmla="*/ 75119 w 270502"/>
                  <a:gd name="connsiteY18" fmla="*/ 721392 h 721392"/>
                  <a:gd name="connsiteX19" fmla="*/ 60151 w 270502"/>
                  <a:gd name="connsiteY19" fmla="*/ 707475 h 721392"/>
                  <a:gd name="connsiteX20" fmla="*/ 43558 w 270502"/>
                  <a:gd name="connsiteY20" fmla="*/ 482882 h 721392"/>
                  <a:gd name="connsiteX21" fmla="*/ 12689 w 270502"/>
                  <a:gd name="connsiteY21" fmla="*/ 467703 h 721392"/>
                  <a:gd name="connsiteX22" fmla="*/ 335 w 270502"/>
                  <a:gd name="connsiteY22" fmla="*/ 427937 h 721392"/>
                  <a:gd name="connsiteX23" fmla="*/ 20264 w 270502"/>
                  <a:gd name="connsiteY23" fmla="*/ 253359 h 721392"/>
                  <a:gd name="connsiteX24" fmla="*/ 96852 w 270502"/>
                  <a:gd name="connsiteY24" fmla="*/ 180349 h 721392"/>
                  <a:gd name="connsiteX25" fmla="*/ 135235 w 270502"/>
                  <a:gd name="connsiteY25" fmla="*/ 120232 h 721392"/>
                  <a:gd name="connsiteX26" fmla="*/ 135234 w 270502"/>
                  <a:gd name="connsiteY26" fmla="*/ 120232 h 721392"/>
                  <a:gd name="connsiteX27" fmla="*/ 135235 w 270502"/>
                  <a:gd name="connsiteY27" fmla="*/ 120232 h 721392"/>
                  <a:gd name="connsiteX28" fmla="*/ 135234 w 270502"/>
                  <a:gd name="connsiteY28" fmla="*/ 0 h 721392"/>
                  <a:gd name="connsiteX29" fmla="*/ 210379 w 270502"/>
                  <a:gd name="connsiteY29" fmla="*/ 75145 h 721392"/>
                  <a:gd name="connsiteX30" fmla="*/ 135234 w 270502"/>
                  <a:gd name="connsiteY30" fmla="*/ 150290 h 721392"/>
                  <a:gd name="connsiteX31" fmla="*/ 60089 w 270502"/>
                  <a:gd name="connsiteY31" fmla="*/ 75145 h 721392"/>
                  <a:gd name="connsiteX32" fmla="*/ 135234 w 270502"/>
                  <a:gd name="connsiteY32"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181404 w 270502"/>
                  <a:gd name="connsiteY7" fmla="*/ 691333 h 721392"/>
                  <a:gd name="connsiteX8" fmla="*/ 89097 w 270502"/>
                  <a:gd name="connsiteY8" fmla="*/ 691333 h 721392"/>
                  <a:gd name="connsiteX9" fmla="*/ 96852 w 270502"/>
                  <a:gd name="connsiteY9" fmla="*/ 180349 h 721392"/>
                  <a:gd name="connsiteX10" fmla="*/ 173589 w 270502"/>
                  <a:gd name="connsiteY10" fmla="*/ 180349 h 721392"/>
                  <a:gd name="connsiteX11" fmla="*/ 250238 w 270502"/>
                  <a:gd name="connsiteY11" fmla="*/ 253359 h 721392"/>
                  <a:gd name="connsiteX12" fmla="*/ 270166 w 270502"/>
                  <a:gd name="connsiteY12" fmla="*/ 427937 h 721392"/>
                  <a:gd name="connsiteX13" fmla="*/ 257782 w 270502"/>
                  <a:gd name="connsiteY13" fmla="*/ 467703 h 721392"/>
                  <a:gd name="connsiteX14" fmla="*/ 226913 w 270502"/>
                  <a:gd name="connsiteY14" fmla="*/ 482882 h 721392"/>
                  <a:gd name="connsiteX15" fmla="*/ 210320 w 270502"/>
                  <a:gd name="connsiteY15" fmla="*/ 707475 h 721392"/>
                  <a:gd name="connsiteX16" fmla="*/ 195351 w 270502"/>
                  <a:gd name="connsiteY16" fmla="*/ 721392 h 721392"/>
                  <a:gd name="connsiteX17" fmla="*/ 75119 w 270502"/>
                  <a:gd name="connsiteY17" fmla="*/ 721392 h 721392"/>
                  <a:gd name="connsiteX18" fmla="*/ 60151 w 270502"/>
                  <a:gd name="connsiteY18" fmla="*/ 707475 h 721392"/>
                  <a:gd name="connsiteX19" fmla="*/ 43558 w 270502"/>
                  <a:gd name="connsiteY19" fmla="*/ 482882 h 721392"/>
                  <a:gd name="connsiteX20" fmla="*/ 12689 w 270502"/>
                  <a:gd name="connsiteY20" fmla="*/ 467703 h 721392"/>
                  <a:gd name="connsiteX21" fmla="*/ 335 w 270502"/>
                  <a:gd name="connsiteY21" fmla="*/ 427937 h 721392"/>
                  <a:gd name="connsiteX22" fmla="*/ 20264 w 270502"/>
                  <a:gd name="connsiteY22" fmla="*/ 253359 h 721392"/>
                  <a:gd name="connsiteX23" fmla="*/ 96852 w 270502"/>
                  <a:gd name="connsiteY23" fmla="*/ 180349 h 721392"/>
                  <a:gd name="connsiteX24" fmla="*/ 135235 w 270502"/>
                  <a:gd name="connsiteY24" fmla="*/ 120232 h 721392"/>
                  <a:gd name="connsiteX25" fmla="*/ 135234 w 270502"/>
                  <a:gd name="connsiteY25" fmla="*/ 120232 h 721392"/>
                  <a:gd name="connsiteX26" fmla="*/ 135235 w 270502"/>
                  <a:gd name="connsiteY26" fmla="*/ 120232 h 721392"/>
                  <a:gd name="connsiteX27" fmla="*/ 135234 w 270502"/>
                  <a:gd name="connsiteY27" fmla="*/ 0 h 721392"/>
                  <a:gd name="connsiteX28" fmla="*/ 210379 w 270502"/>
                  <a:gd name="connsiteY28" fmla="*/ 75145 h 721392"/>
                  <a:gd name="connsiteX29" fmla="*/ 135234 w 270502"/>
                  <a:gd name="connsiteY29" fmla="*/ 150290 h 721392"/>
                  <a:gd name="connsiteX30" fmla="*/ 60089 w 270502"/>
                  <a:gd name="connsiteY30" fmla="*/ 75145 h 721392"/>
                  <a:gd name="connsiteX31" fmla="*/ 135234 w 270502"/>
                  <a:gd name="connsiteY31"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240348 w 270502"/>
                  <a:gd name="connsiteY5" fmla="*/ 431333 h 721392"/>
                  <a:gd name="connsiteX6" fmla="*/ 181404 w 270502"/>
                  <a:gd name="connsiteY6" fmla="*/ 691333 h 721392"/>
                  <a:gd name="connsiteX7" fmla="*/ 89097 w 270502"/>
                  <a:gd name="connsiteY7" fmla="*/ 691333 h 721392"/>
                  <a:gd name="connsiteX8" fmla="*/ 96852 w 270502"/>
                  <a:gd name="connsiteY8" fmla="*/ 180349 h 721392"/>
                  <a:gd name="connsiteX9" fmla="*/ 173589 w 270502"/>
                  <a:gd name="connsiteY9" fmla="*/ 180349 h 721392"/>
                  <a:gd name="connsiteX10" fmla="*/ 250238 w 270502"/>
                  <a:gd name="connsiteY10" fmla="*/ 253359 h 721392"/>
                  <a:gd name="connsiteX11" fmla="*/ 270166 w 270502"/>
                  <a:gd name="connsiteY11" fmla="*/ 427937 h 721392"/>
                  <a:gd name="connsiteX12" fmla="*/ 257782 w 270502"/>
                  <a:gd name="connsiteY12" fmla="*/ 467703 h 721392"/>
                  <a:gd name="connsiteX13" fmla="*/ 226913 w 270502"/>
                  <a:gd name="connsiteY13" fmla="*/ 482882 h 721392"/>
                  <a:gd name="connsiteX14" fmla="*/ 210320 w 270502"/>
                  <a:gd name="connsiteY14" fmla="*/ 707475 h 721392"/>
                  <a:gd name="connsiteX15" fmla="*/ 195351 w 270502"/>
                  <a:gd name="connsiteY15" fmla="*/ 721392 h 721392"/>
                  <a:gd name="connsiteX16" fmla="*/ 75119 w 270502"/>
                  <a:gd name="connsiteY16" fmla="*/ 721392 h 721392"/>
                  <a:gd name="connsiteX17" fmla="*/ 60151 w 270502"/>
                  <a:gd name="connsiteY17" fmla="*/ 707475 h 721392"/>
                  <a:gd name="connsiteX18" fmla="*/ 43558 w 270502"/>
                  <a:gd name="connsiteY18" fmla="*/ 482882 h 721392"/>
                  <a:gd name="connsiteX19" fmla="*/ 12689 w 270502"/>
                  <a:gd name="connsiteY19" fmla="*/ 467703 h 721392"/>
                  <a:gd name="connsiteX20" fmla="*/ 335 w 270502"/>
                  <a:gd name="connsiteY20" fmla="*/ 427937 h 721392"/>
                  <a:gd name="connsiteX21" fmla="*/ 20264 w 270502"/>
                  <a:gd name="connsiteY21" fmla="*/ 253359 h 721392"/>
                  <a:gd name="connsiteX22" fmla="*/ 96852 w 270502"/>
                  <a:gd name="connsiteY22" fmla="*/ 180349 h 721392"/>
                  <a:gd name="connsiteX23" fmla="*/ 135235 w 270502"/>
                  <a:gd name="connsiteY23" fmla="*/ 120232 h 721392"/>
                  <a:gd name="connsiteX24" fmla="*/ 135234 w 270502"/>
                  <a:gd name="connsiteY24" fmla="*/ 120232 h 721392"/>
                  <a:gd name="connsiteX25" fmla="*/ 135235 w 270502"/>
                  <a:gd name="connsiteY25" fmla="*/ 120232 h 721392"/>
                  <a:gd name="connsiteX26" fmla="*/ 135234 w 270502"/>
                  <a:gd name="connsiteY26" fmla="*/ 0 h 721392"/>
                  <a:gd name="connsiteX27" fmla="*/ 210379 w 270502"/>
                  <a:gd name="connsiteY27" fmla="*/ 75145 h 721392"/>
                  <a:gd name="connsiteX28" fmla="*/ 135234 w 270502"/>
                  <a:gd name="connsiteY28" fmla="*/ 150290 h 721392"/>
                  <a:gd name="connsiteX29" fmla="*/ 60089 w 270502"/>
                  <a:gd name="connsiteY29" fmla="*/ 75145 h 721392"/>
                  <a:gd name="connsiteX30" fmla="*/ 135234 w 270502"/>
                  <a:gd name="connsiteY30"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181404 w 270502"/>
                  <a:gd name="connsiteY5" fmla="*/ 691333 h 721392"/>
                  <a:gd name="connsiteX6" fmla="*/ 89097 w 270502"/>
                  <a:gd name="connsiteY6" fmla="*/ 691333 h 721392"/>
                  <a:gd name="connsiteX7" fmla="*/ 96852 w 270502"/>
                  <a:gd name="connsiteY7" fmla="*/ 180349 h 721392"/>
                  <a:gd name="connsiteX8" fmla="*/ 173589 w 270502"/>
                  <a:gd name="connsiteY8" fmla="*/ 180349 h 721392"/>
                  <a:gd name="connsiteX9" fmla="*/ 250238 w 270502"/>
                  <a:gd name="connsiteY9" fmla="*/ 253359 h 721392"/>
                  <a:gd name="connsiteX10" fmla="*/ 270166 w 270502"/>
                  <a:gd name="connsiteY10" fmla="*/ 427937 h 721392"/>
                  <a:gd name="connsiteX11" fmla="*/ 257782 w 270502"/>
                  <a:gd name="connsiteY11" fmla="*/ 467703 h 721392"/>
                  <a:gd name="connsiteX12" fmla="*/ 226913 w 270502"/>
                  <a:gd name="connsiteY12" fmla="*/ 482882 h 721392"/>
                  <a:gd name="connsiteX13" fmla="*/ 210320 w 270502"/>
                  <a:gd name="connsiteY13" fmla="*/ 707475 h 721392"/>
                  <a:gd name="connsiteX14" fmla="*/ 195351 w 270502"/>
                  <a:gd name="connsiteY14" fmla="*/ 721392 h 721392"/>
                  <a:gd name="connsiteX15" fmla="*/ 75119 w 270502"/>
                  <a:gd name="connsiteY15" fmla="*/ 721392 h 721392"/>
                  <a:gd name="connsiteX16" fmla="*/ 60151 w 270502"/>
                  <a:gd name="connsiteY16" fmla="*/ 707475 h 721392"/>
                  <a:gd name="connsiteX17" fmla="*/ 43558 w 270502"/>
                  <a:gd name="connsiteY17" fmla="*/ 482882 h 721392"/>
                  <a:gd name="connsiteX18" fmla="*/ 12689 w 270502"/>
                  <a:gd name="connsiteY18" fmla="*/ 467703 h 721392"/>
                  <a:gd name="connsiteX19" fmla="*/ 335 w 270502"/>
                  <a:gd name="connsiteY19" fmla="*/ 427937 h 721392"/>
                  <a:gd name="connsiteX20" fmla="*/ 20264 w 270502"/>
                  <a:gd name="connsiteY20" fmla="*/ 253359 h 721392"/>
                  <a:gd name="connsiteX21" fmla="*/ 96852 w 270502"/>
                  <a:gd name="connsiteY21" fmla="*/ 180349 h 721392"/>
                  <a:gd name="connsiteX22" fmla="*/ 135235 w 270502"/>
                  <a:gd name="connsiteY22" fmla="*/ 120232 h 721392"/>
                  <a:gd name="connsiteX23" fmla="*/ 135234 w 270502"/>
                  <a:gd name="connsiteY23" fmla="*/ 120232 h 721392"/>
                  <a:gd name="connsiteX24" fmla="*/ 135235 w 270502"/>
                  <a:gd name="connsiteY24" fmla="*/ 120232 h 721392"/>
                  <a:gd name="connsiteX25" fmla="*/ 135234 w 270502"/>
                  <a:gd name="connsiteY25" fmla="*/ 0 h 721392"/>
                  <a:gd name="connsiteX26" fmla="*/ 210379 w 270502"/>
                  <a:gd name="connsiteY26" fmla="*/ 75145 h 721392"/>
                  <a:gd name="connsiteX27" fmla="*/ 135234 w 270502"/>
                  <a:gd name="connsiteY27" fmla="*/ 150290 h 721392"/>
                  <a:gd name="connsiteX28" fmla="*/ 60089 w 270502"/>
                  <a:gd name="connsiteY28" fmla="*/ 75145 h 721392"/>
                  <a:gd name="connsiteX29" fmla="*/ 135234 w 270502"/>
                  <a:gd name="connsiteY29"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181404 w 270502"/>
                  <a:gd name="connsiteY4" fmla="*/ 691333 h 721392"/>
                  <a:gd name="connsiteX5" fmla="*/ 89097 w 270502"/>
                  <a:gd name="connsiteY5" fmla="*/ 691333 h 721392"/>
                  <a:gd name="connsiteX6" fmla="*/ 96852 w 270502"/>
                  <a:gd name="connsiteY6" fmla="*/ 180349 h 721392"/>
                  <a:gd name="connsiteX7" fmla="*/ 173589 w 270502"/>
                  <a:gd name="connsiteY7" fmla="*/ 180349 h 721392"/>
                  <a:gd name="connsiteX8" fmla="*/ 250238 w 270502"/>
                  <a:gd name="connsiteY8" fmla="*/ 253359 h 721392"/>
                  <a:gd name="connsiteX9" fmla="*/ 270166 w 270502"/>
                  <a:gd name="connsiteY9" fmla="*/ 427937 h 721392"/>
                  <a:gd name="connsiteX10" fmla="*/ 257782 w 270502"/>
                  <a:gd name="connsiteY10" fmla="*/ 467703 h 721392"/>
                  <a:gd name="connsiteX11" fmla="*/ 226913 w 270502"/>
                  <a:gd name="connsiteY11" fmla="*/ 482882 h 721392"/>
                  <a:gd name="connsiteX12" fmla="*/ 210320 w 270502"/>
                  <a:gd name="connsiteY12" fmla="*/ 707475 h 721392"/>
                  <a:gd name="connsiteX13" fmla="*/ 195351 w 270502"/>
                  <a:gd name="connsiteY13" fmla="*/ 721392 h 721392"/>
                  <a:gd name="connsiteX14" fmla="*/ 75119 w 270502"/>
                  <a:gd name="connsiteY14" fmla="*/ 721392 h 721392"/>
                  <a:gd name="connsiteX15" fmla="*/ 60151 w 270502"/>
                  <a:gd name="connsiteY15" fmla="*/ 707475 h 721392"/>
                  <a:gd name="connsiteX16" fmla="*/ 43558 w 270502"/>
                  <a:gd name="connsiteY16" fmla="*/ 482882 h 721392"/>
                  <a:gd name="connsiteX17" fmla="*/ 12689 w 270502"/>
                  <a:gd name="connsiteY17" fmla="*/ 467703 h 721392"/>
                  <a:gd name="connsiteX18" fmla="*/ 335 w 270502"/>
                  <a:gd name="connsiteY18" fmla="*/ 427937 h 721392"/>
                  <a:gd name="connsiteX19" fmla="*/ 20264 w 270502"/>
                  <a:gd name="connsiteY19" fmla="*/ 253359 h 721392"/>
                  <a:gd name="connsiteX20" fmla="*/ 96852 w 270502"/>
                  <a:gd name="connsiteY20" fmla="*/ 180349 h 721392"/>
                  <a:gd name="connsiteX21" fmla="*/ 135235 w 270502"/>
                  <a:gd name="connsiteY21" fmla="*/ 120232 h 721392"/>
                  <a:gd name="connsiteX22" fmla="*/ 135234 w 270502"/>
                  <a:gd name="connsiteY22" fmla="*/ 120232 h 721392"/>
                  <a:gd name="connsiteX23" fmla="*/ 135235 w 270502"/>
                  <a:gd name="connsiteY23" fmla="*/ 120232 h 721392"/>
                  <a:gd name="connsiteX24" fmla="*/ 135234 w 270502"/>
                  <a:gd name="connsiteY24" fmla="*/ 0 h 721392"/>
                  <a:gd name="connsiteX25" fmla="*/ 210379 w 270502"/>
                  <a:gd name="connsiteY25" fmla="*/ 75145 h 721392"/>
                  <a:gd name="connsiteX26" fmla="*/ 135234 w 270502"/>
                  <a:gd name="connsiteY26" fmla="*/ 150290 h 721392"/>
                  <a:gd name="connsiteX27" fmla="*/ 60089 w 270502"/>
                  <a:gd name="connsiteY27" fmla="*/ 75145 h 721392"/>
                  <a:gd name="connsiteX28" fmla="*/ 135234 w 270502"/>
                  <a:gd name="connsiteY2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81404 w 270502"/>
                  <a:gd name="connsiteY3" fmla="*/ 691333 h 721392"/>
                  <a:gd name="connsiteX4" fmla="*/ 89097 w 270502"/>
                  <a:gd name="connsiteY4" fmla="*/ 691333 h 721392"/>
                  <a:gd name="connsiteX5" fmla="*/ 96852 w 270502"/>
                  <a:gd name="connsiteY5" fmla="*/ 180349 h 721392"/>
                  <a:gd name="connsiteX6" fmla="*/ 173589 w 270502"/>
                  <a:gd name="connsiteY6" fmla="*/ 180349 h 721392"/>
                  <a:gd name="connsiteX7" fmla="*/ 250238 w 270502"/>
                  <a:gd name="connsiteY7" fmla="*/ 253359 h 721392"/>
                  <a:gd name="connsiteX8" fmla="*/ 270166 w 270502"/>
                  <a:gd name="connsiteY8" fmla="*/ 427937 h 721392"/>
                  <a:gd name="connsiteX9" fmla="*/ 257782 w 270502"/>
                  <a:gd name="connsiteY9" fmla="*/ 467703 h 721392"/>
                  <a:gd name="connsiteX10" fmla="*/ 226913 w 270502"/>
                  <a:gd name="connsiteY10" fmla="*/ 482882 h 721392"/>
                  <a:gd name="connsiteX11" fmla="*/ 210320 w 270502"/>
                  <a:gd name="connsiteY11" fmla="*/ 707475 h 721392"/>
                  <a:gd name="connsiteX12" fmla="*/ 195351 w 270502"/>
                  <a:gd name="connsiteY12" fmla="*/ 721392 h 721392"/>
                  <a:gd name="connsiteX13" fmla="*/ 75119 w 270502"/>
                  <a:gd name="connsiteY13" fmla="*/ 721392 h 721392"/>
                  <a:gd name="connsiteX14" fmla="*/ 60151 w 270502"/>
                  <a:gd name="connsiteY14" fmla="*/ 707475 h 721392"/>
                  <a:gd name="connsiteX15" fmla="*/ 43558 w 270502"/>
                  <a:gd name="connsiteY15" fmla="*/ 482882 h 721392"/>
                  <a:gd name="connsiteX16" fmla="*/ 12689 w 270502"/>
                  <a:gd name="connsiteY16" fmla="*/ 467703 h 721392"/>
                  <a:gd name="connsiteX17" fmla="*/ 335 w 270502"/>
                  <a:gd name="connsiteY17" fmla="*/ 427937 h 721392"/>
                  <a:gd name="connsiteX18" fmla="*/ 20264 w 270502"/>
                  <a:gd name="connsiteY18" fmla="*/ 253359 h 721392"/>
                  <a:gd name="connsiteX19" fmla="*/ 96852 w 270502"/>
                  <a:gd name="connsiteY19" fmla="*/ 180349 h 721392"/>
                  <a:gd name="connsiteX20" fmla="*/ 135235 w 270502"/>
                  <a:gd name="connsiteY20" fmla="*/ 120232 h 721392"/>
                  <a:gd name="connsiteX21" fmla="*/ 135234 w 270502"/>
                  <a:gd name="connsiteY21" fmla="*/ 120232 h 721392"/>
                  <a:gd name="connsiteX22" fmla="*/ 135235 w 270502"/>
                  <a:gd name="connsiteY22" fmla="*/ 120232 h 721392"/>
                  <a:gd name="connsiteX23" fmla="*/ 135234 w 270502"/>
                  <a:gd name="connsiteY23" fmla="*/ 0 h 721392"/>
                  <a:gd name="connsiteX24" fmla="*/ 210379 w 270502"/>
                  <a:gd name="connsiteY24" fmla="*/ 75145 h 721392"/>
                  <a:gd name="connsiteX25" fmla="*/ 135234 w 270502"/>
                  <a:gd name="connsiteY25" fmla="*/ 150290 h 721392"/>
                  <a:gd name="connsiteX26" fmla="*/ 60089 w 270502"/>
                  <a:gd name="connsiteY26" fmla="*/ 75145 h 721392"/>
                  <a:gd name="connsiteX27" fmla="*/ 135234 w 270502"/>
                  <a:gd name="connsiteY2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89097 w 270502"/>
                  <a:gd name="connsiteY3" fmla="*/ 691333 h 721392"/>
                  <a:gd name="connsiteX4" fmla="*/ 96852 w 270502"/>
                  <a:gd name="connsiteY4" fmla="*/ 180349 h 721392"/>
                  <a:gd name="connsiteX5" fmla="*/ 173589 w 270502"/>
                  <a:gd name="connsiteY5" fmla="*/ 180349 h 721392"/>
                  <a:gd name="connsiteX6" fmla="*/ 250238 w 270502"/>
                  <a:gd name="connsiteY6" fmla="*/ 253359 h 721392"/>
                  <a:gd name="connsiteX7" fmla="*/ 270166 w 270502"/>
                  <a:gd name="connsiteY7" fmla="*/ 427937 h 721392"/>
                  <a:gd name="connsiteX8" fmla="*/ 257782 w 270502"/>
                  <a:gd name="connsiteY8" fmla="*/ 467703 h 721392"/>
                  <a:gd name="connsiteX9" fmla="*/ 226913 w 270502"/>
                  <a:gd name="connsiteY9" fmla="*/ 482882 h 721392"/>
                  <a:gd name="connsiteX10" fmla="*/ 210320 w 270502"/>
                  <a:gd name="connsiteY10" fmla="*/ 707475 h 721392"/>
                  <a:gd name="connsiteX11" fmla="*/ 195351 w 270502"/>
                  <a:gd name="connsiteY11" fmla="*/ 721392 h 721392"/>
                  <a:gd name="connsiteX12" fmla="*/ 75119 w 270502"/>
                  <a:gd name="connsiteY12" fmla="*/ 721392 h 721392"/>
                  <a:gd name="connsiteX13" fmla="*/ 60151 w 270502"/>
                  <a:gd name="connsiteY13" fmla="*/ 707475 h 721392"/>
                  <a:gd name="connsiteX14" fmla="*/ 43558 w 270502"/>
                  <a:gd name="connsiteY14" fmla="*/ 482882 h 721392"/>
                  <a:gd name="connsiteX15" fmla="*/ 12689 w 270502"/>
                  <a:gd name="connsiteY15" fmla="*/ 467703 h 721392"/>
                  <a:gd name="connsiteX16" fmla="*/ 335 w 270502"/>
                  <a:gd name="connsiteY16" fmla="*/ 427937 h 721392"/>
                  <a:gd name="connsiteX17" fmla="*/ 20264 w 270502"/>
                  <a:gd name="connsiteY17" fmla="*/ 253359 h 721392"/>
                  <a:gd name="connsiteX18" fmla="*/ 96852 w 270502"/>
                  <a:gd name="connsiteY18" fmla="*/ 180349 h 721392"/>
                  <a:gd name="connsiteX19" fmla="*/ 135235 w 270502"/>
                  <a:gd name="connsiteY19" fmla="*/ 120232 h 721392"/>
                  <a:gd name="connsiteX20" fmla="*/ 135234 w 270502"/>
                  <a:gd name="connsiteY20" fmla="*/ 120232 h 721392"/>
                  <a:gd name="connsiteX21" fmla="*/ 135235 w 270502"/>
                  <a:gd name="connsiteY21" fmla="*/ 120232 h 721392"/>
                  <a:gd name="connsiteX22" fmla="*/ 135234 w 270502"/>
                  <a:gd name="connsiteY22" fmla="*/ 0 h 721392"/>
                  <a:gd name="connsiteX23" fmla="*/ 210379 w 270502"/>
                  <a:gd name="connsiteY23" fmla="*/ 75145 h 721392"/>
                  <a:gd name="connsiteX24" fmla="*/ 135234 w 270502"/>
                  <a:gd name="connsiteY24" fmla="*/ 150290 h 721392"/>
                  <a:gd name="connsiteX25" fmla="*/ 60089 w 270502"/>
                  <a:gd name="connsiteY25" fmla="*/ 75145 h 721392"/>
                  <a:gd name="connsiteX26" fmla="*/ 135234 w 270502"/>
                  <a:gd name="connsiteY26" fmla="*/ 0 h 721392"/>
                  <a:gd name="connsiteX0" fmla="*/ 89097 w 270502"/>
                  <a:gd name="connsiteY0" fmla="*/ 691333 h 721392"/>
                  <a:gd name="connsiteX1" fmla="*/ 89097 w 270502"/>
                  <a:gd name="connsiteY1" fmla="*/ 691334 h 721392"/>
                  <a:gd name="connsiteX2" fmla="*/ 89097 w 270502"/>
                  <a:gd name="connsiteY2" fmla="*/ 691333 h 721392"/>
                  <a:gd name="connsiteX3" fmla="*/ 96852 w 270502"/>
                  <a:gd name="connsiteY3" fmla="*/ 180349 h 721392"/>
                  <a:gd name="connsiteX4" fmla="*/ 173589 w 270502"/>
                  <a:gd name="connsiteY4" fmla="*/ 180349 h 721392"/>
                  <a:gd name="connsiteX5" fmla="*/ 250238 w 270502"/>
                  <a:gd name="connsiteY5" fmla="*/ 253359 h 721392"/>
                  <a:gd name="connsiteX6" fmla="*/ 270166 w 270502"/>
                  <a:gd name="connsiteY6" fmla="*/ 427937 h 721392"/>
                  <a:gd name="connsiteX7" fmla="*/ 257782 w 270502"/>
                  <a:gd name="connsiteY7" fmla="*/ 467703 h 721392"/>
                  <a:gd name="connsiteX8" fmla="*/ 226913 w 270502"/>
                  <a:gd name="connsiteY8" fmla="*/ 482882 h 721392"/>
                  <a:gd name="connsiteX9" fmla="*/ 210320 w 270502"/>
                  <a:gd name="connsiteY9" fmla="*/ 707475 h 721392"/>
                  <a:gd name="connsiteX10" fmla="*/ 195351 w 270502"/>
                  <a:gd name="connsiteY10" fmla="*/ 721392 h 721392"/>
                  <a:gd name="connsiteX11" fmla="*/ 75119 w 270502"/>
                  <a:gd name="connsiteY11" fmla="*/ 721392 h 721392"/>
                  <a:gd name="connsiteX12" fmla="*/ 60151 w 270502"/>
                  <a:gd name="connsiteY12" fmla="*/ 707475 h 721392"/>
                  <a:gd name="connsiteX13" fmla="*/ 43558 w 270502"/>
                  <a:gd name="connsiteY13" fmla="*/ 482882 h 721392"/>
                  <a:gd name="connsiteX14" fmla="*/ 12689 w 270502"/>
                  <a:gd name="connsiteY14" fmla="*/ 467703 h 721392"/>
                  <a:gd name="connsiteX15" fmla="*/ 335 w 270502"/>
                  <a:gd name="connsiteY15" fmla="*/ 427937 h 721392"/>
                  <a:gd name="connsiteX16" fmla="*/ 20264 w 270502"/>
                  <a:gd name="connsiteY16" fmla="*/ 253359 h 721392"/>
                  <a:gd name="connsiteX17" fmla="*/ 96852 w 270502"/>
                  <a:gd name="connsiteY17" fmla="*/ 180349 h 721392"/>
                  <a:gd name="connsiteX18" fmla="*/ 135235 w 270502"/>
                  <a:gd name="connsiteY18" fmla="*/ 120232 h 721392"/>
                  <a:gd name="connsiteX19" fmla="*/ 135234 w 270502"/>
                  <a:gd name="connsiteY19" fmla="*/ 120232 h 721392"/>
                  <a:gd name="connsiteX20" fmla="*/ 135235 w 270502"/>
                  <a:gd name="connsiteY20" fmla="*/ 120232 h 721392"/>
                  <a:gd name="connsiteX21" fmla="*/ 135234 w 270502"/>
                  <a:gd name="connsiteY21" fmla="*/ 0 h 721392"/>
                  <a:gd name="connsiteX22" fmla="*/ 210379 w 270502"/>
                  <a:gd name="connsiteY22" fmla="*/ 75145 h 721392"/>
                  <a:gd name="connsiteX23" fmla="*/ 135234 w 270502"/>
                  <a:gd name="connsiteY23" fmla="*/ 150290 h 721392"/>
                  <a:gd name="connsiteX24" fmla="*/ 60089 w 270502"/>
                  <a:gd name="connsiteY24" fmla="*/ 75145 h 721392"/>
                  <a:gd name="connsiteX25" fmla="*/ 135234 w 270502"/>
                  <a:gd name="connsiteY25"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5 w 270502"/>
                  <a:gd name="connsiteY15" fmla="*/ 120232 h 721392"/>
                  <a:gd name="connsiteX16" fmla="*/ 135234 w 270502"/>
                  <a:gd name="connsiteY16" fmla="*/ 120232 h 721392"/>
                  <a:gd name="connsiteX17" fmla="*/ 135235 w 270502"/>
                  <a:gd name="connsiteY17" fmla="*/ 120232 h 721392"/>
                  <a:gd name="connsiteX18" fmla="*/ 135234 w 270502"/>
                  <a:gd name="connsiteY18" fmla="*/ 0 h 721392"/>
                  <a:gd name="connsiteX19" fmla="*/ 210379 w 270502"/>
                  <a:gd name="connsiteY19" fmla="*/ 75145 h 721392"/>
                  <a:gd name="connsiteX20" fmla="*/ 135234 w 270502"/>
                  <a:gd name="connsiteY20" fmla="*/ 150290 h 721392"/>
                  <a:gd name="connsiteX21" fmla="*/ 60089 w 270502"/>
                  <a:gd name="connsiteY21" fmla="*/ 75145 h 721392"/>
                  <a:gd name="connsiteX22" fmla="*/ 135234 w 270502"/>
                  <a:gd name="connsiteY22"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4 w 270502"/>
                  <a:gd name="connsiteY15" fmla="*/ 0 h 721392"/>
                  <a:gd name="connsiteX16" fmla="*/ 210379 w 270502"/>
                  <a:gd name="connsiteY16" fmla="*/ 75145 h 721392"/>
                  <a:gd name="connsiteX17" fmla="*/ 135234 w 270502"/>
                  <a:gd name="connsiteY17" fmla="*/ 150290 h 721392"/>
                  <a:gd name="connsiteX18" fmla="*/ 60089 w 270502"/>
                  <a:gd name="connsiteY18" fmla="*/ 75145 h 721392"/>
                  <a:gd name="connsiteX19" fmla="*/ 135234 w 270502"/>
                  <a:gd name="connsiteY19" fmla="*/ 0 h 72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0502" h="721392">
                    <a:moveTo>
                      <a:pt x="96852" y="180349"/>
                    </a:moveTo>
                    <a:lnTo>
                      <a:pt x="173589" y="180349"/>
                    </a:lnTo>
                    <a:cubicBezTo>
                      <a:pt x="212545" y="180349"/>
                      <a:pt x="245518" y="211730"/>
                      <a:pt x="250238" y="253359"/>
                    </a:cubicBezTo>
                    <a:lnTo>
                      <a:pt x="270166" y="427937"/>
                    </a:lnTo>
                    <a:cubicBezTo>
                      <a:pt x="271819" y="442545"/>
                      <a:pt x="267341" y="457033"/>
                      <a:pt x="257782" y="467703"/>
                    </a:cubicBezTo>
                    <a:cubicBezTo>
                      <a:pt x="249576" y="476901"/>
                      <a:pt x="238695" y="482221"/>
                      <a:pt x="226913" y="482882"/>
                    </a:cubicBezTo>
                    <a:lnTo>
                      <a:pt x="210320" y="707475"/>
                    </a:lnTo>
                    <a:cubicBezTo>
                      <a:pt x="209779" y="715320"/>
                      <a:pt x="203227" y="721392"/>
                      <a:pt x="195351" y="721392"/>
                    </a:cubicBezTo>
                    <a:lnTo>
                      <a:pt x="75119" y="721392"/>
                    </a:lnTo>
                    <a:cubicBezTo>
                      <a:pt x="67274" y="721392"/>
                      <a:pt x="60722" y="715320"/>
                      <a:pt x="60151" y="707475"/>
                    </a:cubicBezTo>
                    <a:lnTo>
                      <a:pt x="43558" y="482882"/>
                    </a:lnTo>
                    <a:cubicBezTo>
                      <a:pt x="31746" y="482221"/>
                      <a:pt x="20895" y="476870"/>
                      <a:pt x="12689" y="467703"/>
                    </a:cubicBezTo>
                    <a:cubicBezTo>
                      <a:pt x="3191" y="457062"/>
                      <a:pt x="-1318" y="442545"/>
                      <a:pt x="335" y="427937"/>
                    </a:cubicBezTo>
                    <a:lnTo>
                      <a:pt x="20264" y="253359"/>
                    </a:lnTo>
                    <a:cubicBezTo>
                      <a:pt x="25013" y="211730"/>
                      <a:pt x="57957" y="180349"/>
                      <a:pt x="96852" y="180349"/>
                    </a:cubicBezTo>
                    <a:close/>
                    <a:moveTo>
                      <a:pt x="135234" y="0"/>
                    </a:moveTo>
                    <a:cubicBezTo>
                      <a:pt x="176684" y="0"/>
                      <a:pt x="210379" y="33725"/>
                      <a:pt x="210379" y="75145"/>
                    </a:cubicBezTo>
                    <a:cubicBezTo>
                      <a:pt x="210379" y="116565"/>
                      <a:pt x="176655" y="150290"/>
                      <a:pt x="135234" y="150290"/>
                    </a:cubicBezTo>
                    <a:cubicBezTo>
                      <a:pt x="93814" y="150290"/>
                      <a:pt x="60089" y="116565"/>
                      <a:pt x="60089" y="75145"/>
                    </a:cubicBezTo>
                    <a:cubicBezTo>
                      <a:pt x="60089" y="33725"/>
                      <a:pt x="93814" y="0"/>
                      <a:pt x="13523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560" name="Group 559">
                <a:extLst>
                  <a:ext uri="{FF2B5EF4-FFF2-40B4-BE49-F238E27FC236}">
                    <a16:creationId xmlns:a16="http://schemas.microsoft.com/office/drawing/2014/main" id="{D04E9278-0865-6E55-6F22-1F69B0AEC61F}"/>
                  </a:ext>
                </a:extLst>
              </p:cNvPr>
              <p:cNvGrpSpPr/>
              <p:nvPr/>
            </p:nvGrpSpPr>
            <p:grpSpPr>
              <a:xfrm>
                <a:off x="8749511" y="450851"/>
                <a:ext cx="214113" cy="681982"/>
                <a:chOff x="9734738" y="1287565"/>
                <a:chExt cx="226487" cy="721395"/>
              </a:xfrm>
              <a:grpFill/>
            </p:grpSpPr>
            <p:sp>
              <p:nvSpPr>
                <p:cNvPr id="564" name="Freeform 563">
                  <a:extLst>
                    <a:ext uri="{FF2B5EF4-FFF2-40B4-BE49-F238E27FC236}">
                      <a16:creationId xmlns:a16="http://schemas.microsoft.com/office/drawing/2014/main" id="{DB21EFA9-F1A9-1DCB-5230-5DBE013BC3C2}"/>
                    </a:ext>
                  </a:extLst>
                </p:cNvPr>
                <p:cNvSpPr/>
                <p:nvPr/>
              </p:nvSpPr>
              <p:spPr>
                <a:xfrm>
                  <a:off x="9794832" y="1287565"/>
                  <a:ext cx="150290" cy="150290"/>
                </a:xfrm>
                <a:custGeom>
                  <a:avLst/>
                  <a:gdLst>
                    <a:gd name="connsiteX0" fmla="*/ 75145 w 150290"/>
                    <a:gd name="connsiteY0" fmla="*/ 0 h 150290"/>
                    <a:gd name="connsiteX1" fmla="*/ 150290 w 150290"/>
                    <a:gd name="connsiteY1" fmla="*/ 75145 h 150290"/>
                    <a:gd name="connsiteX2" fmla="*/ 75145 w 150290"/>
                    <a:gd name="connsiteY2" fmla="*/ 150290 h 150290"/>
                    <a:gd name="connsiteX3" fmla="*/ 0 w 150290"/>
                    <a:gd name="connsiteY3" fmla="*/ 75145 h 150290"/>
                    <a:gd name="connsiteX4" fmla="*/ 75145 w 150290"/>
                    <a:gd name="connsiteY4" fmla="*/ 0 h 150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90" h="150290">
                      <a:moveTo>
                        <a:pt x="75145" y="0"/>
                      </a:moveTo>
                      <a:cubicBezTo>
                        <a:pt x="116595" y="0"/>
                        <a:pt x="150290" y="33725"/>
                        <a:pt x="150290" y="75145"/>
                      </a:cubicBezTo>
                      <a:cubicBezTo>
                        <a:pt x="150290" y="116565"/>
                        <a:pt x="116566" y="150290"/>
                        <a:pt x="75145" y="150290"/>
                      </a:cubicBezTo>
                      <a:cubicBezTo>
                        <a:pt x="33725" y="150290"/>
                        <a:pt x="0" y="116565"/>
                        <a:pt x="0" y="75145"/>
                      </a:cubicBezTo>
                      <a:cubicBezTo>
                        <a:pt x="0" y="33725"/>
                        <a:pt x="33725" y="0"/>
                        <a:pt x="75145" y="0"/>
                      </a:cubicBezTo>
                      <a:close/>
                    </a:path>
                  </a:pathLst>
                </a:custGeom>
                <a:grpFill/>
                <a:ln>
                  <a:solidFill>
                    <a:schemeClr val="tx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65" name="Freeform 564">
                  <a:extLst>
                    <a:ext uri="{FF2B5EF4-FFF2-40B4-BE49-F238E27FC236}">
                      <a16:creationId xmlns:a16="http://schemas.microsoft.com/office/drawing/2014/main" id="{BB84FF3A-9BEE-4BD0-B9E3-3E5859325860}"/>
                    </a:ext>
                  </a:extLst>
                </p:cNvPr>
                <p:cNvSpPr/>
                <p:nvPr/>
              </p:nvSpPr>
              <p:spPr>
                <a:xfrm>
                  <a:off x="9734738" y="1467917"/>
                  <a:ext cx="226487" cy="541043"/>
                </a:xfrm>
                <a:custGeom>
                  <a:avLst/>
                  <a:gdLst>
                    <a:gd name="connsiteX0" fmla="*/ 96852 w 226487"/>
                    <a:gd name="connsiteY0" fmla="*/ 0 h 541043"/>
                    <a:gd name="connsiteX1" fmla="*/ 173589 w 226487"/>
                    <a:gd name="connsiteY1" fmla="*/ 0 h 541043"/>
                    <a:gd name="connsiteX2" fmla="*/ 224752 w 226487"/>
                    <a:gd name="connsiteY2" fmla="*/ 20894 h 541043"/>
                    <a:gd name="connsiteX3" fmla="*/ 226487 w 226487"/>
                    <a:gd name="connsiteY3" fmla="*/ 23257 h 541043"/>
                    <a:gd name="connsiteX4" fmla="*/ 211234 w 226487"/>
                    <a:gd name="connsiteY4" fmla="*/ 44040 h 541043"/>
                    <a:gd name="connsiteX5" fmla="*/ 202733 w 226487"/>
                    <a:gd name="connsiteY5" fmla="*/ 73010 h 541043"/>
                    <a:gd name="connsiteX6" fmla="*/ 182804 w 226487"/>
                    <a:gd name="connsiteY6" fmla="*/ 247588 h 541043"/>
                    <a:gd name="connsiteX7" fmla="*/ 195158 w 226487"/>
                    <a:gd name="connsiteY7" fmla="*/ 287354 h 541043"/>
                    <a:gd name="connsiteX8" fmla="*/ 226027 w 226487"/>
                    <a:gd name="connsiteY8" fmla="*/ 302533 h 541043"/>
                    <a:gd name="connsiteX9" fmla="*/ 226470 w 226487"/>
                    <a:gd name="connsiteY9" fmla="*/ 308529 h 541043"/>
                    <a:gd name="connsiteX10" fmla="*/ 210320 w 226487"/>
                    <a:gd name="connsiteY10" fmla="*/ 527126 h 541043"/>
                    <a:gd name="connsiteX11" fmla="*/ 195351 w 226487"/>
                    <a:gd name="connsiteY11" fmla="*/ 541043 h 541043"/>
                    <a:gd name="connsiteX12" fmla="*/ 75119 w 226487"/>
                    <a:gd name="connsiteY12" fmla="*/ 541043 h 541043"/>
                    <a:gd name="connsiteX13" fmla="*/ 60151 w 226487"/>
                    <a:gd name="connsiteY13" fmla="*/ 527126 h 541043"/>
                    <a:gd name="connsiteX14" fmla="*/ 43558 w 226487"/>
                    <a:gd name="connsiteY14" fmla="*/ 302533 h 541043"/>
                    <a:gd name="connsiteX15" fmla="*/ 12689 w 226487"/>
                    <a:gd name="connsiteY15" fmla="*/ 287354 h 541043"/>
                    <a:gd name="connsiteX16" fmla="*/ 335 w 226487"/>
                    <a:gd name="connsiteY16" fmla="*/ 247588 h 541043"/>
                    <a:gd name="connsiteX17" fmla="*/ 20264 w 226487"/>
                    <a:gd name="connsiteY17" fmla="*/ 73010 h 541043"/>
                    <a:gd name="connsiteX18" fmla="*/ 96852 w 226487"/>
                    <a:gd name="connsiteY18" fmla="*/ 0 h 541043"/>
                    <a:gd name="connsiteX0" fmla="*/ 211234 w 233407"/>
                    <a:gd name="connsiteY0" fmla="*/ 44040 h 541043"/>
                    <a:gd name="connsiteX1" fmla="*/ 202733 w 233407"/>
                    <a:gd name="connsiteY1" fmla="*/ 73010 h 541043"/>
                    <a:gd name="connsiteX2" fmla="*/ 182804 w 233407"/>
                    <a:gd name="connsiteY2" fmla="*/ 247588 h 541043"/>
                    <a:gd name="connsiteX3" fmla="*/ 195158 w 233407"/>
                    <a:gd name="connsiteY3" fmla="*/ 287354 h 541043"/>
                    <a:gd name="connsiteX4" fmla="*/ 226027 w 233407"/>
                    <a:gd name="connsiteY4" fmla="*/ 302533 h 541043"/>
                    <a:gd name="connsiteX5" fmla="*/ 226470 w 233407"/>
                    <a:gd name="connsiteY5" fmla="*/ 308529 h 541043"/>
                    <a:gd name="connsiteX6" fmla="*/ 210320 w 233407"/>
                    <a:gd name="connsiteY6" fmla="*/ 527126 h 541043"/>
                    <a:gd name="connsiteX7" fmla="*/ 195351 w 233407"/>
                    <a:gd name="connsiteY7" fmla="*/ 541043 h 541043"/>
                    <a:gd name="connsiteX8" fmla="*/ 75119 w 233407"/>
                    <a:gd name="connsiteY8" fmla="*/ 541043 h 541043"/>
                    <a:gd name="connsiteX9" fmla="*/ 60151 w 233407"/>
                    <a:gd name="connsiteY9" fmla="*/ 527126 h 541043"/>
                    <a:gd name="connsiteX10" fmla="*/ 43558 w 233407"/>
                    <a:gd name="connsiteY10" fmla="*/ 302533 h 541043"/>
                    <a:gd name="connsiteX11" fmla="*/ 12689 w 233407"/>
                    <a:gd name="connsiteY11" fmla="*/ 287354 h 541043"/>
                    <a:gd name="connsiteX12" fmla="*/ 335 w 233407"/>
                    <a:gd name="connsiteY12" fmla="*/ 247588 h 541043"/>
                    <a:gd name="connsiteX13" fmla="*/ 20264 w 233407"/>
                    <a:gd name="connsiteY13" fmla="*/ 73010 h 541043"/>
                    <a:gd name="connsiteX14" fmla="*/ 96852 w 233407"/>
                    <a:gd name="connsiteY14" fmla="*/ 0 h 541043"/>
                    <a:gd name="connsiteX15" fmla="*/ 173589 w 233407"/>
                    <a:gd name="connsiteY15" fmla="*/ 0 h 541043"/>
                    <a:gd name="connsiteX16" fmla="*/ 224752 w 233407"/>
                    <a:gd name="connsiteY16" fmla="*/ 20894 h 541043"/>
                    <a:gd name="connsiteX17" fmla="*/ 226487 w 233407"/>
                    <a:gd name="connsiteY17" fmla="*/ 23257 h 541043"/>
                    <a:gd name="connsiteX18" fmla="*/ 233407 w 233407"/>
                    <a:gd name="connsiteY18" fmla="*/ 66213 h 541043"/>
                    <a:gd name="connsiteX0" fmla="*/ 211234 w 226487"/>
                    <a:gd name="connsiteY0" fmla="*/ 44040 h 541043"/>
                    <a:gd name="connsiteX1" fmla="*/ 202733 w 226487"/>
                    <a:gd name="connsiteY1" fmla="*/ 73010 h 541043"/>
                    <a:gd name="connsiteX2" fmla="*/ 182804 w 226487"/>
                    <a:gd name="connsiteY2" fmla="*/ 247588 h 541043"/>
                    <a:gd name="connsiteX3" fmla="*/ 195158 w 226487"/>
                    <a:gd name="connsiteY3" fmla="*/ 287354 h 541043"/>
                    <a:gd name="connsiteX4" fmla="*/ 226027 w 226487"/>
                    <a:gd name="connsiteY4" fmla="*/ 302533 h 541043"/>
                    <a:gd name="connsiteX5" fmla="*/ 226470 w 226487"/>
                    <a:gd name="connsiteY5" fmla="*/ 308529 h 541043"/>
                    <a:gd name="connsiteX6" fmla="*/ 210320 w 226487"/>
                    <a:gd name="connsiteY6" fmla="*/ 527126 h 541043"/>
                    <a:gd name="connsiteX7" fmla="*/ 195351 w 226487"/>
                    <a:gd name="connsiteY7" fmla="*/ 541043 h 541043"/>
                    <a:gd name="connsiteX8" fmla="*/ 75119 w 226487"/>
                    <a:gd name="connsiteY8" fmla="*/ 541043 h 541043"/>
                    <a:gd name="connsiteX9" fmla="*/ 60151 w 226487"/>
                    <a:gd name="connsiteY9" fmla="*/ 527126 h 541043"/>
                    <a:gd name="connsiteX10" fmla="*/ 43558 w 226487"/>
                    <a:gd name="connsiteY10" fmla="*/ 302533 h 541043"/>
                    <a:gd name="connsiteX11" fmla="*/ 12689 w 226487"/>
                    <a:gd name="connsiteY11" fmla="*/ 287354 h 541043"/>
                    <a:gd name="connsiteX12" fmla="*/ 335 w 226487"/>
                    <a:gd name="connsiteY12" fmla="*/ 247588 h 541043"/>
                    <a:gd name="connsiteX13" fmla="*/ 20264 w 226487"/>
                    <a:gd name="connsiteY13" fmla="*/ 73010 h 541043"/>
                    <a:gd name="connsiteX14" fmla="*/ 96852 w 226487"/>
                    <a:gd name="connsiteY14" fmla="*/ 0 h 541043"/>
                    <a:gd name="connsiteX15" fmla="*/ 173589 w 226487"/>
                    <a:gd name="connsiteY15" fmla="*/ 0 h 541043"/>
                    <a:gd name="connsiteX16" fmla="*/ 224752 w 226487"/>
                    <a:gd name="connsiteY16" fmla="*/ 20894 h 541043"/>
                    <a:gd name="connsiteX17" fmla="*/ 226487 w 226487"/>
                    <a:gd name="connsiteY17" fmla="*/ 23257 h 541043"/>
                    <a:gd name="connsiteX0" fmla="*/ 202733 w 226487"/>
                    <a:gd name="connsiteY0" fmla="*/ 73010 h 541043"/>
                    <a:gd name="connsiteX1" fmla="*/ 182804 w 226487"/>
                    <a:gd name="connsiteY1" fmla="*/ 247588 h 541043"/>
                    <a:gd name="connsiteX2" fmla="*/ 195158 w 226487"/>
                    <a:gd name="connsiteY2" fmla="*/ 287354 h 541043"/>
                    <a:gd name="connsiteX3" fmla="*/ 226027 w 226487"/>
                    <a:gd name="connsiteY3" fmla="*/ 302533 h 541043"/>
                    <a:gd name="connsiteX4" fmla="*/ 226470 w 226487"/>
                    <a:gd name="connsiteY4" fmla="*/ 308529 h 541043"/>
                    <a:gd name="connsiteX5" fmla="*/ 210320 w 226487"/>
                    <a:gd name="connsiteY5" fmla="*/ 527126 h 541043"/>
                    <a:gd name="connsiteX6" fmla="*/ 195351 w 226487"/>
                    <a:gd name="connsiteY6" fmla="*/ 541043 h 541043"/>
                    <a:gd name="connsiteX7" fmla="*/ 75119 w 226487"/>
                    <a:gd name="connsiteY7" fmla="*/ 541043 h 541043"/>
                    <a:gd name="connsiteX8" fmla="*/ 60151 w 226487"/>
                    <a:gd name="connsiteY8" fmla="*/ 527126 h 541043"/>
                    <a:gd name="connsiteX9" fmla="*/ 43558 w 226487"/>
                    <a:gd name="connsiteY9" fmla="*/ 302533 h 541043"/>
                    <a:gd name="connsiteX10" fmla="*/ 12689 w 226487"/>
                    <a:gd name="connsiteY10" fmla="*/ 287354 h 541043"/>
                    <a:gd name="connsiteX11" fmla="*/ 335 w 226487"/>
                    <a:gd name="connsiteY11" fmla="*/ 247588 h 541043"/>
                    <a:gd name="connsiteX12" fmla="*/ 20264 w 226487"/>
                    <a:gd name="connsiteY12" fmla="*/ 73010 h 541043"/>
                    <a:gd name="connsiteX13" fmla="*/ 96852 w 226487"/>
                    <a:gd name="connsiteY13" fmla="*/ 0 h 541043"/>
                    <a:gd name="connsiteX14" fmla="*/ 173589 w 226487"/>
                    <a:gd name="connsiteY14" fmla="*/ 0 h 541043"/>
                    <a:gd name="connsiteX15" fmla="*/ 224752 w 226487"/>
                    <a:gd name="connsiteY15" fmla="*/ 20894 h 541043"/>
                    <a:gd name="connsiteX16" fmla="*/ 226487 w 226487"/>
                    <a:gd name="connsiteY16" fmla="*/ 23257 h 541043"/>
                    <a:gd name="connsiteX0" fmla="*/ 182804 w 226487"/>
                    <a:gd name="connsiteY0" fmla="*/ 247588 h 541043"/>
                    <a:gd name="connsiteX1" fmla="*/ 195158 w 226487"/>
                    <a:gd name="connsiteY1" fmla="*/ 287354 h 541043"/>
                    <a:gd name="connsiteX2" fmla="*/ 226027 w 226487"/>
                    <a:gd name="connsiteY2" fmla="*/ 302533 h 541043"/>
                    <a:gd name="connsiteX3" fmla="*/ 226470 w 226487"/>
                    <a:gd name="connsiteY3" fmla="*/ 308529 h 541043"/>
                    <a:gd name="connsiteX4" fmla="*/ 210320 w 226487"/>
                    <a:gd name="connsiteY4" fmla="*/ 527126 h 541043"/>
                    <a:gd name="connsiteX5" fmla="*/ 195351 w 226487"/>
                    <a:gd name="connsiteY5" fmla="*/ 541043 h 541043"/>
                    <a:gd name="connsiteX6" fmla="*/ 75119 w 226487"/>
                    <a:gd name="connsiteY6" fmla="*/ 541043 h 541043"/>
                    <a:gd name="connsiteX7" fmla="*/ 60151 w 226487"/>
                    <a:gd name="connsiteY7" fmla="*/ 527126 h 541043"/>
                    <a:gd name="connsiteX8" fmla="*/ 43558 w 226487"/>
                    <a:gd name="connsiteY8" fmla="*/ 302533 h 541043"/>
                    <a:gd name="connsiteX9" fmla="*/ 12689 w 226487"/>
                    <a:gd name="connsiteY9" fmla="*/ 287354 h 541043"/>
                    <a:gd name="connsiteX10" fmla="*/ 335 w 226487"/>
                    <a:gd name="connsiteY10" fmla="*/ 247588 h 541043"/>
                    <a:gd name="connsiteX11" fmla="*/ 20264 w 226487"/>
                    <a:gd name="connsiteY11" fmla="*/ 73010 h 541043"/>
                    <a:gd name="connsiteX12" fmla="*/ 96852 w 226487"/>
                    <a:gd name="connsiteY12" fmla="*/ 0 h 541043"/>
                    <a:gd name="connsiteX13" fmla="*/ 173589 w 226487"/>
                    <a:gd name="connsiteY13" fmla="*/ 0 h 541043"/>
                    <a:gd name="connsiteX14" fmla="*/ 224752 w 226487"/>
                    <a:gd name="connsiteY14" fmla="*/ 20894 h 541043"/>
                    <a:gd name="connsiteX15" fmla="*/ 226487 w 226487"/>
                    <a:gd name="connsiteY15" fmla="*/ 23257 h 541043"/>
                    <a:gd name="connsiteX0" fmla="*/ 195158 w 226487"/>
                    <a:gd name="connsiteY0" fmla="*/ 287354 h 541043"/>
                    <a:gd name="connsiteX1" fmla="*/ 226027 w 226487"/>
                    <a:gd name="connsiteY1" fmla="*/ 302533 h 541043"/>
                    <a:gd name="connsiteX2" fmla="*/ 226470 w 226487"/>
                    <a:gd name="connsiteY2" fmla="*/ 308529 h 541043"/>
                    <a:gd name="connsiteX3" fmla="*/ 210320 w 226487"/>
                    <a:gd name="connsiteY3" fmla="*/ 527126 h 541043"/>
                    <a:gd name="connsiteX4" fmla="*/ 195351 w 226487"/>
                    <a:gd name="connsiteY4" fmla="*/ 541043 h 541043"/>
                    <a:gd name="connsiteX5" fmla="*/ 75119 w 226487"/>
                    <a:gd name="connsiteY5" fmla="*/ 541043 h 541043"/>
                    <a:gd name="connsiteX6" fmla="*/ 60151 w 226487"/>
                    <a:gd name="connsiteY6" fmla="*/ 527126 h 541043"/>
                    <a:gd name="connsiteX7" fmla="*/ 43558 w 226487"/>
                    <a:gd name="connsiteY7" fmla="*/ 302533 h 541043"/>
                    <a:gd name="connsiteX8" fmla="*/ 12689 w 226487"/>
                    <a:gd name="connsiteY8" fmla="*/ 287354 h 541043"/>
                    <a:gd name="connsiteX9" fmla="*/ 335 w 226487"/>
                    <a:gd name="connsiteY9" fmla="*/ 247588 h 541043"/>
                    <a:gd name="connsiteX10" fmla="*/ 20264 w 226487"/>
                    <a:gd name="connsiteY10" fmla="*/ 73010 h 541043"/>
                    <a:gd name="connsiteX11" fmla="*/ 96852 w 226487"/>
                    <a:gd name="connsiteY11" fmla="*/ 0 h 541043"/>
                    <a:gd name="connsiteX12" fmla="*/ 173589 w 226487"/>
                    <a:gd name="connsiteY12" fmla="*/ 0 h 541043"/>
                    <a:gd name="connsiteX13" fmla="*/ 224752 w 226487"/>
                    <a:gd name="connsiteY13" fmla="*/ 20894 h 541043"/>
                    <a:gd name="connsiteX14" fmla="*/ 226487 w 226487"/>
                    <a:gd name="connsiteY14" fmla="*/ 23257 h 541043"/>
                    <a:gd name="connsiteX0" fmla="*/ 226027 w 226487"/>
                    <a:gd name="connsiteY0" fmla="*/ 302533 h 541043"/>
                    <a:gd name="connsiteX1" fmla="*/ 226470 w 226487"/>
                    <a:gd name="connsiteY1" fmla="*/ 308529 h 541043"/>
                    <a:gd name="connsiteX2" fmla="*/ 210320 w 226487"/>
                    <a:gd name="connsiteY2" fmla="*/ 527126 h 541043"/>
                    <a:gd name="connsiteX3" fmla="*/ 195351 w 226487"/>
                    <a:gd name="connsiteY3" fmla="*/ 541043 h 541043"/>
                    <a:gd name="connsiteX4" fmla="*/ 75119 w 226487"/>
                    <a:gd name="connsiteY4" fmla="*/ 541043 h 541043"/>
                    <a:gd name="connsiteX5" fmla="*/ 60151 w 226487"/>
                    <a:gd name="connsiteY5" fmla="*/ 527126 h 541043"/>
                    <a:gd name="connsiteX6" fmla="*/ 43558 w 226487"/>
                    <a:gd name="connsiteY6" fmla="*/ 302533 h 541043"/>
                    <a:gd name="connsiteX7" fmla="*/ 12689 w 226487"/>
                    <a:gd name="connsiteY7" fmla="*/ 287354 h 541043"/>
                    <a:gd name="connsiteX8" fmla="*/ 335 w 226487"/>
                    <a:gd name="connsiteY8" fmla="*/ 247588 h 541043"/>
                    <a:gd name="connsiteX9" fmla="*/ 20264 w 226487"/>
                    <a:gd name="connsiteY9" fmla="*/ 73010 h 541043"/>
                    <a:gd name="connsiteX10" fmla="*/ 96852 w 226487"/>
                    <a:gd name="connsiteY10" fmla="*/ 0 h 541043"/>
                    <a:gd name="connsiteX11" fmla="*/ 173589 w 226487"/>
                    <a:gd name="connsiteY11" fmla="*/ 0 h 541043"/>
                    <a:gd name="connsiteX12" fmla="*/ 224752 w 226487"/>
                    <a:gd name="connsiteY12" fmla="*/ 20894 h 541043"/>
                    <a:gd name="connsiteX13" fmla="*/ 226487 w 226487"/>
                    <a:gd name="connsiteY13" fmla="*/ 23257 h 541043"/>
                    <a:gd name="connsiteX0" fmla="*/ 226470 w 226487"/>
                    <a:gd name="connsiteY0" fmla="*/ 308529 h 541043"/>
                    <a:gd name="connsiteX1" fmla="*/ 210320 w 226487"/>
                    <a:gd name="connsiteY1" fmla="*/ 527126 h 541043"/>
                    <a:gd name="connsiteX2" fmla="*/ 195351 w 226487"/>
                    <a:gd name="connsiteY2" fmla="*/ 541043 h 541043"/>
                    <a:gd name="connsiteX3" fmla="*/ 75119 w 226487"/>
                    <a:gd name="connsiteY3" fmla="*/ 541043 h 541043"/>
                    <a:gd name="connsiteX4" fmla="*/ 60151 w 226487"/>
                    <a:gd name="connsiteY4" fmla="*/ 527126 h 541043"/>
                    <a:gd name="connsiteX5" fmla="*/ 43558 w 226487"/>
                    <a:gd name="connsiteY5" fmla="*/ 302533 h 541043"/>
                    <a:gd name="connsiteX6" fmla="*/ 12689 w 226487"/>
                    <a:gd name="connsiteY6" fmla="*/ 287354 h 541043"/>
                    <a:gd name="connsiteX7" fmla="*/ 335 w 226487"/>
                    <a:gd name="connsiteY7" fmla="*/ 247588 h 541043"/>
                    <a:gd name="connsiteX8" fmla="*/ 20264 w 226487"/>
                    <a:gd name="connsiteY8" fmla="*/ 73010 h 541043"/>
                    <a:gd name="connsiteX9" fmla="*/ 96852 w 226487"/>
                    <a:gd name="connsiteY9" fmla="*/ 0 h 541043"/>
                    <a:gd name="connsiteX10" fmla="*/ 173589 w 226487"/>
                    <a:gd name="connsiteY10" fmla="*/ 0 h 541043"/>
                    <a:gd name="connsiteX11" fmla="*/ 224752 w 226487"/>
                    <a:gd name="connsiteY11" fmla="*/ 20894 h 541043"/>
                    <a:gd name="connsiteX12" fmla="*/ 226487 w 226487"/>
                    <a:gd name="connsiteY12" fmla="*/ 23257 h 54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6487" h="541043">
                      <a:moveTo>
                        <a:pt x="226470" y="308529"/>
                      </a:moveTo>
                      <a:lnTo>
                        <a:pt x="210320" y="527126"/>
                      </a:lnTo>
                      <a:cubicBezTo>
                        <a:pt x="209779" y="534971"/>
                        <a:pt x="203227" y="541043"/>
                        <a:pt x="195351" y="541043"/>
                      </a:cubicBezTo>
                      <a:lnTo>
                        <a:pt x="75119" y="541043"/>
                      </a:lnTo>
                      <a:cubicBezTo>
                        <a:pt x="67274" y="541043"/>
                        <a:pt x="60722" y="534971"/>
                        <a:pt x="60151" y="527126"/>
                      </a:cubicBezTo>
                      <a:lnTo>
                        <a:pt x="43558" y="302533"/>
                      </a:lnTo>
                      <a:cubicBezTo>
                        <a:pt x="31746" y="301872"/>
                        <a:pt x="20895" y="296521"/>
                        <a:pt x="12689" y="287354"/>
                      </a:cubicBezTo>
                      <a:cubicBezTo>
                        <a:pt x="3191" y="276713"/>
                        <a:pt x="-1318" y="262196"/>
                        <a:pt x="335" y="247588"/>
                      </a:cubicBezTo>
                      <a:lnTo>
                        <a:pt x="20264" y="73010"/>
                      </a:lnTo>
                      <a:cubicBezTo>
                        <a:pt x="25013" y="31381"/>
                        <a:pt x="57957" y="0"/>
                        <a:pt x="96852" y="0"/>
                      </a:cubicBezTo>
                      <a:lnTo>
                        <a:pt x="173589" y="0"/>
                      </a:lnTo>
                      <a:cubicBezTo>
                        <a:pt x="193067" y="0"/>
                        <a:pt x="211049" y="7845"/>
                        <a:pt x="224752" y="20894"/>
                      </a:cubicBezTo>
                      <a:lnTo>
                        <a:pt x="226487" y="23257"/>
                      </a:lnTo>
                    </a:path>
                  </a:pathLst>
                </a:custGeom>
                <a:grpFill/>
                <a:ln>
                  <a:solidFill>
                    <a:schemeClr val="tx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61" name="Group 560">
                <a:extLst>
                  <a:ext uri="{FF2B5EF4-FFF2-40B4-BE49-F238E27FC236}">
                    <a16:creationId xmlns:a16="http://schemas.microsoft.com/office/drawing/2014/main" id="{C9F78FEE-F04C-095C-DBF1-5B7D77234D5E}"/>
                  </a:ext>
                </a:extLst>
              </p:cNvPr>
              <p:cNvGrpSpPr/>
              <p:nvPr/>
            </p:nvGrpSpPr>
            <p:grpSpPr>
              <a:xfrm flipH="1">
                <a:off x="9276483" y="450850"/>
                <a:ext cx="214113" cy="681980"/>
                <a:chOff x="9734746" y="1287565"/>
                <a:chExt cx="226487" cy="721393"/>
              </a:xfrm>
              <a:grpFill/>
            </p:grpSpPr>
            <p:sp>
              <p:nvSpPr>
                <p:cNvPr id="562" name="Freeform 561">
                  <a:extLst>
                    <a:ext uri="{FF2B5EF4-FFF2-40B4-BE49-F238E27FC236}">
                      <a16:creationId xmlns:a16="http://schemas.microsoft.com/office/drawing/2014/main" id="{C6C1A0D1-3EDA-D08A-3D7F-9422106AB098}"/>
                    </a:ext>
                  </a:extLst>
                </p:cNvPr>
                <p:cNvSpPr/>
                <p:nvPr/>
              </p:nvSpPr>
              <p:spPr>
                <a:xfrm>
                  <a:off x="9794832" y="1287565"/>
                  <a:ext cx="150290" cy="150290"/>
                </a:xfrm>
                <a:custGeom>
                  <a:avLst/>
                  <a:gdLst>
                    <a:gd name="connsiteX0" fmla="*/ 75145 w 150290"/>
                    <a:gd name="connsiteY0" fmla="*/ 0 h 150290"/>
                    <a:gd name="connsiteX1" fmla="*/ 150290 w 150290"/>
                    <a:gd name="connsiteY1" fmla="*/ 75145 h 150290"/>
                    <a:gd name="connsiteX2" fmla="*/ 75145 w 150290"/>
                    <a:gd name="connsiteY2" fmla="*/ 150290 h 150290"/>
                    <a:gd name="connsiteX3" fmla="*/ 0 w 150290"/>
                    <a:gd name="connsiteY3" fmla="*/ 75145 h 150290"/>
                    <a:gd name="connsiteX4" fmla="*/ 75145 w 150290"/>
                    <a:gd name="connsiteY4" fmla="*/ 0 h 150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90" h="150290">
                      <a:moveTo>
                        <a:pt x="75145" y="0"/>
                      </a:moveTo>
                      <a:cubicBezTo>
                        <a:pt x="116595" y="0"/>
                        <a:pt x="150290" y="33725"/>
                        <a:pt x="150290" y="75145"/>
                      </a:cubicBezTo>
                      <a:cubicBezTo>
                        <a:pt x="150290" y="116565"/>
                        <a:pt x="116566" y="150290"/>
                        <a:pt x="75145" y="150290"/>
                      </a:cubicBezTo>
                      <a:cubicBezTo>
                        <a:pt x="33725" y="150290"/>
                        <a:pt x="0" y="116565"/>
                        <a:pt x="0" y="75145"/>
                      </a:cubicBezTo>
                      <a:cubicBezTo>
                        <a:pt x="0" y="33725"/>
                        <a:pt x="33725" y="0"/>
                        <a:pt x="75145" y="0"/>
                      </a:cubicBezTo>
                      <a:close/>
                    </a:path>
                  </a:pathLst>
                </a:custGeom>
                <a:grpFill/>
                <a:ln>
                  <a:solidFill>
                    <a:schemeClr val="tx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63" name="Freeform 562">
                  <a:extLst>
                    <a:ext uri="{FF2B5EF4-FFF2-40B4-BE49-F238E27FC236}">
                      <a16:creationId xmlns:a16="http://schemas.microsoft.com/office/drawing/2014/main" id="{31AC665A-2F51-DFF5-E364-B3408013E7C3}"/>
                    </a:ext>
                  </a:extLst>
                </p:cNvPr>
                <p:cNvSpPr/>
                <p:nvPr/>
              </p:nvSpPr>
              <p:spPr>
                <a:xfrm>
                  <a:off x="9734746" y="1467915"/>
                  <a:ext cx="226487" cy="541043"/>
                </a:xfrm>
                <a:custGeom>
                  <a:avLst/>
                  <a:gdLst>
                    <a:gd name="connsiteX0" fmla="*/ 96852 w 226487"/>
                    <a:gd name="connsiteY0" fmla="*/ 0 h 541043"/>
                    <a:gd name="connsiteX1" fmla="*/ 173589 w 226487"/>
                    <a:gd name="connsiteY1" fmla="*/ 0 h 541043"/>
                    <a:gd name="connsiteX2" fmla="*/ 224752 w 226487"/>
                    <a:gd name="connsiteY2" fmla="*/ 20894 h 541043"/>
                    <a:gd name="connsiteX3" fmla="*/ 226487 w 226487"/>
                    <a:gd name="connsiteY3" fmla="*/ 23257 h 541043"/>
                    <a:gd name="connsiteX4" fmla="*/ 211234 w 226487"/>
                    <a:gd name="connsiteY4" fmla="*/ 44040 h 541043"/>
                    <a:gd name="connsiteX5" fmla="*/ 202733 w 226487"/>
                    <a:gd name="connsiteY5" fmla="*/ 73010 h 541043"/>
                    <a:gd name="connsiteX6" fmla="*/ 182804 w 226487"/>
                    <a:gd name="connsiteY6" fmla="*/ 247588 h 541043"/>
                    <a:gd name="connsiteX7" fmla="*/ 195158 w 226487"/>
                    <a:gd name="connsiteY7" fmla="*/ 287354 h 541043"/>
                    <a:gd name="connsiteX8" fmla="*/ 226027 w 226487"/>
                    <a:gd name="connsiteY8" fmla="*/ 302533 h 541043"/>
                    <a:gd name="connsiteX9" fmla="*/ 226470 w 226487"/>
                    <a:gd name="connsiteY9" fmla="*/ 308529 h 541043"/>
                    <a:gd name="connsiteX10" fmla="*/ 210320 w 226487"/>
                    <a:gd name="connsiteY10" fmla="*/ 527126 h 541043"/>
                    <a:gd name="connsiteX11" fmla="*/ 195351 w 226487"/>
                    <a:gd name="connsiteY11" fmla="*/ 541043 h 541043"/>
                    <a:gd name="connsiteX12" fmla="*/ 75119 w 226487"/>
                    <a:gd name="connsiteY12" fmla="*/ 541043 h 541043"/>
                    <a:gd name="connsiteX13" fmla="*/ 60151 w 226487"/>
                    <a:gd name="connsiteY13" fmla="*/ 527126 h 541043"/>
                    <a:gd name="connsiteX14" fmla="*/ 43558 w 226487"/>
                    <a:gd name="connsiteY14" fmla="*/ 302533 h 541043"/>
                    <a:gd name="connsiteX15" fmla="*/ 12689 w 226487"/>
                    <a:gd name="connsiteY15" fmla="*/ 287354 h 541043"/>
                    <a:gd name="connsiteX16" fmla="*/ 335 w 226487"/>
                    <a:gd name="connsiteY16" fmla="*/ 247588 h 541043"/>
                    <a:gd name="connsiteX17" fmla="*/ 20264 w 226487"/>
                    <a:gd name="connsiteY17" fmla="*/ 73010 h 541043"/>
                    <a:gd name="connsiteX18" fmla="*/ 96852 w 226487"/>
                    <a:gd name="connsiteY18" fmla="*/ 0 h 541043"/>
                    <a:gd name="connsiteX0" fmla="*/ 211234 w 233407"/>
                    <a:gd name="connsiteY0" fmla="*/ 44040 h 541043"/>
                    <a:gd name="connsiteX1" fmla="*/ 202733 w 233407"/>
                    <a:gd name="connsiteY1" fmla="*/ 73010 h 541043"/>
                    <a:gd name="connsiteX2" fmla="*/ 182804 w 233407"/>
                    <a:gd name="connsiteY2" fmla="*/ 247588 h 541043"/>
                    <a:gd name="connsiteX3" fmla="*/ 195158 w 233407"/>
                    <a:gd name="connsiteY3" fmla="*/ 287354 h 541043"/>
                    <a:gd name="connsiteX4" fmla="*/ 226027 w 233407"/>
                    <a:gd name="connsiteY4" fmla="*/ 302533 h 541043"/>
                    <a:gd name="connsiteX5" fmla="*/ 226470 w 233407"/>
                    <a:gd name="connsiteY5" fmla="*/ 308529 h 541043"/>
                    <a:gd name="connsiteX6" fmla="*/ 210320 w 233407"/>
                    <a:gd name="connsiteY6" fmla="*/ 527126 h 541043"/>
                    <a:gd name="connsiteX7" fmla="*/ 195351 w 233407"/>
                    <a:gd name="connsiteY7" fmla="*/ 541043 h 541043"/>
                    <a:gd name="connsiteX8" fmla="*/ 75119 w 233407"/>
                    <a:gd name="connsiteY8" fmla="*/ 541043 h 541043"/>
                    <a:gd name="connsiteX9" fmla="*/ 60151 w 233407"/>
                    <a:gd name="connsiteY9" fmla="*/ 527126 h 541043"/>
                    <a:gd name="connsiteX10" fmla="*/ 43558 w 233407"/>
                    <a:gd name="connsiteY10" fmla="*/ 302533 h 541043"/>
                    <a:gd name="connsiteX11" fmla="*/ 12689 w 233407"/>
                    <a:gd name="connsiteY11" fmla="*/ 287354 h 541043"/>
                    <a:gd name="connsiteX12" fmla="*/ 335 w 233407"/>
                    <a:gd name="connsiteY12" fmla="*/ 247588 h 541043"/>
                    <a:gd name="connsiteX13" fmla="*/ 20264 w 233407"/>
                    <a:gd name="connsiteY13" fmla="*/ 73010 h 541043"/>
                    <a:gd name="connsiteX14" fmla="*/ 96852 w 233407"/>
                    <a:gd name="connsiteY14" fmla="*/ 0 h 541043"/>
                    <a:gd name="connsiteX15" fmla="*/ 173589 w 233407"/>
                    <a:gd name="connsiteY15" fmla="*/ 0 h 541043"/>
                    <a:gd name="connsiteX16" fmla="*/ 224752 w 233407"/>
                    <a:gd name="connsiteY16" fmla="*/ 20894 h 541043"/>
                    <a:gd name="connsiteX17" fmla="*/ 226487 w 233407"/>
                    <a:gd name="connsiteY17" fmla="*/ 23257 h 541043"/>
                    <a:gd name="connsiteX18" fmla="*/ 233407 w 233407"/>
                    <a:gd name="connsiteY18" fmla="*/ 66213 h 541043"/>
                    <a:gd name="connsiteX0" fmla="*/ 211234 w 226487"/>
                    <a:gd name="connsiteY0" fmla="*/ 44040 h 541043"/>
                    <a:gd name="connsiteX1" fmla="*/ 202733 w 226487"/>
                    <a:gd name="connsiteY1" fmla="*/ 73010 h 541043"/>
                    <a:gd name="connsiteX2" fmla="*/ 182804 w 226487"/>
                    <a:gd name="connsiteY2" fmla="*/ 247588 h 541043"/>
                    <a:gd name="connsiteX3" fmla="*/ 195158 w 226487"/>
                    <a:gd name="connsiteY3" fmla="*/ 287354 h 541043"/>
                    <a:gd name="connsiteX4" fmla="*/ 226027 w 226487"/>
                    <a:gd name="connsiteY4" fmla="*/ 302533 h 541043"/>
                    <a:gd name="connsiteX5" fmla="*/ 226470 w 226487"/>
                    <a:gd name="connsiteY5" fmla="*/ 308529 h 541043"/>
                    <a:gd name="connsiteX6" fmla="*/ 210320 w 226487"/>
                    <a:gd name="connsiteY6" fmla="*/ 527126 h 541043"/>
                    <a:gd name="connsiteX7" fmla="*/ 195351 w 226487"/>
                    <a:gd name="connsiteY7" fmla="*/ 541043 h 541043"/>
                    <a:gd name="connsiteX8" fmla="*/ 75119 w 226487"/>
                    <a:gd name="connsiteY8" fmla="*/ 541043 h 541043"/>
                    <a:gd name="connsiteX9" fmla="*/ 60151 w 226487"/>
                    <a:gd name="connsiteY9" fmla="*/ 527126 h 541043"/>
                    <a:gd name="connsiteX10" fmla="*/ 43558 w 226487"/>
                    <a:gd name="connsiteY10" fmla="*/ 302533 h 541043"/>
                    <a:gd name="connsiteX11" fmla="*/ 12689 w 226487"/>
                    <a:gd name="connsiteY11" fmla="*/ 287354 h 541043"/>
                    <a:gd name="connsiteX12" fmla="*/ 335 w 226487"/>
                    <a:gd name="connsiteY12" fmla="*/ 247588 h 541043"/>
                    <a:gd name="connsiteX13" fmla="*/ 20264 w 226487"/>
                    <a:gd name="connsiteY13" fmla="*/ 73010 h 541043"/>
                    <a:gd name="connsiteX14" fmla="*/ 96852 w 226487"/>
                    <a:gd name="connsiteY14" fmla="*/ 0 h 541043"/>
                    <a:gd name="connsiteX15" fmla="*/ 173589 w 226487"/>
                    <a:gd name="connsiteY15" fmla="*/ 0 h 541043"/>
                    <a:gd name="connsiteX16" fmla="*/ 224752 w 226487"/>
                    <a:gd name="connsiteY16" fmla="*/ 20894 h 541043"/>
                    <a:gd name="connsiteX17" fmla="*/ 226487 w 226487"/>
                    <a:gd name="connsiteY17" fmla="*/ 23257 h 541043"/>
                    <a:gd name="connsiteX0" fmla="*/ 202733 w 226487"/>
                    <a:gd name="connsiteY0" fmla="*/ 73010 h 541043"/>
                    <a:gd name="connsiteX1" fmla="*/ 182804 w 226487"/>
                    <a:gd name="connsiteY1" fmla="*/ 247588 h 541043"/>
                    <a:gd name="connsiteX2" fmla="*/ 195158 w 226487"/>
                    <a:gd name="connsiteY2" fmla="*/ 287354 h 541043"/>
                    <a:gd name="connsiteX3" fmla="*/ 226027 w 226487"/>
                    <a:gd name="connsiteY3" fmla="*/ 302533 h 541043"/>
                    <a:gd name="connsiteX4" fmla="*/ 226470 w 226487"/>
                    <a:gd name="connsiteY4" fmla="*/ 308529 h 541043"/>
                    <a:gd name="connsiteX5" fmla="*/ 210320 w 226487"/>
                    <a:gd name="connsiteY5" fmla="*/ 527126 h 541043"/>
                    <a:gd name="connsiteX6" fmla="*/ 195351 w 226487"/>
                    <a:gd name="connsiteY6" fmla="*/ 541043 h 541043"/>
                    <a:gd name="connsiteX7" fmla="*/ 75119 w 226487"/>
                    <a:gd name="connsiteY7" fmla="*/ 541043 h 541043"/>
                    <a:gd name="connsiteX8" fmla="*/ 60151 w 226487"/>
                    <a:gd name="connsiteY8" fmla="*/ 527126 h 541043"/>
                    <a:gd name="connsiteX9" fmla="*/ 43558 w 226487"/>
                    <a:gd name="connsiteY9" fmla="*/ 302533 h 541043"/>
                    <a:gd name="connsiteX10" fmla="*/ 12689 w 226487"/>
                    <a:gd name="connsiteY10" fmla="*/ 287354 h 541043"/>
                    <a:gd name="connsiteX11" fmla="*/ 335 w 226487"/>
                    <a:gd name="connsiteY11" fmla="*/ 247588 h 541043"/>
                    <a:gd name="connsiteX12" fmla="*/ 20264 w 226487"/>
                    <a:gd name="connsiteY12" fmla="*/ 73010 h 541043"/>
                    <a:gd name="connsiteX13" fmla="*/ 96852 w 226487"/>
                    <a:gd name="connsiteY13" fmla="*/ 0 h 541043"/>
                    <a:gd name="connsiteX14" fmla="*/ 173589 w 226487"/>
                    <a:gd name="connsiteY14" fmla="*/ 0 h 541043"/>
                    <a:gd name="connsiteX15" fmla="*/ 224752 w 226487"/>
                    <a:gd name="connsiteY15" fmla="*/ 20894 h 541043"/>
                    <a:gd name="connsiteX16" fmla="*/ 226487 w 226487"/>
                    <a:gd name="connsiteY16" fmla="*/ 23257 h 541043"/>
                    <a:gd name="connsiteX0" fmla="*/ 182804 w 226487"/>
                    <a:gd name="connsiteY0" fmla="*/ 247588 h 541043"/>
                    <a:gd name="connsiteX1" fmla="*/ 195158 w 226487"/>
                    <a:gd name="connsiteY1" fmla="*/ 287354 h 541043"/>
                    <a:gd name="connsiteX2" fmla="*/ 226027 w 226487"/>
                    <a:gd name="connsiteY2" fmla="*/ 302533 h 541043"/>
                    <a:gd name="connsiteX3" fmla="*/ 226470 w 226487"/>
                    <a:gd name="connsiteY3" fmla="*/ 308529 h 541043"/>
                    <a:gd name="connsiteX4" fmla="*/ 210320 w 226487"/>
                    <a:gd name="connsiteY4" fmla="*/ 527126 h 541043"/>
                    <a:gd name="connsiteX5" fmla="*/ 195351 w 226487"/>
                    <a:gd name="connsiteY5" fmla="*/ 541043 h 541043"/>
                    <a:gd name="connsiteX6" fmla="*/ 75119 w 226487"/>
                    <a:gd name="connsiteY6" fmla="*/ 541043 h 541043"/>
                    <a:gd name="connsiteX7" fmla="*/ 60151 w 226487"/>
                    <a:gd name="connsiteY7" fmla="*/ 527126 h 541043"/>
                    <a:gd name="connsiteX8" fmla="*/ 43558 w 226487"/>
                    <a:gd name="connsiteY8" fmla="*/ 302533 h 541043"/>
                    <a:gd name="connsiteX9" fmla="*/ 12689 w 226487"/>
                    <a:gd name="connsiteY9" fmla="*/ 287354 h 541043"/>
                    <a:gd name="connsiteX10" fmla="*/ 335 w 226487"/>
                    <a:gd name="connsiteY10" fmla="*/ 247588 h 541043"/>
                    <a:gd name="connsiteX11" fmla="*/ 20264 w 226487"/>
                    <a:gd name="connsiteY11" fmla="*/ 73010 h 541043"/>
                    <a:gd name="connsiteX12" fmla="*/ 96852 w 226487"/>
                    <a:gd name="connsiteY12" fmla="*/ 0 h 541043"/>
                    <a:gd name="connsiteX13" fmla="*/ 173589 w 226487"/>
                    <a:gd name="connsiteY13" fmla="*/ 0 h 541043"/>
                    <a:gd name="connsiteX14" fmla="*/ 224752 w 226487"/>
                    <a:gd name="connsiteY14" fmla="*/ 20894 h 541043"/>
                    <a:gd name="connsiteX15" fmla="*/ 226487 w 226487"/>
                    <a:gd name="connsiteY15" fmla="*/ 23257 h 541043"/>
                    <a:gd name="connsiteX0" fmla="*/ 195158 w 226487"/>
                    <a:gd name="connsiteY0" fmla="*/ 287354 h 541043"/>
                    <a:gd name="connsiteX1" fmla="*/ 226027 w 226487"/>
                    <a:gd name="connsiteY1" fmla="*/ 302533 h 541043"/>
                    <a:gd name="connsiteX2" fmla="*/ 226470 w 226487"/>
                    <a:gd name="connsiteY2" fmla="*/ 308529 h 541043"/>
                    <a:gd name="connsiteX3" fmla="*/ 210320 w 226487"/>
                    <a:gd name="connsiteY3" fmla="*/ 527126 h 541043"/>
                    <a:gd name="connsiteX4" fmla="*/ 195351 w 226487"/>
                    <a:gd name="connsiteY4" fmla="*/ 541043 h 541043"/>
                    <a:gd name="connsiteX5" fmla="*/ 75119 w 226487"/>
                    <a:gd name="connsiteY5" fmla="*/ 541043 h 541043"/>
                    <a:gd name="connsiteX6" fmla="*/ 60151 w 226487"/>
                    <a:gd name="connsiteY6" fmla="*/ 527126 h 541043"/>
                    <a:gd name="connsiteX7" fmla="*/ 43558 w 226487"/>
                    <a:gd name="connsiteY7" fmla="*/ 302533 h 541043"/>
                    <a:gd name="connsiteX8" fmla="*/ 12689 w 226487"/>
                    <a:gd name="connsiteY8" fmla="*/ 287354 h 541043"/>
                    <a:gd name="connsiteX9" fmla="*/ 335 w 226487"/>
                    <a:gd name="connsiteY9" fmla="*/ 247588 h 541043"/>
                    <a:gd name="connsiteX10" fmla="*/ 20264 w 226487"/>
                    <a:gd name="connsiteY10" fmla="*/ 73010 h 541043"/>
                    <a:gd name="connsiteX11" fmla="*/ 96852 w 226487"/>
                    <a:gd name="connsiteY11" fmla="*/ 0 h 541043"/>
                    <a:gd name="connsiteX12" fmla="*/ 173589 w 226487"/>
                    <a:gd name="connsiteY12" fmla="*/ 0 h 541043"/>
                    <a:gd name="connsiteX13" fmla="*/ 224752 w 226487"/>
                    <a:gd name="connsiteY13" fmla="*/ 20894 h 541043"/>
                    <a:gd name="connsiteX14" fmla="*/ 226487 w 226487"/>
                    <a:gd name="connsiteY14" fmla="*/ 23257 h 541043"/>
                    <a:gd name="connsiteX0" fmla="*/ 226027 w 226487"/>
                    <a:gd name="connsiteY0" fmla="*/ 302533 h 541043"/>
                    <a:gd name="connsiteX1" fmla="*/ 226470 w 226487"/>
                    <a:gd name="connsiteY1" fmla="*/ 308529 h 541043"/>
                    <a:gd name="connsiteX2" fmla="*/ 210320 w 226487"/>
                    <a:gd name="connsiteY2" fmla="*/ 527126 h 541043"/>
                    <a:gd name="connsiteX3" fmla="*/ 195351 w 226487"/>
                    <a:gd name="connsiteY3" fmla="*/ 541043 h 541043"/>
                    <a:gd name="connsiteX4" fmla="*/ 75119 w 226487"/>
                    <a:gd name="connsiteY4" fmla="*/ 541043 h 541043"/>
                    <a:gd name="connsiteX5" fmla="*/ 60151 w 226487"/>
                    <a:gd name="connsiteY5" fmla="*/ 527126 h 541043"/>
                    <a:gd name="connsiteX6" fmla="*/ 43558 w 226487"/>
                    <a:gd name="connsiteY6" fmla="*/ 302533 h 541043"/>
                    <a:gd name="connsiteX7" fmla="*/ 12689 w 226487"/>
                    <a:gd name="connsiteY7" fmla="*/ 287354 h 541043"/>
                    <a:gd name="connsiteX8" fmla="*/ 335 w 226487"/>
                    <a:gd name="connsiteY8" fmla="*/ 247588 h 541043"/>
                    <a:gd name="connsiteX9" fmla="*/ 20264 w 226487"/>
                    <a:gd name="connsiteY9" fmla="*/ 73010 h 541043"/>
                    <a:gd name="connsiteX10" fmla="*/ 96852 w 226487"/>
                    <a:gd name="connsiteY10" fmla="*/ 0 h 541043"/>
                    <a:gd name="connsiteX11" fmla="*/ 173589 w 226487"/>
                    <a:gd name="connsiteY11" fmla="*/ 0 h 541043"/>
                    <a:gd name="connsiteX12" fmla="*/ 224752 w 226487"/>
                    <a:gd name="connsiteY12" fmla="*/ 20894 h 541043"/>
                    <a:gd name="connsiteX13" fmla="*/ 226487 w 226487"/>
                    <a:gd name="connsiteY13" fmla="*/ 23257 h 541043"/>
                    <a:gd name="connsiteX0" fmla="*/ 226470 w 226487"/>
                    <a:gd name="connsiteY0" fmla="*/ 308529 h 541043"/>
                    <a:gd name="connsiteX1" fmla="*/ 210320 w 226487"/>
                    <a:gd name="connsiteY1" fmla="*/ 527126 h 541043"/>
                    <a:gd name="connsiteX2" fmla="*/ 195351 w 226487"/>
                    <a:gd name="connsiteY2" fmla="*/ 541043 h 541043"/>
                    <a:gd name="connsiteX3" fmla="*/ 75119 w 226487"/>
                    <a:gd name="connsiteY3" fmla="*/ 541043 h 541043"/>
                    <a:gd name="connsiteX4" fmla="*/ 60151 w 226487"/>
                    <a:gd name="connsiteY4" fmla="*/ 527126 h 541043"/>
                    <a:gd name="connsiteX5" fmla="*/ 43558 w 226487"/>
                    <a:gd name="connsiteY5" fmla="*/ 302533 h 541043"/>
                    <a:gd name="connsiteX6" fmla="*/ 12689 w 226487"/>
                    <a:gd name="connsiteY6" fmla="*/ 287354 h 541043"/>
                    <a:gd name="connsiteX7" fmla="*/ 335 w 226487"/>
                    <a:gd name="connsiteY7" fmla="*/ 247588 h 541043"/>
                    <a:gd name="connsiteX8" fmla="*/ 20264 w 226487"/>
                    <a:gd name="connsiteY8" fmla="*/ 73010 h 541043"/>
                    <a:gd name="connsiteX9" fmla="*/ 96852 w 226487"/>
                    <a:gd name="connsiteY9" fmla="*/ 0 h 541043"/>
                    <a:gd name="connsiteX10" fmla="*/ 173589 w 226487"/>
                    <a:gd name="connsiteY10" fmla="*/ 0 h 541043"/>
                    <a:gd name="connsiteX11" fmla="*/ 224752 w 226487"/>
                    <a:gd name="connsiteY11" fmla="*/ 20894 h 541043"/>
                    <a:gd name="connsiteX12" fmla="*/ 226487 w 226487"/>
                    <a:gd name="connsiteY12" fmla="*/ 23257 h 54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6487" h="541043">
                      <a:moveTo>
                        <a:pt x="226470" y="308529"/>
                      </a:moveTo>
                      <a:lnTo>
                        <a:pt x="210320" y="527126"/>
                      </a:lnTo>
                      <a:cubicBezTo>
                        <a:pt x="209779" y="534971"/>
                        <a:pt x="203227" y="541043"/>
                        <a:pt x="195351" y="541043"/>
                      </a:cubicBezTo>
                      <a:lnTo>
                        <a:pt x="75119" y="541043"/>
                      </a:lnTo>
                      <a:cubicBezTo>
                        <a:pt x="67274" y="541043"/>
                        <a:pt x="60722" y="534971"/>
                        <a:pt x="60151" y="527126"/>
                      </a:cubicBezTo>
                      <a:lnTo>
                        <a:pt x="43558" y="302533"/>
                      </a:lnTo>
                      <a:cubicBezTo>
                        <a:pt x="31746" y="301872"/>
                        <a:pt x="20895" y="296521"/>
                        <a:pt x="12689" y="287354"/>
                      </a:cubicBezTo>
                      <a:cubicBezTo>
                        <a:pt x="3191" y="276713"/>
                        <a:pt x="-1318" y="262196"/>
                        <a:pt x="335" y="247588"/>
                      </a:cubicBezTo>
                      <a:lnTo>
                        <a:pt x="20264" y="73010"/>
                      </a:lnTo>
                      <a:cubicBezTo>
                        <a:pt x="25013" y="31381"/>
                        <a:pt x="57957" y="0"/>
                        <a:pt x="96852" y="0"/>
                      </a:cubicBezTo>
                      <a:lnTo>
                        <a:pt x="173589" y="0"/>
                      </a:lnTo>
                      <a:cubicBezTo>
                        <a:pt x="193067" y="0"/>
                        <a:pt x="211049" y="7845"/>
                        <a:pt x="224752" y="20894"/>
                      </a:cubicBezTo>
                      <a:lnTo>
                        <a:pt x="226487" y="23257"/>
                      </a:lnTo>
                    </a:path>
                  </a:pathLst>
                </a:custGeom>
                <a:grpFill/>
                <a:ln>
                  <a:solidFill>
                    <a:schemeClr val="tx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sp>
          <p:nvSpPr>
            <p:cNvPr id="558" name="Freeform 557">
              <a:extLst>
                <a:ext uri="{FF2B5EF4-FFF2-40B4-BE49-F238E27FC236}">
                  <a16:creationId xmlns:a16="http://schemas.microsoft.com/office/drawing/2014/main" id="{25B7D3D5-D4BF-FF2B-D950-0FBAD68CA1B4}"/>
                </a:ext>
              </a:extLst>
            </p:cNvPr>
            <p:cNvSpPr/>
            <p:nvPr/>
          </p:nvSpPr>
          <p:spPr>
            <a:xfrm>
              <a:off x="8984807" y="506556"/>
              <a:ext cx="270502" cy="721392"/>
            </a:xfrm>
            <a:custGeom>
              <a:avLst/>
              <a:gdLst>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4 w 270502"/>
                <a:gd name="connsiteY39" fmla="*/ 30058 h 721392"/>
                <a:gd name="connsiteX40" fmla="*/ 90148 w 270502"/>
                <a:gd name="connsiteY40" fmla="*/ 75145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90149 w 270502"/>
                <a:gd name="connsiteY44" fmla="*/ 75145 h 721392"/>
                <a:gd name="connsiteX45" fmla="*/ 103382 w 270502"/>
                <a:gd name="connsiteY45" fmla="*/ 43280 h 721392"/>
                <a:gd name="connsiteX46" fmla="*/ 135235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90149 w 270502"/>
                <a:gd name="connsiteY45" fmla="*/ 75145 h 721392"/>
                <a:gd name="connsiteX46" fmla="*/ 135235 w 270502"/>
                <a:gd name="connsiteY46" fmla="*/ 30058 h 721392"/>
                <a:gd name="connsiteX47" fmla="*/ 135234 w 270502"/>
                <a:gd name="connsiteY47" fmla="*/ 30058 h 721392"/>
                <a:gd name="connsiteX48" fmla="*/ 135234 w 270502"/>
                <a:gd name="connsiteY48" fmla="*/ 0 h 721392"/>
                <a:gd name="connsiteX49" fmla="*/ 210379 w 270502"/>
                <a:gd name="connsiteY49" fmla="*/ 75145 h 721392"/>
                <a:gd name="connsiteX50" fmla="*/ 135234 w 270502"/>
                <a:gd name="connsiteY50" fmla="*/ 150290 h 721392"/>
                <a:gd name="connsiteX51" fmla="*/ 60089 w 270502"/>
                <a:gd name="connsiteY51" fmla="*/ 75145 h 721392"/>
                <a:gd name="connsiteX52" fmla="*/ 135234 w 270502"/>
                <a:gd name="connsiteY52"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0 h 721392"/>
                <a:gd name="connsiteX47" fmla="*/ 210379 w 270502"/>
                <a:gd name="connsiteY47" fmla="*/ 75145 h 721392"/>
                <a:gd name="connsiteX48" fmla="*/ 135234 w 270502"/>
                <a:gd name="connsiteY48" fmla="*/ 150290 h 721392"/>
                <a:gd name="connsiteX49" fmla="*/ 60089 w 270502"/>
                <a:gd name="connsiteY49" fmla="*/ 75145 h 721392"/>
                <a:gd name="connsiteX50" fmla="*/ 135234 w 270502"/>
                <a:gd name="connsiteY50"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5 w 270502"/>
                <a:gd name="connsiteY44" fmla="*/ 30058 h 721392"/>
                <a:gd name="connsiteX45" fmla="*/ 135234 w 270502"/>
                <a:gd name="connsiteY45" fmla="*/ 0 h 721392"/>
                <a:gd name="connsiteX46" fmla="*/ 210379 w 270502"/>
                <a:gd name="connsiteY46" fmla="*/ 75145 h 721392"/>
                <a:gd name="connsiteX47" fmla="*/ 135234 w 270502"/>
                <a:gd name="connsiteY47" fmla="*/ 150290 h 721392"/>
                <a:gd name="connsiteX48" fmla="*/ 60089 w 270502"/>
                <a:gd name="connsiteY48" fmla="*/ 75145 h 721392"/>
                <a:gd name="connsiteX49" fmla="*/ 135234 w 270502"/>
                <a:gd name="connsiteY49"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03371 w 270502"/>
                <a:gd name="connsiteY40" fmla="*/ 107010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4 w 270502"/>
                <a:gd name="connsiteY44" fmla="*/ 0 h 721392"/>
                <a:gd name="connsiteX45" fmla="*/ 210379 w 270502"/>
                <a:gd name="connsiteY45" fmla="*/ 75145 h 721392"/>
                <a:gd name="connsiteX46" fmla="*/ 135234 w 270502"/>
                <a:gd name="connsiteY46" fmla="*/ 150290 h 721392"/>
                <a:gd name="connsiteX47" fmla="*/ 60089 w 270502"/>
                <a:gd name="connsiteY47" fmla="*/ 75145 h 721392"/>
                <a:gd name="connsiteX48" fmla="*/ 135234 w 270502"/>
                <a:gd name="connsiteY48"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120232 h 721392"/>
                <a:gd name="connsiteX41" fmla="*/ 135234 w 270502"/>
                <a:gd name="connsiteY41" fmla="*/ 120232 h 721392"/>
                <a:gd name="connsiteX42" fmla="*/ 135235 w 270502"/>
                <a:gd name="connsiteY42" fmla="*/ 120232 h 721392"/>
                <a:gd name="connsiteX43" fmla="*/ 135234 w 270502"/>
                <a:gd name="connsiteY43" fmla="*/ 0 h 721392"/>
                <a:gd name="connsiteX44" fmla="*/ 210379 w 270502"/>
                <a:gd name="connsiteY44" fmla="*/ 75145 h 721392"/>
                <a:gd name="connsiteX45" fmla="*/ 135234 w 270502"/>
                <a:gd name="connsiteY45" fmla="*/ 150290 h 721392"/>
                <a:gd name="connsiteX46" fmla="*/ 60089 w 270502"/>
                <a:gd name="connsiteY46" fmla="*/ 75145 h 721392"/>
                <a:gd name="connsiteX47" fmla="*/ 135234 w 270502"/>
                <a:gd name="connsiteY47" fmla="*/ 0 h 721392"/>
                <a:gd name="connsiteX0" fmla="*/ 35142 w 270502"/>
                <a:gd name="connsiteY0" fmla="*/ 447684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5 w 270502"/>
                <a:gd name="connsiteY39" fmla="*/ 120232 h 721392"/>
                <a:gd name="connsiteX40" fmla="*/ 135234 w 270502"/>
                <a:gd name="connsiteY40" fmla="*/ 120232 h 721392"/>
                <a:gd name="connsiteX41" fmla="*/ 135235 w 270502"/>
                <a:gd name="connsiteY41" fmla="*/ 120232 h 721392"/>
                <a:gd name="connsiteX42" fmla="*/ 135234 w 270502"/>
                <a:gd name="connsiteY42" fmla="*/ 0 h 721392"/>
                <a:gd name="connsiteX43" fmla="*/ 210379 w 270502"/>
                <a:gd name="connsiteY43" fmla="*/ 75145 h 721392"/>
                <a:gd name="connsiteX44" fmla="*/ 135234 w 270502"/>
                <a:gd name="connsiteY44" fmla="*/ 150290 h 721392"/>
                <a:gd name="connsiteX45" fmla="*/ 60089 w 270502"/>
                <a:gd name="connsiteY45" fmla="*/ 75145 h 721392"/>
                <a:gd name="connsiteX46" fmla="*/ 135234 w 270502"/>
                <a:gd name="connsiteY46" fmla="*/ 0 h 721392"/>
                <a:gd name="connsiteX0" fmla="*/ 35142 w 270502"/>
                <a:gd name="connsiteY0" fmla="*/ 447684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35142 w 270502"/>
                <a:gd name="connsiteY22" fmla="*/ 447684 h 721392"/>
                <a:gd name="connsiteX23" fmla="*/ 96852 w 270502"/>
                <a:gd name="connsiteY23" fmla="*/ 180349 h 721392"/>
                <a:gd name="connsiteX24" fmla="*/ 173589 w 270502"/>
                <a:gd name="connsiteY24" fmla="*/ 180349 h 721392"/>
                <a:gd name="connsiteX25" fmla="*/ 250238 w 270502"/>
                <a:gd name="connsiteY25" fmla="*/ 253359 h 721392"/>
                <a:gd name="connsiteX26" fmla="*/ 270166 w 270502"/>
                <a:gd name="connsiteY26" fmla="*/ 427937 h 721392"/>
                <a:gd name="connsiteX27" fmla="*/ 257782 w 270502"/>
                <a:gd name="connsiteY27" fmla="*/ 467703 h 721392"/>
                <a:gd name="connsiteX28" fmla="*/ 226913 w 270502"/>
                <a:gd name="connsiteY28" fmla="*/ 482882 h 721392"/>
                <a:gd name="connsiteX29" fmla="*/ 210320 w 270502"/>
                <a:gd name="connsiteY29" fmla="*/ 707475 h 721392"/>
                <a:gd name="connsiteX30" fmla="*/ 195351 w 270502"/>
                <a:gd name="connsiteY30" fmla="*/ 721392 h 721392"/>
                <a:gd name="connsiteX31" fmla="*/ 75119 w 270502"/>
                <a:gd name="connsiteY31" fmla="*/ 721392 h 721392"/>
                <a:gd name="connsiteX32" fmla="*/ 60151 w 270502"/>
                <a:gd name="connsiteY32" fmla="*/ 707475 h 721392"/>
                <a:gd name="connsiteX33" fmla="*/ 43558 w 270502"/>
                <a:gd name="connsiteY33" fmla="*/ 482882 h 721392"/>
                <a:gd name="connsiteX34" fmla="*/ 12689 w 270502"/>
                <a:gd name="connsiteY34" fmla="*/ 467703 h 721392"/>
                <a:gd name="connsiteX35" fmla="*/ 335 w 270502"/>
                <a:gd name="connsiteY35" fmla="*/ 427937 h 721392"/>
                <a:gd name="connsiteX36" fmla="*/ 20264 w 270502"/>
                <a:gd name="connsiteY36" fmla="*/ 253359 h 721392"/>
                <a:gd name="connsiteX37" fmla="*/ 96852 w 270502"/>
                <a:gd name="connsiteY37" fmla="*/ 180349 h 721392"/>
                <a:gd name="connsiteX38" fmla="*/ 135235 w 270502"/>
                <a:gd name="connsiteY38" fmla="*/ 120232 h 721392"/>
                <a:gd name="connsiteX39" fmla="*/ 135234 w 270502"/>
                <a:gd name="connsiteY39" fmla="*/ 120232 h 721392"/>
                <a:gd name="connsiteX40" fmla="*/ 135235 w 270502"/>
                <a:gd name="connsiteY40" fmla="*/ 120232 h 721392"/>
                <a:gd name="connsiteX41" fmla="*/ 135234 w 270502"/>
                <a:gd name="connsiteY41" fmla="*/ 0 h 721392"/>
                <a:gd name="connsiteX42" fmla="*/ 210379 w 270502"/>
                <a:gd name="connsiteY42" fmla="*/ 75145 h 721392"/>
                <a:gd name="connsiteX43" fmla="*/ 135234 w 270502"/>
                <a:gd name="connsiteY43" fmla="*/ 150290 h 721392"/>
                <a:gd name="connsiteX44" fmla="*/ 60089 w 270502"/>
                <a:gd name="connsiteY44" fmla="*/ 75145 h 721392"/>
                <a:gd name="connsiteX45" fmla="*/ 135234 w 270502"/>
                <a:gd name="connsiteY45" fmla="*/ 0 h 721392"/>
                <a:gd name="connsiteX0" fmla="*/ 46144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96852 w 270502"/>
                <a:gd name="connsiteY22" fmla="*/ 180349 h 721392"/>
                <a:gd name="connsiteX23" fmla="*/ 173589 w 270502"/>
                <a:gd name="connsiteY23" fmla="*/ 180349 h 721392"/>
                <a:gd name="connsiteX24" fmla="*/ 250238 w 270502"/>
                <a:gd name="connsiteY24" fmla="*/ 253359 h 721392"/>
                <a:gd name="connsiteX25" fmla="*/ 270166 w 270502"/>
                <a:gd name="connsiteY25" fmla="*/ 427937 h 721392"/>
                <a:gd name="connsiteX26" fmla="*/ 257782 w 270502"/>
                <a:gd name="connsiteY26" fmla="*/ 467703 h 721392"/>
                <a:gd name="connsiteX27" fmla="*/ 226913 w 270502"/>
                <a:gd name="connsiteY27" fmla="*/ 482882 h 721392"/>
                <a:gd name="connsiteX28" fmla="*/ 210320 w 270502"/>
                <a:gd name="connsiteY28" fmla="*/ 707475 h 721392"/>
                <a:gd name="connsiteX29" fmla="*/ 195351 w 270502"/>
                <a:gd name="connsiteY29" fmla="*/ 721392 h 721392"/>
                <a:gd name="connsiteX30" fmla="*/ 75119 w 270502"/>
                <a:gd name="connsiteY30" fmla="*/ 721392 h 721392"/>
                <a:gd name="connsiteX31" fmla="*/ 60151 w 270502"/>
                <a:gd name="connsiteY31" fmla="*/ 707475 h 721392"/>
                <a:gd name="connsiteX32" fmla="*/ 43558 w 270502"/>
                <a:gd name="connsiteY32" fmla="*/ 482882 h 721392"/>
                <a:gd name="connsiteX33" fmla="*/ 12689 w 270502"/>
                <a:gd name="connsiteY33" fmla="*/ 467703 h 721392"/>
                <a:gd name="connsiteX34" fmla="*/ 335 w 270502"/>
                <a:gd name="connsiteY34" fmla="*/ 427937 h 721392"/>
                <a:gd name="connsiteX35" fmla="*/ 20264 w 270502"/>
                <a:gd name="connsiteY35" fmla="*/ 253359 h 721392"/>
                <a:gd name="connsiteX36" fmla="*/ 96852 w 270502"/>
                <a:gd name="connsiteY36" fmla="*/ 180349 h 721392"/>
                <a:gd name="connsiteX37" fmla="*/ 135235 w 270502"/>
                <a:gd name="connsiteY37" fmla="*/ 120232 h 721392"/>
                <a:gd name="connsiteX38" fmla="*/ 135234 w 270502"/>
                <a:gd name="connsiteY38" fmla="*/ 120232 h 721392"/>
                <a:gd name="connsiteX39" fmla="*/ 135235 w 270502"/>
                <a:gd name="connsiteY39" fmla="*/ 120232 h 721392"/>
                <a:gd name="connsiteX40" fmla="*/ 135234 w 270502"/>
                <a:gd name="connsiteY40" fmla="*/ 0 h 721392"/>
                <a:gd name="connsiteX41" fmla="*/ 210379 w 270502"/>
                <a:gd name="connsiteY41" fmla="*/ 75145 h 721392"/>
                <a:gd name="connsiteX42" fmla="*/ 135234 w 270502"/>
                <a:gd name="connsiteY42" fmla="*/ 150290 h 721392"/>
                <a:gd name="connsiteX43" fmla="*/ 60089 w 270502"/>
                <a:gd name="connsiteY43" fmla="*/ 75145 h 721392"/>
                <a:gd name="connsiteX44" fmla="*/ 135234 w 270502"/>
                <a:gd name="connsiteY44" fmla="*/ 0 h 721392"/>
                <a:gd name="connsiteX0" fmla="*/ 57565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96852 w 270502"/>
                <a:gd name="connsiteY21" fmla="*/ 180349 h 721392"/>
                <a:gd name="connsiteX22" fmla="*/ 173589 w 270502"/>
                <a:gd name="connsiteY22" fmla="*/ 180349 h 721392"/>
                <a:gd name="connsiteX23" fmla="*/ 250238 w 270502"/>
                <a:gd name="connsiteY23" fmla="*/ 253359 h 721392"/>
                <a:gd name="connsiteX24" fmla="*/ 270166 w 270502"/>
                <a:gd name="connsiteY24" fmla="*/ 427937 h 721392"/>
                <a:gd name="connsiteX25" fmla="*/ 257782 w 270502"/>
                <a:gd name="connsiteY25" fmla="*/ 467703 h 721392"/>
                <a:gd name="connsiteX26" fmla="*/ 226913 w 270502"/>
                <a:gd name="connsiteY26" fmla="*/ 482882 h 721392"/>
                <a:gd name="connsiteX27" fmla="*/ 210320 w 270502"/>
                <a:gd name="connsiteY27" fmla="*/ 707475 h 721392"/>
                <a:gd name="connsiteX28" fmla="*/ 195351 w 270502"/>
                <a:gd name="connsiteY28" fmla="*/ 721392 h 721392"/>
                <a:gd name="connsiteX29" fmla="*/ 75119 w 270502"/>
                <a:gd name="connsiteY29" fmla="*/ 721392 h 721392"/>
                <a:gd name="connsiteX30" fmla="*/ 60151 w 270502"/>
                <a:gd name="connsiteY30" fmla="*/ 707475 h 721392"/>
                <a:gd name="connsiteX31" fmla="*/ 43558 w 270502"/>
                <a:gd name="connsiteY31" fmla="*/ 482882 h 721392"/>
                <a:gd name="connsiteX32" fmla="*/ 12689 w 270502"/>
                <a:gd name="connsiteY32" fmla="*/ 467703 h 721392"/>
                <a:gd name="connsiteX33" fmla="*/ 335 w 270502"/>
                <a:gd name="connsiteY33" fmla="*/ 427937 h 721392"/>
                <a:gd name="connsiteX34" fmla="*/ 20264 w 270502"/>
                <a:gd name="connsiteY34" fmla="*/ 253359 h 721392"/>
                <a:gd name="connsiteX35" fmla="*/ 96852 w 270502"/>
                <a:gd name="connsiteY35" fmla="*/ 180349 h 721392"/>
                <a:gd name="connsiteX36" fmla="*/ 135235 w 270502"/>
                <a:gd name="connsiteY36" fmla="*/ 120232 h 721392"/>
                <a:gd name="connsiteX37" fmla="*/ 135234 w 270502"/>
                <a:gd name="connsiteY37" fmla="*/ 120232 h 721392"/>
                <a:gd name="connsiteX38" fmla="*/ 135235 w 270502"/>
                <a:gd name="connsiteY38" fmla="*/ 120232 h 721392"/>
                <a:gd name="connsiteX39" fmla="*/ 135234 w 270502"/>
                <a:gd name="connsiteY39" fmla="*/ 0 h 721392"/>
                <a:gd name="connsiteX40" fmla="*/ 210379 w 270502"/>
                <a:gd name="connsiteY40" fmla="*/ 75145 h 721392"/>
                <a:gd name="connsiteX41" fmla="*/ 135234 w 270502"/>
                <a:gd name="connsiteY41" fmla="*/ 150290 h 721392"/>
                <a:gd name="connsiteX42" fmla="*/ 60089 w 270502"/>
                <a:gd name="connsiteY42" fmla="*/ 75145 h 721392"/>
                <a:gd name="connsiteX43" fmla="*/ 135234 w 270502"/>
                <a:gd name="connsiteY43" fmla="*/ 0 h 721392"/>
                <a:gd name="connsiteX0" fmla="*/ 72565 w 270502"/>
                <a:gd name="connsiteY0" fmla="*/ 466800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96852 w 270502"/>
                <a:gd name="connsiteY20" fmla="*/ 180349 h 721392"/>
                <a:gd name="connsiteX21" fmla="*/ 173589 w 270502"/>
                <a:gd name="connsiteY21" fmla="*/ 180349 h 721392"/>
                <a:gd name="connsiteX22" fmla="*/ 250238 w 270502"/>
                <a:gd name="connsiteY22" fmla="*/ 253359 h 721392"/>
                <a:gd name="connsiteX23" fmla="*/ 270166 w 270502"/>
                <a:gd name="connsiteY23" fmla="*/ 427937 h 721392"/>
                <a:gd name="connsiteX24" fmla="*/ 257782 w 270502"/>
                <a:gd name="connsiteY24" fmla="*/ 467703 h 721392"/>
                <a:gd name="connsiteX25" fmla="*/ 226913 w 270502"/>
                <a:gd name="connsiteY25" fmla="*/ 482882 h 721392"/>
                <a:gd name="connsiteX26" fmla="*/ 210320 w 270502"/>
                <a:gd name="connsiteY26" fmla="*/ 707475 h 721392"/>
                <a:gd name="connsiteX27" fmla="*/ 195351 w 270502"/>
                <a:gd name="connsiteY27" fmla="*/ 721392 h 721392"/>
                <a:gd name="connsiteX28" fmla="*/ 75119 w 270502"/>
                <a:gd name="connsiteY28" fmla="*/ 721392 h 721392"/>
                <a:gd name="connsiteX29" fmla="*/ 60151 w 270502"/>
                <a:gd name="connsiteY29" fmla="*/ 707475 h 721392"/>
                <a:gd name="connsiteX30" fmla="*/ 43558 w 270502"/>
                <a:gd name="connsiteY30" fmla="*/ 482882 h 721392"/>
                <a:gd name="connsiteX31" fmla="*/ 12689 w 270502"/>
                <a:gd name="connsiteY31" fmla="*/ 467703 h 721392"/>
                <a:gd name="connsiteX32" fmla="*/ 335 w 270502"/>
                <a:gd name="connsiteY32" fmla="*/ 427937 h 721392"/>
                <a:gd name="connsiteX33" fmla="*/ 20264 w 270502"/>
                <a:gd name="connsiteY33" fmla="*/ 253359 h 721392"/>
                <a:gd name="connsiteX34" fmla="*/ 96852 w 270502"/>
                <a:gd name="connsiteY34" fmla="*/ 180349 h 721392"/>
                <a:gd name="connsiteX35" fmla="*/ 135235 w 270502"/>
                <a:gd name="connsiteY35" fmla="*/ 120232 h 721392"/>
                <a:gd name="connsiteX36" fmla="*/ 135234 w 270502"/>
                <a:gd name="connsiteY36" fmla="*/ 120232 h 721392"/>
                <a:gd name="connsiteX37" fmla="*/ 135235 w 270502"/>
                <a:gd name="connsiteY37" fmla="*/ 120232 h 721392"/>
                <a:gd name="connsiteX38" fmla="*/ 135234 w 270502"/>
                <a:gd name="connsiteY38" fmla="*/ 0 h 721392"/>
                <a:gd name="connsiteX39" fmla="*/ 210379 w 270502"/>
                <a:gd name="connsiteY39" fmla="*/ 75145 h 721392"/>
                <a:gd name="connsiteX40" fmla="*/ 135234 w 270502"/>
                <a:gd name="connsiteY40" fmla="*/ 150290 h 721392"/>
                <a:gd name="connsiteX41" fmla="*/ 60089 w 270502"/>
                <a:gd name="connsiteY41" fmla="*/ 75145 h 721392"/>
                <a:gd name="connsiteX42" fmla="*/ 135234 w 270502"/>
                <a:gd name="connsiteY42" fmla="*/ 0 h 721392"/>
                <a:gd name="connsiteX0" fmla="*/ 72565 w 270502"/>
                <a:gd name="connsiteY0" fmla="*/ 466800 h 721392"/>
                <a:gd name="connsiteX1" fmla="*/ 35142 w 270502"/>
                <a:gd name="connsiteY1" fmla="*/ 447685 h 721392"/>
                <a:gd name="connsiteX2" fmla="*/ 57565 w 270502"/>
                <a:gd name="connsiteY2" fmla="*/ 452884 h 721392"/>
                <a:gd name="connsiteX3" fmla="*/ 72565 w 270502"/>
                <a:gd name="connsiteY3" fmla="*/ 466801 h 721392"/>
                <a:gd name="connsiteX4" fmla="*/ 89097 w 270502"/>
                <a:gd name="connsiteY4" fmla="*/ 691334 h 721392"/>
                <a:gd name="connsiteX5" fmla="*/ 181404 w 270502"/>
                <a:gd name="connsiteY5" fmla="*/ 691334 h 721392"/>
                <a:gd name="connsiteX6" fmla="*/ 197967 w 270502"/>
                <a:gd name="connsiteY6" fmla="*/ 466801 h 721392"/>
                <a:gd name="connsiteX7" fmla="*/ 212965 w 270502"/>
                <a:gd name="connsiteY7" fmla="*/ 452884 h 721392"/>
                <a:gd name="connsiteX8" fmla="*/ 224418 w 270502"/>
                <a:gd name="connsiteY8" fmla="*/ 452884 h 721392"/>
                <a:gd name="connsiteX9" fmla="*/ 235419 w 270502"/>
                <a:gd name="connsiteY9" fmla="*/ 447685 h 721392"/>
                <a:gd name="connsiteX10" fmla="*/ 240348 w 270502"/>
                <a:gd name="connsiteY10" fmla="*/ 431333 h 721392"/>
                <a:gd name="connsiteX11" fmla="*/ 240348 w 270502"/>
                <a:gd name="connsiteY11" fmla="*/ 431332 h 721392"/>
                <a:gd name="connsiteX12" fmla="*/ 235419 w 270502"/>
                <a:gd name="connsiteY12" fmla="*/ 447684 h 721392"/>
                <a:gd name="connsiteX13" fmla="*/ 224418 w 270502"/>
                <a:gd name="connsiteY13" fmla="*/ 452883 h 721392"/>
                <a:gd name="connsiteX14" fmla="*/ 212965 w 270502"/>
                <a:gd name="connsiteY14" fmla="*/ 452883 h 721392"/>
                <a:gd name="connsiteX15" fmla="*/ 197967 w 270502"/>
                <a:gd name="connsiteY15" fmla="*/ 466800 h 721392"/>
                <a:gd name="connsiteX16" fmla="*/ 181404 w 270502"/>
                <a:gd name="connsiteY16" fmla="*/ 691333 h 721392"/>
                <a:gd name="connsiteX17" fmla="*/ 89097 w 270502"/>
                <a:gd name="connsiteY17" fmla="*/ 691333 h 721392"/>
                <a:gd name="connsiteX18" fmla="*/ 72565 w 270502"/>
                <a:gd name="connsiteY18" fmla="*/ 466800 h 721392"/>
                <a:gd name="connsiteX19" fmla="*/ 96852 w 270502"/>
                <a:gd name="connsiteY19" fmla="*/ 180349 h 721392"/>
                <a:gd name="connsiteX20" fmla="*/ 173589 w 270502"/>
                <a:gd name="connsiteY20" fmla="*/ 180349 h 721392"/>
                <a:gd name="connsiteX21" fmla="*/ 250238 w 270502"/>
                <a:gd name="connsiteY21" fmla="*/ 253359 h 721392"/>
                <a:gd name="connsiteX22" fmla="*/ 270166 w 270502"/>
                <a:gd name="connsiteY22" fmla="*/ 427937 h 721392"/>
                <a:gd name="connsiteX23" fmla="*/ 257782 w 270502"/>
                <a:gd name="connsiteY23" fmla="*/ 467703 h 721392"/>
                <a:gd name="connsiteX24" fmla="*/ 226913 w 270502"/>
                <a:gd name="connsiteY24" fmla="*/ 482882 h 721392"/>
                <a:gd name="connsiteX25" fmla="*/ 210320 w 270502"/>
                <a:gd name="connsiteY25" fmla="*/ 707475 h 721392"/>
                <a:gd name="connsiteX26" fmla="*/ 195351 w 270502"/>
                <a:gd name="connsiteY26" fmla="*/ 721392 h 721392"/>
                <a:gd name="connsiteX27" fmla="*/ 75119 w 270502"/>
                <a:gd name="connsiteY27" fmla="*/ 721392 h 721392"/>
                <a:gd name="connsiteX28" fmla="*/ 60151 w 270502"/>
                <a:gd name="connsiteY28" fmla="*/ 707475 h 721392"/>
                <a:gd name="connsiteX29" fmla="*/ 43558 w 270502"/>
                <a:gd name="connsiteY29" fmla="*/ 482882 h 721392"/>
                <a:gd name="connsiteX30" fmla="*/ 12689 w 270502"/>
                <a:gd name="connsiteY30" fmla="*/ 467703 h 721392"/>
                <a:gd name="connsiteX31" fmla="*/ 335 w 270502"/>
                <a:gd name="connsiteY31" fmla="*/ 427937 h 721392"/>
                <a:gd name="connsiteX32" fmla="*/ 20264 w 270502"/>
                <a:gd name="connsiteY32" fmla="*/ 253359 h 721392"/>
                <a:gd name="connsiteX33" fmla="*/ 96852 w 270502"/>
                <a:gd name="connsiteY33" fmla="*/ 180349 h 721392"/>
                <a:gd name="connsiteX34" fmla="*/ 135235 w 270502"/>
                <a:gd name="connsiteY34" fmla="*/ 120232 h 721392"/>
                <a:gd name="connsiteX35" fmla="*/ 135234 w 270502"/>
                <a:gd name="connsiteY35" fmla="*/ 120232 h 721392"/>
                <a:gd name="connsiteX36" fmla="*/ 135235 w 270502"/>
                <a:gd name="connsiteY36" fmla="*/ 120232 h 721392"/>
                <a:gd name="connsiteX37" fmla="*/ 135234 w 270502"/>
                <a:gd name="connsiteY37" fmla="*/ 0 h 721392"/>
                <a:gd name="connsiteX38" fmla="*/ 210379 w 270502"/>
                <a:gd name="connsiteY38" fmla="*/ 75145 h 721392"/>
                <a:gd name="connsiteX39" fmla="*/ 135234 w 270502"/>
                <a:gd name="connsiteY39" fmla="*/ 150290 h 721392"/>
                <a:gd name="connsiteX40" fmla="*/ 60089 w 270502"/>
                <a:gd name="connsiteY40" fmla="*/ 75145 h 721392"/>
                <a:gd name="connsiteX41" fmla="*/ 135234 w 270502"/>
                <a:gd name="connsiteY41" fmla="*/ 0 h 721392"/>
                <a:gd name="connsiteX0" fmla="*/ 72565 w 270502"/>
                <a:gd name="connsiteY0" fmla="*/ 466800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72565 w 270502"/>
                <a:gd name="connsiteY17" fmla="*/ 466800 h 721392"/>
                <a:gd name="connsiteX18" fmla="*/ 96852 w 270502"/>
                <a:gd name="connsiteY18" fmla="*/ 180349 h 721392"/>
                <a:gd name="connsiteX19" fmla="*/ 173589 w 270502"/>
                <a:gd name="connsiteY19" fmla="*/ 180349 h 721392"/>
                <a:gd name="connsiteX20" fmla="*/ 250238 w 270502"/>
                <a:gd name="connsiteY20" fmla="*/ 253359 h 721392"/>
                <a:gd name="connsiteX21" fmla="*/ 270166 w 270502"/>
                <a:gd name="connsiteY21" fmla="*/ 427937 h 721392"/>
                <a:gd name="connsiteX22" fmla="*/ 257782 w 270502"/>
                <a:gd name="connsiteY22" fmla="*/ 467703 h 721392"/>
                <a:gd name="connsiteX23" fmla="*/ 226913 w 270502"/>
                <a:gd name="connsiteY23" fmla="*/ 482882 h 721392"/>
                <a:gd name="connsiteX24" fmla="*/ 210320 w 270502"/>
                <a:gd name="connsiteY24" fmla="*/ 707475 h 721392"/>
                <a:gd name="connsiteX25" fmla="*/ 195351 w 270502"/>
                <a:gd name="connsiteY25" fmla="*/ 721392 h 721392"/>
                <a:gd name="connsiteX26" fmla="*/ 75119 w 270502"/>
                <a:gd name="connsiteY26" fmla="*/ 721392 h 721392"/>
                <a:gd name="connsiteX27" fmla="*/ 60151 w 270502"/>
                <a:gd name="connsiteY27" fmla="*/ 707475 h 721392"/>
                <a:gd name="connsiteX28" fmla="*/ 43558 w 270502"/>
                <a:gd name="connsiteY28" fmla="*/ 482882 h 721392"/>
                <a:gd name="connsiteX29" fmla="*/ 12689 w 270502"/>
                <a:gd name="connsiteY29" fmla="*/ 467703 h 721392"/>
                <a:gd name="connsiteX30" fmla="*/ 335 w 270502"/>
                <a:gd name="connsiteY30" fmla="*/ 427937 h 721392"/>
                <a:gd name="connsiteX31" fmla="*/ 20264 w 270502"/>
                <a:gd name="connsiteY31" fmla="*/ 253359 h 721392"/>
                <a:gd name="connsiteX32" fmla="*/ 96852 w 270502"/>
                <a:gd name="connsiteY32" fmla="*/ 180349 h 721392"/>
                <a:gd name="connsiteX33" fmla="*/ 135235 w 270502"/>
                <a:gd name="connsiteY33" fmla="*/ 120232 h 721392"/>
                <a:gd name="connsiteX34" fmla="*/ 135234 w 270502"/>
                <a:gd name="connsiteY34" fmla="*/ 120232 h 721392"/>
                <a:gd name="connsiteX35" fmla="*/ 135235 w 270502"/>
                <a:gd name="connsiteY35" fmla="*/ 120232 h 721392"/>
                <a:gd name="connsiteX36" fmla="*/ 135234 w 270502"/>
                <a:gd name="connsiteY36" fmla="*/ 0 h 721392"/>
                <a:gd name="connsiteX37" fmla="*/ 210379 w 270502"/>
                <a:gd name="connsiteY37" fmla="*/ 75145 h 721392"/>
                <a:gd name="connsiteX38" fmla="*/ 135234 w 270502"/>
                <a:gd name="connsiteY38" fmla="*/ 150290 h 721392"/>
                <a:gd name="connsiteX39" fmla="*/ 60089 w 270502"/>
                <a:gd name="connsiteY39" fmla="*/ 75145 h 721392"/>
                <a:gd name="connsiteX40" fmla="*/ 135234 w 270502"/>
                <a:gd name="connsiteY40" fmla="*/ 0 h 721392"/>
                <a:gd name="connsiteX0" fmla="*/ 89097 w 270502"/>
                <a:gd name="connsiteY0" fmla="*/ 691333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96852 w 270502"/>
                <a:gd name="connsiteY17" fmla="*/ 180349 h 721392"/>
                <a:gd name="connsiteX18" fmla="*/ 173589 w 270502"/>
                <a:gd name="connsiteY18" fmla="*/ 180349 h 721392"/>
                <a:gd name="connsiteX19" fmla="*/ 250238 w 270502"/>
                <a:gd name="connsiteY19" fmla="*/ 253359 h 721392"/>
                <a:gd name="connsiteX20" fmla="*/ 270166 w 270502"/>
                <a:gd name="connsiteY20" fmla="*/ 427937 h 721392"/>
                <a:gd name="connsiteX21" fmla="*/ 257782 w 270502"/>
                <a:gd name="connsiteY21" fmla="*/ 467703 h 721392"/>
                <a:gd name="connsiteX22" fmla="*/ 226913 w 270502"/>
                <a:gd name="connsiteY22" fmla="*/ 482882 h 721392"/>
                <a:gd name="connsiteX23" fmla="*/ 210320 w 270502"/>
                <a:gd name="connsiteY23" fmla="*/ 707475 h 721392"/>
                <a:gd name="connsiteX24" fmla="*/ 195351 w 270502"/>
                <a:gd name="connsiteY24" fmla="*/ 721392 h 721392"/>
                <a:gd name="connsiteX25" fmla="*/ 75119 w 270502"/>
                <a:gd name="connsiteY25" fmla="*/ 721392 h 721392"/>
                <a:gd name="connsiteX26" fmla="*/ 60151 w 270502"/>
                <a:gd name="connsiteY26" fmla="*/ 707475 h 721392"/>
                <a:gd name="connsiteX27" fmla="*/ 43558 w 270502"/>
                <a:gd name="connsiteY27" fmla="*/ 482882 h 721392"/>
                <a:gd name="connsiteX28" fmla="*/ 12689 w 270502"/>
                <a:gd name="connsiteY28" fmla="*/ 467703 h 721392"/>
                <a:gd name="connsiteX29" fmla="*/ 335 w 270502"/>
                <a:gd name="connsiteY29" fmla="*/ 427937 h 721392"/>
                <a:gd name="connsiteX30" fmla="*/ 20264 w 270502"/>
                <a:gd name="connsiteY30" fmla="*/ 253359 h 721392"/>
                <a:gd name="connsiteX31" fmla="*/ 96852 w 270502"/>
                <a:gd name="connsiteY31" fmla="*/ 180349 h 721392"/>
                <a:gd name="connsiteX32" fmla="*/ 135235 w 270502"/>
                <a:gd name="connsiteY32" fmla="*/ 120232 h 721392"/>
                <a:gd name="connsiteX33" fmla="*/ 135234 w 270502"/>
                <a:gd name="connsiteY33" fmla="*/ 120232 h 721392"/>
                <a:gd name="connsiteX34" fmla="*/ 135235 w 270502"/>
                <a:gd name="connsiteY34" fmla="*/ 120232 h 721392"/>
                <a:gd name="connsiteX35" fmla="*/ 135234 w 270502"/>
                <a:gd name="connsiteY35" fmla="*/ 0 h 721392"/>
                <a:gd name="connsiteX36" fmla="*/ 210379 w 270502"/>
                <a:gd name="connsiteY36" fmla="*/ 75145 h 721392"/>
                <a:gd name="connsiteX37" fmla="*/ 135234 w 270502"/>
                <a:gd name="connsiteY37" fmla="*/ 150290 h 721392"/>
                <a:gd name="connsiteX38" fmla="*/ 60089 w 270502"/>
                <a:gd name="connsiteY38" fmla="*/ 75145 h 721392"/>
                <a:gd name="connsiteX39" fmla="*/ 135234 w 270502"/>
                <a:gd name="connsiteY39" fmla="*/ 0 h 721392"/>
                <a:gd name="connsiteX0" fmla="*/ 89097 w 270502"/>
                <a:gd name="connsiteY0" fmla="*/ 691333 h 721392"/>
                <a:gd name="connsiteX1" fmla="*/ 57565 w 270502"/>
                <a:gd name="connsiteY1" fmla="*/ 452884 h 721392"/>
                <a:gd name="connsiteX2" fmla="*/ 89097 w 270502"/>
                <a:gd name="connsiteY2" fmla="*/ 691334 h 721392"/>
                <a:gd name="connsiteX3" fmla="*/ 181404 w 270502"/>
                <a:gd name="connsiteY3" fmla="*/ 691334 h 721392"/>
                <a:gd name="connsiteX4" fmla="*/ 197967 w 270502"/>
                <a:gd name="connsiteY4" fmla="*/ 466801 h 721392"/>
                <a:gd name="connsiteX5" fmla="*/ 212965 w 270502"/>
                <a:gd name="connsiteY5" fmla="*/ 452884 h 721392"/>
                <a:gd name="connsiteX6" fmla="*/ 224418 w 270502"/>
                <a:gd name="connsiteY6" fmla="*/ 452884 h 721392"/>
                <a:gd name="connsiteX7" fmla="*/ 235419 w 270502"/>
                <a:gd name="connsiteY7" fmla="*/ 447685 h 721392"/>
                <a:gd name="connsiteX8" fmla="*/ 240348 w 270502"/>
                <a:gd name="connsiteY8" fmla="*/ 431333 h 721392"/>
                <a:gd name="connsiteX9" fmla="*/ 240348 w 270502"/>
                <a:gd name="connsiteY9" fmla="*/ 431332 h 721392"/>
                <a:gd name="connsiteX10" fmla="*/ 235419 w 270502"/>
                <a:gd name="connsiteY10" fmla="*/ 447684 h 721392"/>
                <a:gd name="connsiteX11" fmla="*/ 224418 w 270502"/>
                <a:gd name="connsiteY11" fmla="*/ 452883 h 721392"/>
                <a:gd name="connsiteX12" fmla="*/ 212965 w 270502"/>
                <a:gd name="connsiteY12" fmla="*/ 452883 h 721392"/>
                <a:gd name="connsiteX13" fmla="*/ 197967 w 270502"/>
                <a:gd name="connsiteY13" fmla="*/ 466800 h 721392"/>
                <a:gd name="connsiteX14" fmla="*/ 181404 w 270502"/>
                <a:gd name="connsiteY14" fmla="*/ 691333 h 721392"/>
                <a:gd name="connsiteX15" fmla="*/ 89097 w 270502"/>
                <a:gd name="connsiteY15" fmla="*/ 691333 h 721392"/>
                <a:gd name="connsiteX16" fmla="*/ 96852 w 270502"/>
                <a:gd name="connsiteY16" fmla="*/ 180349 h 721392"/>
                <a:gd name="connsiteX17" fmla="*/ 173589 w 270502"/>
                <a:gd name="connsiteY17" fmla="*/ 180349 h 721392"/>
                <a:gd name="connsiteX18" fmla="*/ 250238 w 270502"/>
                <a:gd name="connsiteY18" fmla="*/ 253359 h 721392"/>
                <a:gd name="connsiteX19" fmla="*/ 270166 w 270502"/>
                <a:gd name="connsiteY19" fmla="*/ 427937 h 721392"/>
                <a:gd name="connsiteX20" fmla="*/ 257782 w 270502"/>
                <a:gd name="connsiteY20" fmla="*/ 467703 h 721392"/>
                <a:gd name="connsiteX21" fmla="*/ 226913 w 270502"/>
                <a:gd name="connsiteY21" fmla="*/ 482882 h 721392"/>
                <a:gd name="connsiteX22" fmla="*/ 210320 w 270502"/>
                <a:gd name="connsiteY22" fmla="*/ 707475 h 721392"/>
                <a:gd name="connsiteX23" fmla="*/ 195351 w 270502"/>
                <a:gd name="connsiteY23" fmla="*/ 721392 h 721392"/>
                <a:gd name="connsiteX24" fmla="*/ 75119 w 270502"/>
                <a:gd name="connsiteY24" fmla="*/ 721392 h 721392"/>
                <a:gd name="connsiteX25" fmla="*/ 60151 w 270502"/>
                <a:gd name="connsiteY25" fmla="*/ 707475 h 721392"/>
                <a:gd name="connsiteX26" fmla="*/ 43558 w 270502"/>
                <a:gd name="connsiteY26" fmla="*/ 482882 h 721392"/>
                <a:gd name="connsiteX27" fmla="*/ 12689 w 270502"/>
                <a:gd name="connsiteY27" fmla="*/ 467703 h 721392"/>
                <a:gd name="connsiteX28" fmla="*/ 335 w 270502"/>
                <a:gd name="connsiteY28" fmla="*/ 427937 h 721392"/>
                <a:gd name="connsiteX29" fmla="*/ 20264 w 270502"/>
                <a:gd name="connsiteY29" fmla="*/ 253359 h 721392"/>
                <a:gd name="connsiteX30" fmla="*/ 96852 w 270502"/>
                <a:gd name="connsiteY30" fmla="*/ 180349 h 721392"/>
                <a:gd name="connsiteX31" fmla="*/ 135235 w 270502"/>
                <a:gd name="connsiteY31" fmla="*/ 120232 h 721392"/>
                <a:gd name="connsiteX32" fmla="*/ 135234 w 270502"/>
                <a:gd name="connsiteY32" fmla="*/ 120232 h 721392"/>
                <a:gd name="connsiteX33" fmla="*/ 135235 w 270502"/>
                <a:gd name="connsiteY33" fmla="*/ 120232 h 721392"/>
                <a:gd name="connsiteX34" fmla="*/ 135234 w 270502"/>
                <a:gd name="connsiteY34" fmla="*/ 0 h 721392"/>
                <a:gd name="connsiteX35" fmla="*/ 210379 w 270502"/>
                <a:gd name="connsiteY35" fmla="*/ 75145 h 721392"/>
                <a:gd name="connsiteX36" fmla="*/ 135234 w 270502"/>
                <a:gd name="connsiteY36" fmla="*/ 150290 h 721392"/>
                <a:gd name="connsiteX37" fmla="*/ 60089 w 270502"/>
                <a:gd name="connsiteY37" fmla="*/ 75145 h 721392"/>
                <a:gd name="connsiteX38" fmla="*/ 135234 w 270502"/>
                <a:gd name="connsiteY3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97967 w 270502"/>
                <a:gd name="connsiteY12" fmla="*/ 466800 h 721392"/>
                <a:gd name="connsiteX13" fmla="*/ 181404 w 270502"/>
                <a:gd name="connsiteY13" fmla="*/ 691333 h 721392"/>
                <a:gd name="connsiteX14" fmla="*/ 89097 w 270502"/>
                <a:gd name="connsiteY14" fmla="*/ 691333 h 721392"/>
                <a:gd name="connsiteX15" fmla="*/ 96852 w 270502"/>
                <a:gd name="connsiteY15" fmla="*/ 180349 h 721392"/>
                <a:gd name="connsiteX16" fmla="*/ 173589 w 270502"/>
                <a:gd name="connsiteY16" fmla="*/ 180349 h 721392"/>
                <a:gd name="connsiteX17" fmla="*/ 250238 w 270502"/>
                <a:gd name="connsiteY17" fmla="*/ 253359 h 721392"/>
                <a:gd name="connsiteX18" fmla="*/ 270166 w 270502"/>
                <a:gd name="connsiteY18" fmla="*/ 427937 h 721392"/>
                <a:gd name="connsiteX19" fmla="*/ 257782 w 270502"/>
                <a:gd name="connsiteY19" fmla="*/ 467703 h 721392"/>
                <a:gd name="connsiteX20" fmla="*/ 226913 w 270502"/>
                <a:gd name="connsiteY20" fmla="*/ 482882 h 721392"/>
                <a:gd name="connsiteX21" fmla="*/ 210320 w 270502"/>
                <a:gd name="connsiteY21" fmla="*/ 707475 h 721392"/>
                <a:gd name="connsiteX22" fmla="*/ 195351 w 270502"/>
                <a:gd name="connsiteY22" fmla="*/ 721392 h 721392"/>
                <a:gd name="connsiteX23" fmla="*/ 75119 w 270502"/>
                <a:gd name="connsiteY23" fmla="*/ 721392 h 721392"/>
                <a:gd name="connsiteX24" fmla="*/ 60151 w 270502"/>
                <a:gd name="connsiteY24" fmla="*/ 707475 h 721392"/>
                <a:gd name="connsiteX25" fmla="*/ 43558 w 270502"/>
                <a:gd name="connsiteY25" fmla="*/ 482882 h 721392"/>
                <a:gd name="connsiteX26" fmla="*/ 12689 w 270502"/>
                <a:gd name="connsiteY26" fmla="*/ 467703 h 721392"/>
                <a:gd name="connsiteX27" fmla="*/ 335 w 270502"/>
                <a:gd name="connsiteY27" fmla="*/ 427937 h 721392"/>
                <a:gd name="connsiteX28" fmla="*/ 20264 w 270502"/>
                <a:gd name="connsiteY28" fmla="*/ 253359 h 721392"/>
                <a:gd name="connsiteX29" fmla="*/ 96852 w 270502"/>
                <a:gd name="connsiteY29" fmla="*/ 180349 h 721392"/>
                <a:gd name="connsiteX30" fmla="*/ 135235 w 270502"/>
                <a:gd name="connsiteY30" fmla="*/ 120232 h 721392"/>
                <a:gd name="connsiteX31" fmla="*/ 135234 w 270502"/>
                <a:gd name="connsiteY31" fmla="*/ 120232 h 721392"/>
                <a:gd name="connsiteX32" fmla="*/ 135235 w 270502"/>
                <a:gd name="connsiteY32" fmla="*/ 120232 h 721392"/>
                <a:gd name="connsiteX33" fmla="*/ 135234 w 270502"/>
                <a:gd name="connsiteY33" fmla="*/ 0 h 721392"/>
                <a:gd name="connsiteX34" fmla="*/ 210379 w 270502"/>
                <a:gd name="connsiteY34" fmla="*/ 75145 h 721392"/>
                <a:gd name="connsiteX35" fmla="*/ 135234 w 270502"/>
                <a:gd name="connsiteY35" fmla="*/ 150290 h 721392"/>
                <a:gd name="connsiteX36" fmla="*/ 60089 w 270502"/>
                <a:gd name="connsiteY36" fmla="*/ 75145 h 721392"/>
                <a:gd name="connsiteX37" fmla="*/ 135234 w 270502"/>
                <a:gd name="connsiteY3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81404 w 270502"/>
                <a:gd name="connsiteY12" fmla="*/ 691333 h 721392"/>
                <a:gd name="connsiteX13" fmla="*/ 89097 w 270502"/>
                <a:gd name="connsiteY13" fmla="*/ 691333 h 721392"/>
                <a:gd name="connsiteX14" fmla="*/ 96852 w 270502"/>
                <a:gd name="connsiteY14" fmla="*/ 180349 h 721392"/>
                <a:gd name="connsiteX15" fmla="*/ 173589 w 270502"/>
                <a:gd name="connsiteY15" fmla="*/ 180349 h 721392"/>
                <a:gd name="connsiteX16" fmla="*/ 250238 w 270502"/>
                <a:gd name="connsiteY16" fmla="*/ 253359 h 721392"/>
                <a:gd name="connsiteX17" fmla="*/ 270166 w 270502"/>
                <a:gd name="connsiteY17" fmla="*/ 427937 h 721392"/>
                <a:gd name="connsiteX18" fmla="*/ 257782 w 270502"/>
                <a:gd name="connsiteY18" fmla="*/ 467703 h 721392"/>
                <a:gd name="connsiteX19" fmla="*/ 226913 w 270502"/>
                <a:gd name="connsiteY19" fmla="*/ 482882 h 721392"/>
                <a:gd name="connsiteX20" fmla="*/ 210320 w 270502"/>
                <a:gd name="connsiteY20" fmla="*/ 707475 h 721392"/>
                <a:gd name="connsiteX21" fmla="*/ 195351 w 270502"/>
                <a:gd name="connsiteY21" fmla="*/ 721392 h 721392"/>
                <a:gd name="connsiteX22" fmla="*/ 75119 w 270502"/>
                <a:gd name="connsiteY22" fmla="*/ 721392 h 721392"/>
                <a:gd name="connsiteX23" fmla="*/ 60151 w 270502"/>
                <a:gd name="connsiteY23" fmla="*/ 707475 h 721392"/>
                <a:gd name="connsiteX24" fmla="*/ 43558 w 270502"/>
                <a:gd name="connsiteY24" fmla="*/ 482882 h 721392"/>
                <a:gd name="connsiteX25" fmla="*/ 12689 w 270502"/>
                <a:gd name="connsiteY25" fmla="*/ 467703 h 721392"/>
                <a:gd name="connsiteX26" fmla="*/ 335 w 270502"/>
                <a:gd name="connsiteY26" fmla="*/ 427937 h 721392"/>
                <a:gd name="connsiteX27" fmla="*/ 20264 w 270502"/>
                <a:gd name="connsiteY27" fmla="*/ 253359 h 721392"/>
                <a:gd name="connsiteX28" fmla="*/ 96852 w 270502"/>
                <a:gd name="connsiteY28" fmla="*/ 180349 h 721392"/>
                <a:gd name="connsiteX29" fmla="*/ 135235 w 270502"/>
                <a:gd name="connsiteY29" fmla="*/ 120232 h 721392"/>
                <a:gd name="connsiteX30" fmla="*/ 135234 w 270502"/>
                <a:gd name="connsiteY30" fmla="*/ 120232 h 721392"/>
                <a:gd name="connsiteX31" fmla="*/ 135235 w 270502"/>
                <a:gd name="connsiteY31" fmla="*/ 120232 h 721392"/>
                <a:gd name="connsiteX32" fmla="*/ 135234 w 270502"/>
                <a:gd name="connsiteY32" fmla="*/ 0 h 721392"/>
                <a:gd name="connsiteX33" fmla="*/ 210379 w 270502"/>
                <a:gd name="connsiteY33" fmla="*/ 75145 h 721392"/>
                <a:gd name="connsiteX34" fmla="*/ 135234 w 270502"/>
                <a:gd name="connsiteY34" fmla="*/ 150290 h 721392"/>
                <a:gd name="connsiteX35" fmla="*/ 60089 w 270502"/>
                <a:gd name="connsiteY35" fmla="*/ 75145 h 721392"/>
                <a:gd name="connsiteX36" fmla="*/ 135234 w 270502"/>
                <a:gd name="connsiteY36"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181404 w 270502"/>
                <a:gd name="connsiteY11" fmla="*/ 691333 h 721392"/>
                <a:gd name="connsiteX12" fmla="*/ 89097 w 270502"/>
                <a:gd name="connsiteY12" fmla="*/ 691333 h 721392"/>
                <a:gd name="connsiteX13" fmla="*/ 96852 w 270502"/>
                <a:gd name="connsiteY13" fmla="*/ 180349 h 721392"/>
                <a:gd name="connsiteX14" fmla="*/ 173589 w 270502"/>
                <a:gd name="connsiteY14" fmla="*/ 180349 h 721392"/>
                <a:gd name="connsiteX15" fmla="*/ 250238 w 270502"/>
                <a:gd name="connsiteY15" fmla="*/ 253359 h 721392"/>
                <a:gd name="connsiteX16" fmla="*/ 270166 w 270502"/>
                <a:gd name="connsiteY16" fmla="*/ 427937 h 721392"/>
                <a:gd name="connsiteX17" fmla="*/ 257782 w 270502"/>
                <a:gd name="connsiteY17" fmla="*/ 467703 h 721392"/>
                <a:gd name="connsiteX18" fmla="*/ 226913 w 270502"/>
                <a:gd name="connsiteY18" fmla="*/ 482882 h 721392"/>
                <a:gd name="connsiteX19" fmla="*/ 210320 w 270502"/>
                <a:gd name="connsiteY19" fmla="*/ 707475 h 721392"/>
                <a:gd name="connsiteX20" fmla="*/ 195351 w 270502"/>
                <a:gd name="connsiteY20" fmla="*/ 721392 h 721392"/>
                <a:gd name="connsiteX21" fmla="*/ 75119 w 270502"/>
                <a:gd name="connsiteY21" fmla="*/ 721392 h 721392"/>
                <a:gd name="connsiteX22" fmla="*/ 60151 w 270502"/>
                <a:gd name="connsiteY22" fmla="*/ 707475 h 721392"/>
                <a:gd name="connsiteX23" fmla="*/ 43558 w 270502"/>
                <a:gd name="connsiteY23" fmla="*/ 482882 h 721392"/>
                <a:gd name="connsiteX24" fmla="*/ 12689 w 270502"/>
                <a:gd name="connsiteY24" fmla="*/ 467703 h 721392"/>
                <a:gd name="connsiteX25" fmla="*/ 335 w 270502"/>
                <a:gd name="connsiteY25" fmla="*/ 427937 h 721392"/>
                <a:gd name="connsiteX26" fmla="*/ 20264 w 270502"/>
                <a:gd name="connsiteY26" fmla="*/ 253359 h 721392"/>
                <a:gd name="connsiteX27" fmla="*/ 96852 w 270502"/>
                <a:gd name="connsiteY27" fmla="*/ 180349 h 721392"/>
                <a:gd name="connsiteX28" fmla="*/ 135235 w 270502"/>
                <a:gd name="connsiteY28" fmla="*/ 120232 h 721392"/>
                <a:gd name="connsiteX29" fmla="*/ 135234 w 270502"/>
                <a:gd name="connsiteY29" fmla="*/ 120232 h 721392"/>
                <a:gd name="connsiteX30" fmla="*/ 135235 w 270502"/>
                <a:gd name="connsiteY30" fmla="*/ 120232 h 721392"/>
                <a:gd name="connsiteX31" fmla="*/ 135234 w 270502"/>
                <a:gd name="connsiteY31" fmla="*/ 0 h 721392"/>
                <a:gd name="connsiteX32" fmla="*/ 210379 w 270502"/>
                <a:gd name="connsiteY32" fmla="*/ 75145 h 721392"/>
                <a:gd name="connsiteX33" fmla="*/ 135234 w 270502"/>
                <a:gd name="connsiteY33" fmla="*/ 150290 h 721392"/>
                <a:gd name="connsiteX34" fmla="*/ 60089 w 270502"/>
                <a:gd name="connsiteY34" fmla="*/ 75145 h 721392"/>
                <a:gd name="connsiteX35" fmla="*/ 135234 w 270502"/>
                <a:gd name="connsiteY35"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181404 w 270502"/>
                <a:gd name="connsiteY10" fmla="*/ 691333 h 721392"/>
                <a:gd name="connsiteX11" fmla="*/ 89097 w 270502"/>
                <a:gd name="connsiteY11" fmla="*/ 691333 h 721392"/>
                <a:gd name="connsiteX12" fmla="*/ 96852 w 270502"/>
                <a:gd name="connsiteY12" fmla="*/ 180349 h 721392"/>
                <a:gd name="connsiteX13" fmla="*/ 173589 w 270502"/>
                <a:gd name="connsiteY13" fmla="*/ 180349 h 721392"/>
                <a:gd name="connsiteX14" fmla="*/ 250238 w 270502"/>
                <a:gd name="connsiteY14" fmla="*/ 253359 h 721392"/>
                <a:gd name="connsiteX15" fmla="*/ 270166 w 270502"/>
                <a:gd name="connsiteY15" fmla="*/ 427937 h 721392"/>
                <a:gd name="connsiteX16" fmla="*/ 257782 w 270502"/>
                <a:gd name="connsiteY16" fmla="*/ 467703 h 721392"/>
                <a:gd name="connsiteX17" fmla="*/ 226913 w 270502"/>
                <a:gd name="connsiteY17" fmla="*/ 482882 h 721392"/>
                <a:gd name="connsiteX18" fmla="*/ 210320 w 270502"/>
                <a:gd name="connsiteY18" fmla="*/ 707475 h 721392"/>
                <a:gd name="connsiteX19" fmla="*/ 195351 w 270502"/>
                <a:gd name="connsiteY19" fmla="*/ 721392 h 721392"/>
                <a:gd name="connsiteX20" fmla="*/ 75119 w 270502"/>
                <a:gd name="connsiteY20" fmla="*/ 721392 h 721392"/>
                <a:gd name="connsiteX21" fmla="*/ 60151 w 270502"/>
                <a:gd name="connsiteY21" fmla="*/ 707475 h 721392"/>
                <a:gd name="connsiteX22" fmla="*/ 43558 w 270502"/>
                <a:gd name="connsiteY22" fmla="*/ 482882 h 721392"/>
                <a:gd name="connsiteX23" fmla="*/ 12689 w 270502"/>
                <a:gd name="connsiteY23" fmla="*/ 467703 h 721392"/>
                <a:gd name="connsiteX24" fmla="*/ 335 w 270502"/>
                <a:gd name="connsiteY24" fmla="*/ 427937 h 721392"/>
                <a:gd name="connsiteX25" fmla="*/ 20264 w 270502"/>
                <a:gd name="connsiteY25" fmla="*/ 253359 h 721392"/>
                <a:gd name="connsiteX26" fmla="*/ 96852 w 270502"/>
                <a:gd name="connsiteY26" fmla="*/ 180349 h 721392"/>
                <a:gd name="connsiteX27" fmla="*/ 135235 w 270502"/>
                <a:gd name="connsiteY27" fmla="*/ 120232 h 721392"/>
                <a:gd name="connsiteX28" fmla="*/ 135234 w 270502"/>
                <a:gd name="connsiteY28" fmla="*/ 120232 h 721392"/>
                <a:gd name="connsiteX29" fmla="*/ 135235 w 270502"/>
                <a:gd name="connsiteY29" fmla="*/ 120232 h 721392"/>
                <a:gd name="connsiteX30" fmla="*/ 135234 w 270502"/>
                <a:gd name="connsiteY30" fmla="*/ 0 h 721392"/>
                <a:gd name="connsiteX31" fmla="*/ 210379 w 270502"/>
                <a:gd name="connsiteY31" fmla="*/ 75145 h 721392"/>
                <a:gd name="connsiteX32" fmla="*/ 135234 w 270502"/>
                <a:gd name="connsiteY32" fmla="*/ 150290 h 721392"/>
                <a:gd name="connsiteX33" fmla="*/ 60089 w 270502"/>
                <a:gd name="connsiteY33" fmla="*/ 75145 h 721392"/>
                <a:gd name="connsiteX34" fmla="*/ 135234 w 270502"/>
                <a:gd name="connsiteY34"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235419 w 270502"/>
                <a:gd name="connsiteY8" fmla="*/ 447684 h 721392"/>
                <a:gd name="connsiteX9" fmla="*/ 181404 w 270502"/>
                <a:gd name="connsiteY9" fmla="*/ 691333 h 721392"/>
                <a:gd name="connsiteX10" fmla="*/ 89097 w 270502"/>
                <a:gd name="connsiteY10" fmla="*/ 691333 h 721392"/>
                <a:gd name="connsiteX11" fmla="*/ 96852 w 270502"/>
                <a:gd name="connsiteY11" fmla="*/ 180349 h 721392"/>
                <a:gd name="connsiteX12" fmla="*/ 173589 w 270502"/>
                <a:gd name="connsiteY12" fmla="*/ 180349 h 721392"/>
                <a:gd name="connsiteX13" fmla="*/ 250238 w 270502"/>
                <a:gd name="connsiteY13" fmla="*/ 253359 h 721392"/>
                <a:gd name="connsiteX14" fmla="*/ 270166 w 270502"/>
                <a:gd name="connsiteY14" fmla="*/ 427937 h 721392"/>
                <a:gd name="connsiteX15" fmla="*/ 257782 w 270502"/>
                <a:gd name="connsiteY15" fmla="*/ 467703 h 721392"/>
                <a:gd name="connsiteX16" fmla="*/ 226913 w 270502"/>
                <a:gd name="connsiteY16" fmla="*/ 482882 h 721392"/>
                <a:gd name="connsiteX17" fmla="*/ 210320 w 270502"/>
                <a:gd name="connsiteY17" fmla="*/ 707475 h 721392"/>
                <a:gd name="connsiteX18" fmla="*/ 195351 w 270502"/>
                <a:gd name="connsiteY18" fmla="*/ 721392 h 721392"/>
                <a:gd name="connsiteX19" fmla="*/ 75119 w 270502"/>
                <a:gd name="connsiteY19" fmla="*/ 721392 h 721392"/>
                <a:gd name="connsiteX20" fmla="*/ 60151 w 270502"/>
                <a:gd name="connsiteY20" fmla="*/ 707475 h 721392"/>
                <a:gd name="connsiteX21" fmla="*/ 43558 w 270502"/>
                <a:gd name="connsiteY21" fmla="*/ 482882 h 721392"/>
                <a:gd name="connsiteX22" fmla="*/ 12689 w 270502"/>
                <a:gd name="connsiteY22" fmla="*/ 467703 h 721392"/>
                <a:gd name="connsiteX23" fmla="*/ 335 w 270502"/>
                <a:gd name="connsiteY23" fmla="*/ 427937 h 721392"/>
                <a:gd name="connsiteX24" fmla="*/ 20264 w 270502"/>
                <a:gd name="connsiteY24" fmla="*/ 253359 h 721392"/>
                <a:gd name="connsiteX25" fmla="*/ 96852 w 270502"/>
                <a:gd name="connsiteY25" fmla="*/ 180349 h 721392"/>
                <a:gd name="connsiteX26" fmla="*/ 135235 w 270502"/>
                <a:gd name="connsiteY26" fmla="*/ 120232 h 721392"/>
                <a:gd name="connsiteX27" fmla="*/ 135234 w 270502"/>
                <a:gd name="connsiteY27" fmla="*/ 120232 h 721392"/>
                <a:gd name="connsiteX28" fmla="*/ 135235 w 270502"/>
                <a:gd name="connsiteY28" fmla="*/ 120232 h 721392"/>
                <a:gd name="connsiteX29" fmla="*/ 135234 w 270502"/>
                <a:gd name="connsiteY29" fmla="*/ 0 h 721392"/>
                <a:gd name="connsiteX30" fmla="*/ 210379 w 270502"/>
                <a:gd name="connsiteY30" fmla="*/ 75145 h 721392"/>
                <a:gd name="connsiteX31" fmla="*/ 135234 w 270502"/>
                <a:gd name="connsiteY31" fmla="*/ 150290 h 721392"/>
                <a:gd name="connsiteX32" fmla="*/ 60089 w 270502"/>
                <a:gd name="connsiteY32" fmla="*/ 75145 h 721392"/>
                <a:gd name="connsiteX33" fmla="*/ 135234 w 270502"/>
                <a:gd name="connsiteY33"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181404 w 270502"/>
                <a:gd name="connsiteY8" fmla="*/ 691333 h 721392"/>
                <a:gd name="connsiteX9" fmla="*/ 89097 w 270502"/>
                <a:gd name="connsiteY9" fmla="*/ 691333 h 721392"/>
                <a:gd name="connsiteX10" fmla="*/ 96852 w 270502"/>
                <a:gd name="connsiteY10" fmla="*/ 180349 h 721392"/>
                <a:gd name="connsiteX11" fmla="*/ 173589 w 270502"/>
                <a:gd name="connsiteY11" fmla="*/ 180349 h 721392"/>
                <a:gd name="connsiteX12" fmla="*/ 250238 w 270502"/>
                <a:gd name="connsiteY12" fmla="*/ 253359 h 721392"/>
                <a:gd name="connsiteX13" fmla="*/ 270166 w 270502"/>
                <a:gd name="connsiteY13" fmla="*/ 427937 h 721392"/>
                <a:gd name="connsiteX14" fmla="*/ 257782 w 270502"/>
                <a:gd name="connsiteY14" fmla="*/ 467703 h 721392"/>
                <a:gd name="connsiteX15" fmla="*/ 226913 w 270502"/>
                <a:gd name="connsiteY15" fmla="*/ 482882 h 721392"/>
                <a:gd name="connsiteX16" fmla="*/ 210320 w 270502"/>
                <a:gd name="connsiteY16" fmla="*/ 707475 h 721392"/>
                <a:gd name="connsiteX17" fmla="*/ 195351 w 270502"/>
                <a:gd name="connsiteY17" fmla="*/ 721392 h 721392"/>
                <a:gd name="connsiteX18" fmla="*/ 75119 w 270502"/>
                <a:gd name="connsiteY18" fmla="*/ 721392 h 721392"/>
                <a:gd name="connsiteX19" fmla="*/ 60151 w 270502"/>
                <a:gd name="connsiteY19" fmla="*/ 707475 h 721392"/>
                <a:gd name="connsiteX20" fmla="*/ 43558 w 270502"/>
                <a:gd name="connsiteY20" fmla="*/ 482882 h 721392"/>
                <a:gd name="connsiteX21" fmla="*/ 12689 w 270502"/>
                <a:gd name="connsiteY21" fmla="*/ 467703 h 721392"/>
                <a:gd name="connsiteX22" fmla="*/ 335 w 270502"/>
                <a:gd name="connsiteY22" fmla="*/ 427937 h 721392"/>
                <a:gd name="connsiteX23" fmla="*/ 20264 w 270502"/>
                <a:gd name="connsiteY23" fmla="*/ 253359 h 721392"/>
                <a:gd name="connsiteX24" fmla="*/ 96852 w 270502"/>
                <a:gd name="connsiteY24" fmla="*/ 180349 h 721392"/>
                <a:gd name="connsiteX25" fmla="*/ 135235 w 270502"/>
                <a:gd name="connsiteY25" fmla="*/ 120232 h 721392"/>
                <a:gd name="connsiteX26" fmla="*/ 135234 w 270502"/>
                <a:gd name="connsiteY26" fmla="*/ 120232 h 721392"/>
                <a:gd name="connsiteX27" fmla="*/ 135235 w 270502"/>
                <a:gd name="connsiteY27" fmla="*/ 120232 h 721392"/>
                <a:gd name="connsiteX28" fmla="*/ 135234 w 270502"/>
                <a:gd name="connsiteY28" fmla="*/ 0 h 721392"/>
                <a:gd name="connsiteX29" fmla="*/ 210379 w 270502"/>
                <a:gd name="connsiteY29" fmla="*/ 75145 h 721392"/>
                <a:gd name="connsiteX30" fmla="*/ 135234 w 270502"/>
                <a:gd name="connsiteY30" fmla="*/ 150290 h 721392"/>
                <a:gd name="connsiteX31" fmla="*/ 60089 w 270502"/>
                <a:gd name="connsiteY31" fmla="*/ 75145 h 721392"/>
                <a:gd name="connsiteX32" fmla="*/ 135234 w 270502"/>
                <a:gd name="connsiteY32"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181404 w 270502"/>
                <a:gd name="connsiteY7" fmla="*/ 691333 h 721392"/>
                <a:gd name="connsiteX8" fmla="*/ 89097 w 270502"/>
                <a:gd name="connsiteY8" fmla="*/ 691333 h 721392"/>
                <a:gd name="connsiteX9" fmla="*/ 96852 w 270502"/>
                <a:gd name="connsiteY9" fmla="*/ 180349 h 721392"/>
                <a:gd name="connsiteX10" fmla="*/ 173589 w 270502"/>
                <a:gd name="connsiteY10" fmla="*/ 180349 h 721392"/>
                <a:gd name="connsiteX11" fmla="*/ 250238 w 270502"/>
                <a:gd name="connsiteY11" fmla="*/ 253359 h 721392"/>
                <a:gd name="connsiteX12" fmla="*/ 270166 w 270502"/>
                <a:gd name="connsiteY12" fmla="*/ 427937 h 721392"/>
                <a:gd name="connsiteX13" fmla="*/ 257782 w 270502"/>
                <a:gd name="connsiteY13" fmla="*/ 467703 h 721392"/>
                <a:gd name="connsiteX14" fmla="*/ 226913 w 270502"/>
                <a:gd name="connsiteY14" fmla="*/ 482882 h 721392"/>
                <a:gd name="connsiteX15" fmla="*/ 210320 w 270502"/>
                <a:gd name="connsiteY15" fmla="*/ 707475 h 721392"/>
                <a:gd name="connsiteX16" fmla="*/ 195351 w 270502"/>
                <a:gd name="connsiteY16" fmla="*/ 721392 h 721392"/>
                <a:gd name="connsiteX17" fmla="*/ 75119 w 270502"/>
                <a:gd name="connsiteY17" fmla="*/ 721392 h 721392"/>
                <a:gd name="connsiteX18" fmla="*/ 60151 w 270502"/>
                <a:gd name="connsiteY18" fmla="*/ 707475 h 721392"/>
                <a:gd name="connsiteX19" fmla="*/ 43558 w 270502"/>
                <a:gd name="connsiteY19" fmla="*/ 482882 h 721392"/>
                <a:gd name="connsiteX20" fmla="*/ 12689 w 270502"/>
                <a:gd name="connsiteY20" fmla="*/ 467703 h 721392"/>
                <a:gd name="connsiteX21" fmla="*/ 335 w 270502"/>
                <a:gd name="connsiteY21" fmla="*/ 427937 h 721392"/>
                <a:gd name="connsiteX22" fmla="*/ 20264 w 270502"/>
                <a:gd name="connsiteY22" fmla="*/ 253359 h 721392"/>
                <a:gd name="connsiteX23" fmla="*/ 96852 w 270502"/>
                <a:gd name="connsiteY23" fmla="*/ 180349 h 721392"/>
                <a:gd name="connsiteX24" fmla="*/ 135235 w 270502"/>
                <a:gd name="connsiteY24" fmla="*/ 120232 h 721392"/>
                <a:gd name="connsiteX25" fmla="*/ 135234 w 270502"/>
                <a:gd name="connsiteY25" fmla="*/ 120232 h 721392"/>
                <a:gd name="connsiteX26" fmla="*/ 135235 w 270502"/>
                <a:gd name="connsiteY26" fmla="*/ 120232 h 721392"/>
                <a:gd name="connsiteX27" fmla="*/ 135234 w 270502"/>
                <a:gd name="connsiteY27" fmla="*/ 0 h 721392"/>
                <a:gd name="connsiteX28" fmla="*/ 210379 w 270502"/>
                <a:gd name="connsiteY28" fmla="*/ 75145 h 721392"/>
                <a:gd name="connsiteX29" fmla="*/ 135234 w 270502"/>
                <a:gd name="connsiteY29" fmla="*/ 150290 h 721392"/>
                <a:gd name="connsiteX30" fmla="*/ 60089 w 270502"/>
                <a:gd name="connsiteY30" fmla="*/ 75145 h 721392"/>
                <a:gd name="connsiteX31" fmla="*/ 135234 w 270502"/>
                <a:gd name="connsiteY31"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240348 w 270502"/>
                <a:gd name="connsiteY5" fmla="*/ 431333 h 721392"/>
                <a:gd name="connsiteX6" fmla="*/ 181404 w 270502"/>
                <a:gd name="connsiteY6" fmla="*/ 691333 h 721392"/>
                <a:gd name="connsiteX7" fmla="*/ 89097 w 270502"/>
                <a:gd name="connsiteY7" fmla="*/ 691333 h 721392"/>
                <a:gd name="connsiteX8" fmla="*/ 96852 w 270502"/>
                <a:gd name="connsiteY8" fmla="*/ 180349 h 721392"/>
                <a:gd name="connsiteX9" fmla="*/ 173589 w 270502"/>
                <a:gd name="connsiteY9" fmla="*/ 180349 h 721392"/>
                <a:gd name="connsiteX10" fmla="*/ 250238 w 270502"/>
                <a:gd name="connsiteY10" fmla="*/ 253359 h 721392"/>
                <a:gd name="connsiteX11" fmla="*/ 270166 w 270502"/>
                <a:gd name="connsiteY11" fmla="*/ 427937 h 721392"/>
                <a:gd name="connsiteX12" fmla="*/ 257782 w 270502"/>
                <a:gd name="connsiteY12" fmla="*/ 467703 h 721392"/>
                <a:gd name="connsiteX13" fmla="*/ 226913 w 270502"/>
                <a:gd name="connsiteY13" fmla="*/ 482882 h 721392"/>
                <a:gd name="connsiteX14" fmla="*/ 210320 w 270502"/>
                <a:gd name="connsiteY14" fmla="*/ 707475 h 721392"/>
                <a:gd name="connsiteX15" fmla="*/ 195351 w 270502"/>
                <a:gd name="connsiteY15" fmla="*/ 721392 h 721392"/>
                <a:gd name="connsiteX16" fmla="*/ 75119 w 270502"/>
                <a:gd name="connsiteY16" fmla="*/ 721392 h 721392"/>
                <a:gd name="connsiteX17" fmla="*/ 60151 w 270502"/>
                <a:gd name="connsiteY17" fmla="*/ 707475 h 721392"/>
                <a:gd name="connsiteX18" fmla="*/ 43558 w 270502"/>
                <a:gd name="connsiteY18" fmla="*/ 482882 h 721392"/>
                <a:gd name="connsiteX19" fmla="*/ 12689 w 270502"/>
                <a:gd name="connsiteY19" fmla="*/ 467703 h 721392"/>
                <a:gd name="connsiteX20" fmla="*/ 335 w 270502"/>
                <a:gd name="connsiteY20" fmla="*/ 427937 h 721392"/>
                <a:gd name="connsiteX21" fmla="*/ 20264 w 270502"/>
                <a:gd name="connsiteY21" fmla="*/ 253359 h 721392"/>
                <a:gd name="connsiteX22" fmla="*/ 96852 w 270502"/>
                <a:gd name="connsiteY22" fmla="*/ 180349 h 721392"/>
                <a:gd name="connsiteX23" fmla="*/ 135235 w 270502"/>
                <a:gd name="connsiteY23" fmla="*/ 120232 h 721392"/>
                <a:gd name="connsiteX24" fmla="*/ 135234 w 270502"/>
                <a:gd name="connsiteY24" fmla="*/ 120232 h 721392"/>
                <a:gd name="connsiteX25" fmla="*/ 135235 w 270502"/>
                <a:gd name="connsiteY25" fmla="*/ 120232 h 721392"/>
                <a:gd name="connsiteX26" fmla="*/ 135234 w 270502"/>
                <a:gd name="connsiteY26" fmla="*/ 0 h 721392"/>
                <a:gd name="connsiteX27" fmla="*/ 210379 w 270502"/>
                <a:gd name="connsiteY27" fmla="*/ 75145 h 721392"/>
                <a:gd name="connsiteX28" fmla="*/ 135234 w 270502"/>
                <a:gd name="connsiteY28" fmla="*/ 150290 h 721392"/>
                <a:gd name="connsiteX29" fmla="*/ 60089 w 270502"/>
                <a:gd name="connsiteY29" fmla="*/ 75145 h 721392"/>
                <a:gd name="connsiteX30" fmla="*/ 135234 w 270502"/>
                <a:gd name="connsiteY30"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181404 w 270502"/>
                <a:gd name="connsiteY5" fmla="*/ 691333 h 721392"/>
                <a:gd name="connsiteX6" fmla="*/ 89097 w 270502"/>
                <a:gd name="connsiteY6" fmla="*/ 691333 h 721392"/>
                <a:gd name="connsiteX7" fmla="*/ 96852 w 270502"/>
                <a:gd name="connsiteY7" fmla="*/ 180349 h 721392"/>
                <a:gd name="connsiteX8" fmla="*/ 173589 w 270502"/>
                <a:gd name="connsiteY8" fmla="*/ 180349 h 721392"/>
                <a:gd name="connsiteX9" fmla="*/ 250238 w 270502"/>
                <a:gd name="connsiteY9" fmla="*/ 253359 h 721392"/>
                <a:gd name="connsiteX10" fmla="*/ 270166 w 270502"/>
                <a:gd name="connsiteY10" fmla="*/ 427937 h 721392"/>
                <a:gd name="connsiteX11" fmla="*/ 257782 w 270502"/>
                <a:gd name="connsiteY11" fmla="*/ 467703 h 721392"/>
                <a:gd name="connsiteX12" fmla="*/ 226913 w 270502"/>
                <a:gd name="connsiteY12" fmla="*/ 482882 h 721392"/>
                <a:gd name="connsiteX13" fmla="*/ 210320 w 270502"/>
                <a:gd name="connsiteY13" fmla="*/ 707475 h 721392"/>
                <a:gd name="connsiteX14" fmla="*/ 195351 w 270502"/>
                <a:gd name="connsiteY14" fmla="*/ 721392 h 721392"/>
                <a:gd name="connsiteX15" fmla="*/ 75119 w 270502"/>
                <a:gd name="connsiteY15" fmla="*/ 721392 h 721392"/>
                <a:gd name="connsiteX16" fmla="*/ 60151 w 270502"/>
                <a:gd name="connsiteY16" fmla="*/ 707475 h 721392"/>
                <a:gd name="connsiteX17" fmla="*/ 43558 w 270502"/>
                <a:gd name="connsiteY17" fmla="*/ 482882 h 721392"/>
                <a:gd name="connsiteX18" fmla="*/ 12689 w 270502"/>
                <a:gd name="connsiteY18" fmla="*/ 467703 h 721392"/>
                <a:gd name="connsiteX19" fmla="*/ 335 w 270502"/>
                <a:gd name="connsiteY19" fmla="*/ 427937 h 721392"/>
                <a:gd name="connsiteX20" fmla="*/ 20264 w 270502"/>
                <a:gd name="connsiteY20" fmla="*/ 253359 h 721392"/>
                <a:gd name="connsiteX21" fmla="*/ 96852 w 270502"/>
                <a:gd name="connsiteY21" fmla="*/ 180349 h 721392"/>
                <a:gd name="connsiteX22" fmla="*/ 135235 w 270502"/>
                <a:gd name="connsiteY22" fmla="*/ 120232 h 721392"/>
                <a:gd name="connsiteX23" fmla="*/ 135234 w 270502"/>
                <a:gd name="connsiteY23" fmla="*/ 120232 h 721392"/>
                <a:gd name="connsiteX24" fmla="*/ 135235 w 270502"/>
                <a:gd name="connsiteY24" fmla="*/ 120232 h 721392"/>
                <a:gd name="connsiteX25" fmla="*/ 135234 w 270502"/>
                <a:gd name="connsiteY25" fmla="*/ 0 h 721392"/>
                <a:gd name="connsiteX26" fmla="*/ 210379 w 270502"/>
                <a:gd name="connsiteY26" fmla="*/ 75145 h 721392"/>
                <a:gd name="connsiteX27" fmla="*/ 135234 w 270502"/>
                <a:gd name="connsiteY27" fmla="*/ 150290 h 721392"/>
                <a:gd name="connsiteX28" fmla="*/ 60089 w 270502"/>
                <a:gd name="connsiteY28" fmla="*/ 75145 h 721392"/>
                <a:gd name="connsiteX29" fmla="*/ 135234 w 270502"/>
                <a:gd name="connsiteY29"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181404 w 270502"/>
                <a:gd name="connsiteY4" fmla="*/ 691333 h 721392"/>
                <a:gd name="connsiteX5" fmla="*/ 89097 w 270502"/>
                <a:gd name="connsiteY5" fmla="*/ 691333 h 721392"/>
                <a:gd name="connsiteX6" fmla="*/ 96852 w 270502"/>
                <a:gd name="connsiteY6" fmla="*/ 180349 h 721392"/>
                <a:gd name="connsiteX7" fmla="*/ 173589 w 270502"/>
                <a:gd name="connsiteY7" fmla="*/ 180349 h 721392"/>
                <a:gd name="connsiteX8" fmla="*/ 250238 w 270502"/>
                <a:gd name="connsiteY8" fmla="*/ 253359 h 721392"/>
                <a:gd name="connsiteX9" fmla="*/ 270166 w 270502"/>
                <a:gd name="connsiteY9" fmla="*/ 427937 h 721392"/>
                <a:gd name="connsiteX10" fmla="*/ 257782 w 270502"/>
                <a:gd name="connsiteY10" fmla="*/ 467703 h 721392"/>
                <a:gd name="connsiteX11" fmla="*/ 226913 w 270502"/>
                <a:gd name="connsiteY11" fmla="*/ 482882 h 721392"/>
                <a:gd name="connsiteX12" fmla="*/ 210320 w 270502"/>
                <a:gd name="connsiteY12" fmla="*/ 707475 h 721392"/>
                <a:gd name="connsiteX13" fmla="*/ 195351 w 270502"/>
                <a:gd name="connsiteY13" fmla="*/ 721392 h 721392"/>
                <a:gd name="connsiteX14" fmla="*/ 75119 w 270502"/>
                <a:gd name="connsiteY14" fmla="*/ 721392 h 721392"/>
                <a:gd name="connsiteX15" fmla="*/ 60151 w 270502"/>
                <a:gd name="connsiteY15" fmla="*/ 707475 h 721392"/>
                <a:gd name="connsiteX16" fmla="*/ 43558 w 270502"/>
                <a:gd name="connsiteY16" fmla="*/ 482882 h 721392"/>
                <a:gd name="connsiteX17" fmla="*/ 12689 w 270502"/>
                <a:gd name="connsiteY17" fmla="*/ 467703 h 721392"/>
                <a:gd name="connsiteX18" fmla="*/ 335 w 270502"/>
                <a:gd name="connsiteY18" fmla="*/ 427937 h 721392"/>
                <a:gd name="connsiteX19" fmla="*/ 20264 w 270502"/>
                <a:gd name="connsiteY19" fmla="*/ 253359 h 721392"/>
                <a:gd name="connsiteX20" fmla="*/ 96852 w 270502"/>
                <a:gd name="connsiteY20" fmla="*/ 180349 h 721392"/>
                <a:gd name="connsiteX21" fmla="*/ 135235 w 270502"/>
                <a:gd name="connsiteY21" fmla="*/ 120232 h 721392"/>
                <a:gd name="connsiteX22" fmla="*/ 135234 w 270502"/>
                <a:gd name="connsiteY22" fmla="*/ 120232 h 721392"/>
                <a:gd name="connsiteX23" fmla="*/ 135235 w 270502"/>
                <a:gd name="connsiteY23" fmla="*/ 120232 h 721392"/>
                <a:gd name="connsiteX24" fmla="*/ 135234 w 270502"/>
                <a:gd name="connsiteY24" fmla="*/ 0 h 721392"/>
                <a:gd name="connsiteX25" fmla="*/ 210379 w 270502"/>
                <a:gd name="connsiteY25" fmla="*/ 75145 h 721392"/>
                <a:gd name="connsiteX26" fmla="*/ 135234 w 270502"/>
                <a:gd name="connsiteY26" fmla="*/ 150290 h 721392"/>
                <a:gd name="connsiteX27" fmla="*/ 60089 w 270502"/>
                <a:gd name="connsiteY27" fmla="*/ 75145 h 721392"/>
                <a:gd name="connsiteX28" fmla="*/ 135234 w 270502"/>
                <a:gd name="connsiteY2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81404 w 270502"/>
                <a:gd name="connsiteY3" fmla="*/ 691333 h 721392"/>
                <a:gd name="connsiteX4" fmla="*/ 89097 w 270502"/>
                <a:gd name="connsiteY4" fmla="*/ 691333 h 721392"/>
                <a:gd name="connsiteX5" fmla="*/ 96852 w 270502"/>
                <a:gd name="connsiteY5" fmla="*/ 180349 h 721392"/>
                <a:gd name="connsiteX6" fmla="*/ 173589 w 270502"/>
                <a:gd name="connsiteY6" fmla="*/ 180349 h 721392"/>
                <a:gd name="connsiteX7" fmla="*/ 250238 w 270502"/>
                <a:gd name="connsiteY7" fmla="*/ 253359 h 721392"/>
                <a:gd name="connsiteX8" fmla="*/ 270166 w 270502"/>
                <a:gd name="connsiteY8" fmla="*/ 427937 h 721392"/>
                <a:gd name="connsiteX9" fmla="*/ 257782 w 270502"/>
                <a:gd name="connsiteY9" fmla="*/ 467703 h 721392"/>
                <a:gd name="connsiteX10" fmla="*/ 226913 w 270502"/>
                <a:gd name="connsiteY10" fmla="*/ 482882 h 721392"/>
                <a:gd name="connsiteX11" fmla="*/ 210320 w 270502"/>
                <a:gd name="connsiteY11" fmla="*/ 707475 h 721392"/>
                <a:gd name="connsiteX12" fmla="*/ 195351 w 270502"/>
                <a:gd name="connsiteY12" fmla="*/ 721392 h 721392"/>
                <a:gd name="connsiteX13" fmla="*/ 75119 w 270502"/>
                <a:gd name="connsiteY13" fmla="*/ 721392 h 721392"/>
                <a:gd name="connsiteX14" fmla="*/ 60151 w 270502"/>
                <a:gd name="connsiteY14" fmla="*/ 707475 h 721392"/>
                <a:gd name="connsiteX15" fmla="*/ 43558 w 270502"/>
                <a:gd name="connsiteY15" fmla="*/ 482882 h 721392"/>
                <a:gd name="connsiteX16" fmla="*/ 12689 w 270502"/>
                <a:gd name="connsiteY16" fmla="*/ 467703 h 721392"/>
                <a:gd name="connsiteX17" fmla="*/ 335 w 270502"/>
                <a:gd name="connsiteY17" fmla="*/ 427937 h 721392"/>
                <a:gd name="connsiteX18" fmla="*/ 20264 w 270502"/>
                <a:gd name="connsiteY18" fmla="*/ 253359 h 721392"/>
                <a:gd name="connsiteX19" fmla="*/ 96852 w 270502"/>
                <a:gd name="connsiteY19" fmla="*/ 180349 h 721392"/>
                <a:gd name="connsiteX20" fmla="*/ 135235 w 270502"/>
                <a:gd name="connsiteY20" fmla="*/ 120232 h 721392"/>
                <a:gd name="connsiteX21" fmla="*/ 135234 w 270502"/>
                <a:gd name="connsiteY21" fmla="*/ 120232 h 721392"/>
                <a:gd name="connsiteX22" fmla="*/ 135235 w 270502"/>
                <a:gd name="connsiteY22" fmla="*/ 120232 h 721392"/>
                <a:gd name="connsiteX23" fmla="*/ 135234 w 270502"/>
                <a:gd name="connsiteY23" fmla="*/ 0 h 721392"/>
                <a:gd name="connsiteX24" fmla="*/ 210379 w 270502"/>
                <a:gd name="connsiteY24" fmla="*/ 75145 h 721392"/>
                <a:gd name="connsiteX25" fmla="*/ 135234 w 270502"/>
                <a:gd name="connsiteY25" fmla="*/ 150290 h 721392"/>
                <a:gd name="connsiteX26" fmla="*/ 60089 w 270502"/>
                <a:gd name="connsiteY26" fmla="*/ 75145 h 721392"/>
                <a:gd name="connsiteX27" fmla="*/ 135234 w 270502"/>
                <a:gd name="connsiteY2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89097 w 270502"/>
                <a:gd name="connsiteY3" fmla="*/ 691333 h 721392"/>
                <a:gd name="connsiteX4" fmla="*/ 96852 w 270502"/>
                <a:gd name="connsiteY4" fmla="*/ 180349 h 721392"/>
                <a:gd name="connsiteX5" fmla="*/ 173589 w 270502"/>
                <a:gd name="connsiteY5" fmla="*/ 180349 h 721392"/>
                <a:gd name="connsiteX6" fmla="*/ 250238 w 270502"/>
                <a:gd name="connsiteY6" fmla="*/ 253359 h 721392"/>
                <a:gd name="connsiteX7" fmla="*/ 270166 w 270502"/>
                <a:gd name="connsiteY7" fmla="*/ 427937 h 721392"/>
                <a:gd name="connsiteX8" fmla="*/ 257782 w 270502"/>
                <a:gd name="connsiteY8" fmla="*/ 467703 h 721392"/>
                <a:gd name="connsiteX9" fmla="*/ 226913 w 270502"/>
                <a:gd name="connsiteY9" fmla="*/ 482882 h 721392"/>
                <a:gd name="connsiteX10" fmla="*/ 210320 w 270502"/>
                <a:gd name="connsiteY10" fmla="*/ 707475 h 721392"/>
                <a:gd name="connsiteX11" fmla="*/ 195351 w 270502"/>
                <a:gd name="connsiteY11" fmla="*/ 721392 h 721392"/>
                <a:gd name="connsiteX12" fmla="*/ 75119 w 270502"/>
                <a:gd name="connsiteY12" fmla="*/ 721392 h 721392"/>
                <a:gd name="connsiteX13" fmla="*/ 60151 w 270502"/>
                <a:gd name="connsiteY13" fmla="*/ 707475 h 721392"/>
                <a:gd name="connsiteX14" fmla="*/ 43558 w 270502"/>
                <a:gd name="connsiteY14" fmla="*/ 482882 h 721392"/>
                <a:gd name="connsiteX15" fmla="*/ 12689 w 270502"/>
                <a:gd name="connsiteY15" fmla="*/ 467703 h 721392"/>
                <a:gd name="connsiteX16" fmla="*/ 335 w 270502"/>
                <a:gd name="connsiteY16" fmla="*/ 427937 h 721392"/>
                <a:gd name="connsiteX17" fmla="*/ 20264 w 270502"/>
                <a:gd name="connsiteY17" fmla="*/ 253359 h 721392"/>
                <a:gd name="connsiteX18" fmla="*/ 96852 w 270502"/>
                <a:gd name="connsiteY18" fmla="*/ 180349 h 721392"/>
                <a:gd name="connsiteX19" fmla="*/ 135235 w 270502"/>
                <a:gd name="connsiteY19" fmla="*/ 120232 h 721392"/>
                <a:gd name="connsiteX20" fmla="*/ 135234 w 270502"/>
                <a:gd name="connsiteY20" fmla="*/ 120232 h 721392"/>
                <a:gd name="connsiteX21" fmla="*/ 135235 w 270502"/>
                <a:gd name="connsiteY21" fmla="*/ 120232 h 721392"/>
                <a:gd name="connsiteX22" fmla="*/ 135234 w 270502"/>
                <a:gd name="connsiteY22" fmla="*/ 0 h 721392"/>
                <a:gd name="connsiteX23" fmla="*/ 210379 w 270502"/>
                <a:gd name="connsiteY23" fmla="*/ 75145 h 721392"/>
                <a:gd name="connsiteX24" fmla="*/ 135234 w 270502"/>
                <a:gd name="connsiteY24" fmla="*/ 150290 h 721392"/>
                <a:gd name="connsiteX25" fmla="*/ 60089 w 270502"/>
                <a:gd name="connsiteY25" fmla="*/ 75145 h 721392"/>
                <a:gd name="connsiteX26" fmla="*/ 135234 w 270502"/>
                <a:gd name="connsiteY26" fmla="*/ 0 h 721392"/>
                <a:gd name="connsiteX0" fmla="*/ 89097 w 270502"/>
                <a:gd name="connsiteY0" fmla="*/ 691333 h 721392"/>
                <a:gd name="connsiteX1" fmla="*/ 89097 w 270502"/>
                <a:gd name="connsiteY1" fmla="*/ 691334 h 721392"/>
                <a:gd name="connsiteX2" fmla="*/ 89097 w 270502"/>
                <a:gd name="connsiteY2" fmla="*/ 691333 h 721392"/>
                <a:gd name="connsiteX3" fmla="*/ 96852 w 270502"/>
                <a:gd name="connsiteY3" fmla="*/ 180349 h 721392"/>
                <a:gd name="connsiteX4" fmla="*/ 173589 w 270502"/>
                <a:gd name="connsiteY4" fmla="*/ 180349 h 721392"/>
                <a:gd name="connsiteX5" fmla="*/ 250238 w 270502"/>
                <a:gd name="connsiteY5" fmla="*/ 253359 h 721392"/>
                <a:gd name="connsiteX6" fmla="*/ 270166 w 270502"/>
                <a:gd name="connsiteY6" fmla="*/ 427937 h 721392"/>
                <a:gd name="connsiteX7" fmla="*/ 257782 w 270502"/>
                <a:gd name="connsiteY7" fmla="*/ 467703 h 721392"/>
                <a:gd name="connsiteX8" fmla="*/ 226913 w 270502"/>
                <a:gd name="connsiteY8" fmla="*/ 482882 h 721392"/>
                <a:gd name="connsiteX9" fmla="*/ 210320 w 270502"/>
                <a:gd name="connsiteY9" fmla="*/ 707475 h 721392"/>
                <a:gd name="connsiteX10" fmla="*/ 195351 w 270502"/>
                <a:gd name="connsiteY10" fmla="*/ 721392 h 721392"/>
                <a:gd name="connsiteX11" fmla="*/ 75119 w 270502"/>
                <a:gd name="connsiteY11" fmla="*/ 721392 h 721392"/>
                <a:gd name="connsiteX12" fmla="*/ 60151 w 270502"/>
                <a:gd name="connsiteY12" fmla="*/ 707475 h 721392"/>
                <a:gd name="connsiteX13" fmla="*/ 43558 w 270502"/>
                <a:gd name="connsiteY13" fmla="*/ 482882 h 721392"/>
                <a:gd name="connsiteX14" fmla="*/ 12689 w 270502"/>
                <a:gd name="connsiteY14" fmla="*/ 467703 h 721392"/>
                <a:gd name="connsiteX15" fmla="*/ 335 w 270502"/>
                <a:gd name="connsiteY15" fmla="*/ 427937 h 721392"/>
                <a:gd name="connsiteX16" fmla="*/ 20264 w 270502"/>
                <a:gd name="connsiteY16" fmla="*/ 253359 h 721392"/>
                <a:gd name="connsiteX17" fmla="*/ 96852 w 270502"/>
                <a:gd name="connsiteY17" fmla="*/ 180349 h 721392"/>
                <a:gd name="connsiteX18" fmla="*/ 135235 w 270502"/>
                <a:gd name="connsiteY18" fmla="*/ 120232 h 721392"/>
                <a:gd name="connsiteX19" fmla="*/ 135234 w 270502"/>
                <a:gd name="connsiteY19" fmla="*/ 120232 h 721392"/>
                <a:gd name="connsiteX20" fmla="*/ 135235 w 270502"/>
                <a:gd name="connsiteY20" fmla="*/ 120232 h 721392"/>
                <a:gd name="connsiteX21" fmla="*/ 135234 w 270502"/>
                <a:gd name="connsiteY21" fmla="*/ 0 h 721392"/>
                <a:gd name="connsiteX22" fmla="*/ 210379 w 270502"/>
                <a:gd name="connsiteY22" fmla="*/ 75145 h 721392"/>
                <a:gd name="connsiteX23" fmla="*/ 135234 w 270502"/>
                <a:gd name="connsiteY23" fmla="*/ 150290 h 721392"/>
                <a:gd name="connsiteX24" fmla="*/ 60089 w 270502"/>
                <a:gd name="connsiteY24" fmla="*/ 75145 h 721392"/>
                <a:gd name="connsiteX25" fmla="*/ 135234 w 270502"/>
                <a:gd name="connsiteY25"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5 w 270502"/>
                <a:gd name="connsiteY15" fmla="*/ 120232 h 721392"/>
                <a:gd name="connsiteX16" fmla="*/ 135234 w 270502"/>
                <a:gd name="connsiteY16" fmla="*/ 120232 h 721392"/>
                <a:gd name="connsiteX17" fmla="*/ 135235 w 270502"/>
                <a:gd name="connsiteY17" fmla="*/ 120232 h 721392"/>
                <a:gd name="connsiteX18" fmla="*/ 135234 w 270502"/>
                <a:gd name="connsiteY18" fmla="*/ 0 h 721392"/>
                <a:gd name="connsiteX19" fmla="*/ 210379 w 270502"/>
                <a:gd name="connsiteY19" fmla="*/ 75145 h 721392"/>
                <a:gd name="connsiteX20" fmla="*/ 135234 w 270502"/>
                <a:gd name="connsiteY20" fmla="*/ 150290 h 721392"/>
                <a:gd name="connsiteX21" fmla="*/ 60089 w 270502"/>
                <a:gd name="connsiteY21" fmla="*/ 75145 h 721392"/>
                <a:gd name="connsiteX22" fmla="*/ 135234 w 270502"/>
                <a:gd name="connsiteY22"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4 w 270502"/>
                <a:gd name="connsiteY15" fmla="*/ 0 h 721392"/>
                <a:gd name="connsiteX16" fmla="*/ 210379 w 270502"/>
                <a:gd name="connsiteY16" fmla="*/ 75145 h 721392"/>
                <a:gd name="connsiteX17" fmla="*/ 135234 w 270502"/>
                <a:gd name="connsiteY17" fmla="*/ 150290 h 721392"/>
                <a:gd name="connsiteX18" fmla="*/ 60089 w 270502"/>
                <a:gd name="connsiteY18" fmla="*/ 75145 h 721392"/>
                <a:gd name="connsiteX19" fmla="*/ 135234 w 270502"/>
                <a:gd name="connsiteY19" fmla="*/ 0 h 72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0502" h="721392">
                  <a:moveTo>
                    <a:pt x="96852" y="180349"/>
                  </a:moveTo>
                  <a:lnTo>
                    <a:pt x="173589" y="180349"/>
                  </a:lnTo>
                  <a:cubicBezTo>
                    <a:pt x="212545" y="180349"/>
                    <a:pt x="245518" y="211730"/>
                    <a:pt x="250238" y="253359"/>
                  </a:cubicBezTo>
                  <a:lnTo>
                    <a:pt x="270166" y="427937"/>
                  </a:lnTo>
                  <a:cubicBezTo>
                    <a:pt x="271819" y="442545"/>
                    <a:pt x="267341" y="457033"/>
                    <a:pt x="257782" y="467703"/>
                  </a:cubicBezTo>
                  <a:cubicBezTo>
                    <a:pt x="249576" y="476901"/>
                    <a:pt x="238695" y="482221"/>
                    <a:pt x="226913" y="482882"/>
                  </a:cubicBezTo>
                  <a:lnTo>
                    <a:pt x="210320" y="707475"/>
                  </a:lnTo>
                  <a:cubicBezTo>
                    <a:pt x="209779" y="715320"/>
                    <a:pt x="203227" y="721392"/>
                    <a:pt x="195351" y="721392"/>
                  </a:cubicBezTo>
                  <a:lnTo>
                    <a:pt x="75119" y="721392"/>
                  </a:lnTo>
                  <a:cubicBezTo>
                    <a:pt x="67274" y="721392"/>
                    <a:pt x="60722" y="715320"/>
                    <a:pt x="60151" y="707475"/>
                  </a:cubicBezTo>
                  <a:lnTo>
                    <a:pt x="43558" y="482882"/>
                  </a:lnTo>
                  <a:cubicBezTo>
                    <a:pt x="31746" y="482221"/>
                    <a:pt x="20895" y="476870"/>
                    <a:pt x="12689" y="467703"/>
                  </a:cubicBezTo>
                  <a:cubicBezTo>
                    <a:pt x="3191" y="457062"/>
                    <a:pt x="-1318" y="442545"/>
                    <a:pt x="335" y="427937"/>
                  </a:cubicBezTo>
                  <a:lnTo>
                    <a:pt x="20264" y="253359"/>
                  </a:lnTo>
                  <a:cubicBezTo>
                    <a:pt x="25013" y="211730"/>
                    <a:pt x="57957" y="180349"/>
                    <a:pt x="96852" y="180349"/>
                  </a:cubicBezTo>
                  <a:close/>
                  <a:moveTo>
                    <a:pt x="135234" y="0"/>
                  </a:moveTo>
                  <a:cubicBezTo>
                    <a:pt x="176684" y="0"/>
                    <a:pt x="210379" y="33725"/>
                    <a:pt x="210379" y="75145"/>
                  </a:cubicBezTo>
                  <a:cubicBezTo>
                    <a:pt x="210379" y="116565"/>
                    <a:pt x="176655" y="150290"/>
                    <a:pt x="135234" y="150290"/>
                  </a:cubicBezTo>
                  <a:cubicBezTo>
                    <a:pt x="93814" y="150290"/>
                    <a:pt x="60089" y="116565"/>
                    <a:pt x="60089" y="75145"/>
                  </a:cubicBezTo>
                  <a:cubicBezTo>
                    <a:pt x="60089" y="33725"/>
                    <a:pt x="93814" y="0"/>
                    <a:pt x="135234" y="0"/>
                  </a:cubicBezTo>
                  <a:close/>
                </a:path>
              </a:pathLst>
            </a:custGeom>
            <a:solidFill>
              <a:schemeClr val="accent1"/>
            </a:solidFill>
            <a:ln w="12700" cap="flat">
              <a:solidFill>
                <a:schemeClr val="accent5">
                  <a:alpha val="5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grpSp>
      <p:grpSp>
        <p:nvGrpSpPr>
          <p:cNvPr id="156" name="Group 155">
            <a:extLst>
              <a:ext uri="{FF2B5EF4-FFF2-40B4-BE49-F238E27FC236}">
                <a16:creationId xmlns:a16="http://schemas.microsoft.com/office/drawing/2014/main" id="{9C708D17-57D7-09DC-E78A-1DC412C9AADD}"/>
              </a:ext>
            </a:extLst>
          </p:cNvPr>
          <p:cNvGrpSpPr/>
          <p:nvPr/>
        </p:nvGrpSpPr>
        <p:grpSpPr>
          <a:xfrm>
            <a:off x="4202718" y="4588857"/>
            <a:ext cx="1624919" cy="804993"/>
            <a:chOff x="4167505" y="4576407"/>
            <a:chExt cx="1624919" cy="804993"/>
          </a:xfrm>
        </p:grpSpPr>
        <p:sp>
          <p:nvSpPr>
            <p:cNvPr id="555" name="TextBox 554">
              <a:extLst>
                <a:ext uri="{FF2B5EF4-FFF2-40B4-BE49-F238E27FC236}">
                  <a16:creationId xmlns:a16="http://schemas.microsoft.com/office/drawing/2014/main" id="{71610C6E-5B24-1A30-C10E-1AE8B1ED7123}"/>
                </a:ext>
              </a:extLst>
            </p:cNvPr>
            <p:cNvSpPr txBox="1"/>
            <p:nvPr/>
          </p:nvSpPr>
          <p:spPr>
            <a:xfrm>
              <a:off x="4487871" y="4576407"/>
              <a:ext cx="984187" cy="642612"/>
            </a:xfrm>
            <a:prstGeom prst="rect">
              <a:avLst/>
            </a:prstGeom>
            <a:noFill/>
          </p:spPr>
          <p:txBody>
            <a:bodyPr wrap="square">
              <a:spAutoFit/>
            </a:bodyPr>
            <a:lstStyle/>
            <a:p>
              <a:pPr marL="0" lvl="1" indent="0" algn="ctr">
                <a:lnSpc>
                  <a:spcPct val="70000"/>
                </a:lnSpc>
                <a:buNone/>
              </a:pPr>
              <a:r>
                <a:rPr lang="en-GB" sz="4800">
                  <a:solidFill>
                    <a:schemeClr val="accent1">
                      <a:lumMod val="75000"/>
                    </a:schemeClr>
                  </a:solidFill>
                  <a:latin typeface="Calibri Light" panose="020F0302020204030204" pitchFamily="34" charset="0"/>
                  <a:cs typeface="Calibri Light" panose="020F0302020204030204" pitchFamily="34" charset="0"/>
                </a:rPr>
                <a:t>89</a:t>
              </a:r>
              <a:endParaRPr lang="en-GB">
                <a:solidFill>
                  <a:schemeClr val="accent1">
                    <a:lumMod val="75000"/>
                  </a:schemeClr>
                </a:solidFill>
              </a:endParaRPr>
            </a:p>
          </p:txBody>
        </p:sp>
        <p:sp>
          <p:nvSpPr>
            <p:cNvPr id="556" name="TextBox 555">
              <a:extLst>
                <a:ext uri="{FF2B5EF4-FFF2-40B4-BE49-F238E27FC236}">
                  <a16:creationId xmlns:a16="http://schemas.microsoft.com/office/drawing/2014/main" id="{1743822F-83F3-D1BE-F800-45496A0F31C1}"/>
                </a:ext>
              </a:extLst>
            </p:cNvPr>
            <p:cNvSpPr txBox="1"/>
            <p:nvPr/>
          </p:nvSpPr>
          <p:spPr>
            <a:xfrm>
              <a:off x="4167505" y="4981290"/>
              <a:ext cx="1624919" cy="400110"/>
            </a:xfrm>
            <a:prstGeom prst="rect">
              <a:avLst/>
            </a:prstGeom>
            <a:noFill/>
          </p:spPr>
          <p:txBody>
            <a:bodyPr wrap="square">
              <a:spAutoFit/>
            </a:bodyPr>
            <a:lstStyle/>
            <a:p>
              <a:pPr algn="ctr"/>
              <a:r>
                <a:rPr lang="en-GB" sz="1000">
                  <a:solidFill>
                    <a:schemeClr val="tx2"/>
                  </a:solidFill>
                </a:rPr>
                <a:t>patients with DM, IMNM, and PM, including ASyS</a:t>
              </a:r>
              <a:endParaRPr lang="en-US" sz="1000">
                <a:solidFill>
                  <a:schemeClr val="tx2"/>
                </a:solidFill>
              </a:endParaRPr>
            </a:p>
          </p:txBody>
        </p:sp>
      </p:grpSp>
      <p:grpSp>
        <p:nvGrpSpPr>
          <p:cNvPr id="157" name="Group 156">
            <a:extLst>
              <a:ext uri="{FF2B5EF4-FFF2-40B4-BE49-F238E27FC236}">
                <a16:creationId xmlns:a16="http://schemas.microsoft.com/office/drawing/2014/main" id="{6B076E02-59FD-F584-D556-AB77632BD2CD}"/>
              </a:ext>
            </a:extLst>
          </p:cNvPr>
          <p:cNvGrpSpPr/>
          <p:nvPr/>
        </p:nvGrpSpPr>
        <p:grpSpPr>
          <a:xfrm>
            <a:off x="378090" y="1046305"/>
            <a:ext cx="11435820" cy="4373425"/>
            <a:chOff x="378090" y="1258503"/>
            <a:chExt cx="11435820" cy="4373425"/>
          </a:xfrm>
        </p:grpSpPr>
        <p:grpSp>
          <p:nvGrpSpPr>
            <p:cNvPr id="527" name="Group 526">
              <a:extLst>
                <a:ext uri="{FF2B5EF4-FFF2-40B4-BE49-F238E27FC236}">
                  <a16:creationId xmlns:a16="http://schemas.microsoft.com/office/drawing/2014/main" id="{D62A9BB6-DED5-B71D-C34B-4AC56770D9EC}"/>
                </a:ext>
              </a:extLst>
            </p:cNvPr>
            <p:cNvGrpSpPr/>
            <p:nvPr/>
          </p:nvGrpSpPr>
          <p:grpSpPr>
            <a:xfrm>
              <a:off x="378090" y="1258503"/>
              <a:ext cx="11435820" cy="4373425"/>
              <a:chOff x="378090" y="1402881"/>
              <a:chExt cx="11435820" cy="4373425"/>
            </a:xfrm>
          </p:grpSpPr>
          <p:sp>
            <p:nvSpPr>
              <p:cNvPr id="529" name="Rectangle: Rounded Corners 183">
                <a:extLst>
                  <a:ext uri="{FF2B5EF4-FFF2-40B4-BE49-F238E27FC236}">
                    <a16:creationId xmlns:a16="http://schemas.microsoft.com/office/drawing/2014/main" id="{BB9FB170-9F32-D6D7-F895-77F6CA94C3E3}"/>
                  </a:ext>
                </a:extLst>
              </p:cNvPr>
              <p:cNvSpPr/>
              <p:nvPr/>
            </p:nvSpPr>
            <p:spPr>
              <a:xfrm>
                <a:off x="3680274" y="1402881"/>
                <a:ext cx="4831452" cy="411078"/>
              </a:xfrm>
              <a:prstGeom prst="rect">
                <a:avLst/>
              </a:prstGeom>
              <a:noFill/>
              <a:ln w="19050" cap="flat" cmpd="sng" algn="ctr">
                <a:noFill/>
                <a:prstDash val="solid"/>
                <a:miter lim="800000"/>
              </a:ln>
              <a:effectLst/>
            </p:spPr>
            <p:txBody>
              <a:bodyPr wrap="none" lIns="0" tIns="0" rIns="0" bIns="0" rtlCol="0" anchor="b">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IN" sz="1200" b="1" i="0" u="none" strike="noStrike" kern="0" cap="none" spc="0" normalizeH="0" baseline="0" noProof="0">
                    <a:ln>
                      <a:noFill/>
                    </a:ln>
                    <a:solidFill>
                      <a:schemeClr val="accent5"/>
                    </a:solidFill>
                    <a:effectLst/>
                    <a:uLnTx/>
                    <a:uFillTx/>
                  </a:rPr>
                  <a:t>PHASE 2 STAGE: 24-WEEK TREATMENT PERIOD*</a:t>
                </a:r>
              </a:p>
            </p:txBody>
          </p:sp>
          <p:cxnSp>
            <p:nvCxnSpPr>
              <p:cNvPr id="530" name="Straight Connector 529">
                <a:extLst>
                  <a:ext uri="{FF2B5EF4-FFF2-40B4-BE49-F238E27FC236}">
                    <a16:creationId xmlns:a16="http://schemas.microsoft.com/office/drawing/2014/main" id="{3373EDEE-4CFC-179B-ADF5-EE2971A71237}"/>
                  </a:ext>
                </a:extLst>
              </p:cNvPr>
              <p:cNvCxnSpPr>
                <a:cxnSpLocks/>
              </p:cNvCxnSpPr>
              <p:nvPr/>
            </p:nvCxnSpPr>
            <p:spPr>
              <a:xfrm>
                <a:off x="3352800" y="1876853"/>
                <a:ext cx="5486401" cy="0"/>
              </a:xfrm>
              <a:prstGeom prst="line">
                <a:avLst/>
              </a:prstGeom>
              <a:noFill/>
              <a:ln w="12700" cap="rnd" cmpd="sng" algn="ctr">
                <a:solidFill>
                  <a:schemeClr val="accent5"/>
                </a:solidFill>
                <a:prstDash val="solid"/>
                <a:round/>
              </a:ln>
              <a:effectLst/>
            </p:spPr>
          </p:cxnSp>
          <p:sp>
            <p:nvSpPr>
              <p:cNvPr id="531" name="Rectangle: Rounded Corners 183">
                <a:extLst>
                  <a:ext uri="{FF2B5EF4-FFF2-40B4-BE49-F238E27FC236}">
                    <a16:creationId xmlns:a16="http://schemas.microsoft.com/office/drawing/2014/main" id="{7821844F-0D5B-24F7-DF90-BBE055A6AF67}"/>
                  </a:ext>
                </a:extLst>
              </p:cNvPr>
              <p:cNvSpPr/>
              <p:nvPr/>
            </p:nvSpPr>
            <p:spPr>
              <a:xfrm>
                <a:off x="378090" y="1876853"/>
                <a:ext cx="2743200" cy="2353554"/>
              </a:xfrm>
              <a:prstGeom prst="roundRect">
                <a:avLst>
                  <a:gd name="adj" fmla="val 0"/>
                </a:avLst>
              </a:prstGeom>
              <a:gradFill flip="none" rotWithShape="1">
                <a:gsLst>
                  <a:gs pos="0">
                    <a:schemeClr val="accent2">
                      <a:alpha val="40083"/>
                    </a:schemeClr>
                  </a:gs>
                  <a:gs pos="100000">
                    <a:schemeClr val="bg1">
                      <a:alpha val="0"/>
                    </a:schemeClr>
                  </a:gs>
                </a:gsLst>
                <a:lin ang="5400000" scaled="1"/>
                <a:tileRect/>
              </a:gradFill>
              <a:ln w="19050" cap="flat" cmpd="sng" algn="ctr">
                <a:noFill/>
                <a:prstDash val="solid"/>
                <a:miter lim="800000"/>
              </a:ln>
              <a:effectLst/>
            </p:spPr>
            <p:txBody>
              <a:bodyPr lIns="0" r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i="0" u="none" strike="noStrike" kern="0" cap="none" spc="0" normalizeH="0" baseline="0" noProof="0">
                  <a:ln>
                    <a:noFill/>
                  </a:ln>
                  <a:solidFill>
                    <a:srgbClr val="FFFFFF"/>
                  </a:solidFill>
                  <a:effectLst/>
                  <a:uLnTx/>
                  <a:uFillTx/>
                </a:endParaRPr>
              </a:p>
            </p:txBody>
          </p:sp>
          <p:sp>
            <p:nvSpPr>
              <p:cNvPr id="532" name="Rectangle: Rounded Corners 183">
                <a:extLst>
                  <a:ext uri="{FF2B5EF4-FFF2-40B4-BE49-F238E27FC236}">
                    <a16:creationId xmlns:a16="http://schemas.microsoft.com/office/drawing/2014/main" id="{F54ADDEB-F376-5E90-57FC-7A1DDAB8E477}"/>
                  </a:ext>
                </a:extLst>
              </p:cNvPr>
              <p:cNvSpPr/>
              <p:nvPr/>
            </p:nvSpPr>
            <p:spPr>
              <a:xfrm>
                <a:off x="378090" y="1402907"/>
                <a:ext cx="2743200" cy="411079"/>
              </a:xfrm>
              <a:prstGeom prst="rect">
                <a:avLst/>
              </a:prstGeom>
              <a:noFill/>
              <a:ln w="19050" cap="flat" cmpd="sng" algn="ctr">
                <a:noFill/>
                <a:prstDash val="solid"/>
                <a:miter lim="800000"/>
              </a:ln>
              <a:effectLst/>
            </p:spPr>
            <p:txBody>
              <a:bodyPr wrap="none" lIns="0" tIns="0" rIns="0" bIns="0" rtlCol="0" anchor="b">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IN" sz="1100" b="1" i="0" u="none" strike="noStrike" kern="0" cap="none" spc="0" normalizeH="0" baseline="0" noProof="0">
                  <a:ln>
                    <a:noFill/>
                  </a:ln>
                  <a:solidFill>
                    <a:srgbClr val="0B436E"/>
                  </a:solidFill>
                  <a:effectLst/>
                  <a:uLnTx/>
                  <a:uFillTx/>
                </a:endParaRPr>
              </a:p>
            </p:txBody>
          </p:sp>
          <p:cxnSp>
            <p:nvCxnSpPr>
              <p:cNvPr id="533" name="Straight Connector 532">
                <a:extLst>
                  <a:ext uri="{FF2B5EF4-FFF2-40B4-BE49-F238E27FC236}">
                    <a16:creationId xmlns:a16="http://schemas.microsoft.com/office/drawing/2014/main" id="{2A394789-EE3A-ABD4-2724-9871F9B53436}"/>
                  </a:ext>
                </a:extLst>
              </p:cNvPr>
              <p:cNvCxnSpPr>
                <a:cxnSpLocks/>
              </p:cNvCxnSpPr>
              <p:nvPr/>
            </p:nvCxnSpPr>
            <p:spPr>
              <a:xfrm>
                <a:off x="378090" y="1876853"/>
                <a:ext cx="2743200" cy="0"/>
              </a:xfrm>
              <a:prstGeom prst="line">
                <a:avLst/>
              </a:prstGeom>
              <a:noFill/>
              <a:ln w="12700" cap="rnd" cmpd="sng" algn="ctr">
                <a:solidFill>
                  <a:srgbClr val="0B436E"/>
                </a:solidFill>
                <a:prstDash val="solid"/>
                <a:round/>
              </a:ln>
              <a:effectLst/>
            </p:spPr>
          </p:cxnSp>
          <p:sp>
            <p:nvSpPr>
              <p:cNvPr id="534" name="Rectangle: Rounded Corners 183">
                <a:extLst>
                  <a:ext uri="{FF2B5EF4-FFF2-40B4-BE49-F238E27FC236}">
                    <a16:creationId xmlns:a16="http://schemas.microsoft.com/office/drawing/2014/main" id="{0B35BEF4-950A-A0B6-7A66-12D58E693E24}"/>
                  </a:ext>
                </a:extLst>
              </p:cNvPr>
              <p:cNvSpPr/>
              <p:nvPr/>
            </p:nvSpPr>
            <p:spPr>
              <a:xfrm>
                <a:off x="9070710" y="1876853"/>
                <a:ext cx="2743200" cy="2353554"/>
              </a:xfrm>
              <a:prstGeom prst="roundRect">
                <a:avLst>
                  <a:gd name="adj" fmla="val 0"/>
                </a:avLst>
              </a:prstGeom>
              <a:gradFill flip="none" rotWithShape="1">
                <a:gsLst>
                  <a:gs pos="0">
                    <a:schemeClr val="accent2">
                      <a:alpha val="40083"/>
                    </a:schemeClr>
                  </a:gs>
                  <a:gs pos="100000">
                    <a:schemeClr val="bg1">
                      <a:alpha val="0"/>
                    </a:schemeClr>
                  </a:gs>
                </a:gsLst>
                <a:lin ang="5400000" scaled="1"/>
                <a:tileRect/>
              </a:gradFill>
              <a:ln w="19050" cap="flat" cmpd="sng" algn="ctr">
                <a:noFill/>
                <a:prstDash val="solid"/>
                <a:miter lim="800000"/>
              </a:ln>
              <a:effectLst/>
            </p:spPr>
            <p:txBody>
              <a:bodyPr lIns="0" r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i="0" u="none" strike="noStrike" kern="0" cap="none" spc="0" normalizeH="0" baseline="0" noProof="0">
                  <a:ln>
                    <a:noFill/>
                  </a:ln>
                  <a:solidFill>
                    <a:srgbClr val="FFFFFF"/>
                  </a:solidFill>
                  <a:effectLst/>
                  <a:uLnTx/>
                  <a:uFillTx/>
                </a:endParaRPr>
              </a:p>
            </p:txBody>
          </p:sp>
          <p:sp>
            <p:nvSpPr>
              <p:cNvPr id="535" name="Rectangle: Rounded Corners 183">
                <a:extLst>
                  <a:ext uri="{FF2B5EF4-FFF2-40B4-BE49-F238E27FC236}">
                    <a16:creationId xmlns:a16="http://schemas.microsoft.com/office/drawing/2014/main" id="{759A1D1B-19C2-E184-4A98-C5297250C5C2}"/>
                  </a:ext>
                </a:extLst>
              </p:cNvPr>
              <p:cNvSpPr/>
              <p:nvPr/>
            </p:nvSpPr>
            <p:spPr>
              <a:xfrm>
                <a:off x="9070710" y="1402907"/>
                <a:ext cx="2743200" cy="411079"/>
              </a:xfrm>
              <a:prstGeom prst="rect">
                <a:avLst/>
              </a:prstGeom>
              <a:noFill/>
              <a:ln w="19050" cap="flat" cmpd="sng" algn="ctr">
                <a:noFill/>
                <a:prstDash val="solid"/>
                <a:miter lim="800000"/>
              </a:ln>
              <a:effectLst/>
            </p:spPr>
            <p:txBody>
              <a:bodyPr wrap="none" lIns="0" tIns="0" rIns="0" bIns="0" rtlCol="0" anchor="b">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IN" sz="1200" b="1" i="0" u="none" strike="noStrike" kern="0" cap="none" spc="0" normalizeH="0" baseline="0" noProof="0">
                  <a:ln>
                    <a:noFill/>
                  </a:ln>
                  <a:solidFill>
                    <a:srgbClr val="0B436E"/>
                  </a:solidFill>
                  <a:effectLst/>
                  <a:uLnTx/>
                  <a:uFillTx/>
                </a:endParaRPr>
              </a:p>
            </p:txBody>
          </p:sp>
          <p:cxnSp>
            <p:nvCxnSpPr>
              <p:cNvPr id="536" name="Straight Connector 535">
                <a:extLst>
                  <a:ext uri="{FF2B5EF4-FFF2-40B4-BE49-F238E27FC236}">
                    <a16:creationId xmlns:a16="http://schemas.microsoft.com/office/drawing/2014/main" id="{E2BD546D-29CE-5854-6C71-235FFF8CDEDC}"/>
                  </a:ext>
                </a:extLst>
              </p:cNvPr>
              <p:cNvCxnSpPr>
                <a:cxnSpLocks/>
              </p:cNvCxnSpPr>
              <p:nvPr/>
            </p:nvCxnSpPr>
            <p:spPr>
              <a:xfrm>
                <a:off x="9070710" y="1876853"/>
                <a:ext cx="2743200" cy="0"/>
              </a:xfrm>
              <a:prstGeom prst="line">
                <a:avLst/>
              </a:prstGeom>
              <a:noFill/>
              <a:ln w="12700" cap="rnd" cmpd="sng" algn="ctr">
                <a:solidFill>
                  <a:srgbClr val="0B436E"/>
                </a:solidFill>
                <a:prstDash val="solid"/>
                <a:round/>
              </a:ln>
              <a:effectLst/>
            </p:spPr>
          </p:cxnSp>
          <p:grpSp>
            <p:nvGrpSpPr>
              <p:cNvPr id="537" name="Group 536">
                <a:extLst>
                  <a:ext uri="{FF2B5EF4-FFF2-40B4-BE49-F238E27FC236}">
                    <a16:creationId xmlns:a16="http://schemas.microsoft.com/office/drawing/2014/main" id="{AE24A48B-62B3-AEAF-ABF4-0D3401F14D20}"/>
                  </a:ext>
                </a:extLst>
              </p:cNvPr>
              <p:cNvGrpSpPr/>
              <p:nvPr/>
            </p:nvGrpSpPr>
            <p:grpSpPr>
              <a:xfrm>
                <a:off x="606690" y="2122631"/>
                <a:ext cx="10978620" cy="1859026"/>
                <a:chOff x="606690" y="2161814"/>
                <a:chExt cx="10978620" cy="1231202"/>
              </a:xfrm>
            </p:grpSpPr>
            <p:sp>
              <p:nvSpPr>
                <p:cNvPr id="539" name="Rectangle 538">
                  <a:extLst>
                    <a:ext uri="{FF2B5EF4-FFF2-40B4-BE49-F238E27FC236}">
                      <a16:creationId xmlns:a16="http://schemas.microsoft.com/office/drawing/2014/main" id="{0C0DE930-2AC2-0A86-F2FA-B9AFF79B39B9}"/>
                    </a:ext>
                  </a:extLst>
                </p:cNvPr>
                <p:cNvSpPr/>
                <p:nvPr/>
              </p:nvSpPr>
              <p:spPr>
                <a:xfrm>
                  <a:off x="4269930" y="2890479"/>
                  <a:ext cx="1141637" cy="230832"/>
                </a:xfrm>
                <a:prstGeom prst="rect">
                  <a:avLst/>
                </a:prstGeom>
              </p:spPr>
              <p:txBody>
                <a:bodyPr wrap="square" anchor="ctr">
                  <a:spAutoFit/>
                </a:bodyPr>
                <a:lstStyle/>
                <a:p>
                  <a:pPr marL="0" marR="0" lvl="0" indent="0" algn="ctr" defTabSz="914142" eaLnBrk="1" fontAlgn="auto" latinLnBrk="0" hangingPunct="1">
                    <a:lnSpc>
                      <a:spcPct val="9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FFFFFF"/>
                    </a:solidFill>
                    <a:effectLst/>
                    <a:uLnTx/>
                    <a:uFillTx/>
                    <a:cs typeface="Arial" panose="020B0604020202020204" pitchFamily="34" charset="0"/>
                  </a:endParaRPr>
                </a:p>
              </p:txBody>
            </p:sp>
            <p:grpSp>
              <p:nvGrpSpPr>
                <p:cNvPr id="540" name="Group 539">
                  <a:extLst>
                    <a:ext uri="{FF2B5EF4-FFF2-40B4-BE49-F238E27FC236}">
                      <a16:creationId xmlns:a16="http://schemas.microsoft.com/office/drawing/2014/main" id="{963FB7A1-73EE-9342-A651-C8E1C8A82622}"/>
                    </a:ext>
                  </a:extLst>
                </p:cNvPr>
                <p:cNvGrpSpPr/>
                <p:nvPr/>
              </p:nvGrpSpPr>
              <p:grpSpPr>
                <a:xfrm>
                  <a:off x="3578535" y="3145029"/>
                  <a:ext cx="5025692" cy="247987"/>
                  <a:chOff x="9045694" y="3189637"/>
                  <a:chExt cx="2278987" cy="247987"/>
                </a:xfrm>
              </p:grpSpPr>
              <p:sp>
                <p:nvSpPr>
                  <p:cNvPr id="552" name="TextBox 551">
                    <a:extLst>
                      <a:ext uri="{FF2B5EF4-FFF2-40B4-BE49-F238E27FC236}">
                        <a16:creationId xmlns:a16="http://schemas.microsoft.com/office/drawing/2014/main" id="{B3F0013D-DA80-C7E0-6C19-4C5B6DF07098}"/>
                      </a:ext>
                    </a:extLst>
                  </p:cNvPr>
                  <p:cNvSpPr txBox="1"/>
                  <p:nvPr/>
                </p:nvSpPr>
                <p:spPr>
                  <a:xfrm>
                    <a:off x="9112785" y="3238978"/>
                    <a:ext cx="2144804" cy="198646"/>
                  </a:xfrm>
                  <a:prstGeom prst="rect">
                    <a:avLst/>
                  </a:prstGeom>
                  <a:noFill/>
                  <a:ln w="34925" cap="rnd">
                    <a:noFill/>
                    <a:prstDash val="sysDot"/>
                  </a:ln>
                  <a:effectLst/>
                </p:spPr>
                <p:txBody>
                  <a:bodyPr wrap="square" lIns="0" rIns="0" rtlCol="0" anchor="ctr">
                    <a:noAutofit/>
                  </a:bodyPr>
                  <a:lstStyle/>
                  <a:p>
                    <a:pPr marL="0" marR="0" lvl="1" indent="0" algn="ctr" defTabSz="914378" eaLnBrk="1" fontAlgn="auto" latinLnBrk="0" hangingPunct="1">
                      <a:lnSpc>
                        <a:spcPct val="90000"/>
                      </a:lnSpc>
                      <a:spcBef>
                        <a:spcPts val="0"/>
                      </a:spcBef>
                      <a:spcAft>
                        <a:spcPts val="0"/>
                      </a:spcAft>
                      <a:buClr>
                        <a:srgbClr val="595A59">
                          <a:lumMod val="50000"/>
                        </a:srgbClr>
                      </a:buClr>
                      <a:buSzTx/>
                      <a:buFontTx/>
                      <a:buNone/>
                      <a:tabLst/>
                      <a:defRPr/>
                    </a:pPr>
                    <a:r>
                      <a:rPr kumimoji="0" lang="en-US" sz="1000" b="1" i="0" u="none" strike="noStrike" kern="0" cap="none" spc="0" normalizeH="0" baseline="0" noProof="0">
                        <a:ln>
                          <a:noFill/>
                        </a:ln>
                        <a:solidFill>
                          <a:schemeClr val="tx2"/>
                        </a:solidFill>
                        <a:effectLst/>
                        <a:uLnTx/>
                        <a:uFillTx/>
                        <a:sym typeface="Symbol" pitchFamily="18" charset="2"/>
                      </a:rPr>
                      <a:t>24 weeks</a:t>
                    </a:r>
                  </a:p>
                </p:txBody>
              </p:sp>
              <p:sp>
                <p:nvSpPr>
                  <p:cNvPr id="553" name="Graphic 2771">
                    <a:extLst>
                      <a:ext uri="{FF2B5EF4-FFF2-40B4-BE49-F238E27FC236}">
                        <a16:creationId xmlns:a16="http://schemas.microsoft.com/office/drawing/2014/main" id="{517273C6-C0EB-DA56-DE6C-3A24F925F372}"/>
                      </a:ext>
                    </a:extLst>
                  </p:cNvPr>
                  <p:cNvSpPr/>
                  <p:nvPr/>
                </p:nvSpPr>
                <p:spPr>
                  <a:xfrm>
                    <a:off x="9045694" y="3189643"/>
                    <a:ext cx="281810" cy="239785"/>
                  </a:xfrm>
                  <a:custGeom>
                    <a:avLst/>
                    <a:gdLst>
                      <a:gd name="connsiteX0" fmla="*/ 282677 w 282677"/>
                      <a:gd name="connsiteY0" fmla="*/ 146050 h 282677"/>
                      <a:gd name="connsiteX1" fmla="*/ 0 w 282677"/>
                      <a:gd name="connsiteY1" fmla="*/ 146050 h 282677"/>
                      <a:gd name="connsiteX2" fmla="*/ 0 w 282677"/>
                      <a:gd name="connsiteY2" fmla="*/ 282677 h 282677"/>
                      <a:gd name="connsiteX3" fmla="*/ 0 w 282677"/>
                      <a:gd name="connsiteY3" fmla="*/ 0 h 282677"/>
                    </a:gdLst>
                    <a:ahLst/>
                    <a:cxnLst>
                      <a:cxn ang="0">
                        <a:pos x="connsiteX0" y="connsiteY0"/>
                      </a:cxn>
                      <a:cxn ang="0">
                        <a:pos x="connsiteX1" y="connsiteY1"/>
                      </a:cxn>
                      <a:cxn ang="0">
                        <a:pos x="connsiteX2" y="connsiteY2"/>
                      </a:cxn>
                      <a:cxn ang="0">
                        <a:pos x="connsiteX3" y="connsiteY3"/>
                      </a:cxn>
                    </a:cxnLst>
                    <a:rect l="l" t="t" r="r" b="b"/>
                    <a:pathLst>
                      <a:path w="282677" h="282677">
                        <a:moveTo>
                          <a:pt x="282677" y="146050"/>
                        </a:moveTo>
                        <a:lnTo>
                          <a:pt x="0" y="146050"/>
                        </a:lnTo>
                        <a:lnTo>
                          <a:pt x="0" y="282677"/>
                        </a:lnTo>
                        <a:lnTo>
                          <a:pt x="0" y="0"/>
                        </a:lnTo>
                      </a:path>
                    </a:pathLst>
                  </a:custGeom>
                  <a:noFill/>
                  <a:ln w="12700" cap="rnd">
                    <a:solidFill>
                      <a:schemeClr val="tx2"/>
                    </a:solidFill>
                    <a:prstDash val="solid"/>
                    <a:round/>
                  </a:ln>
                </p:spPr>
                <p:txBody>
                  <a:bodyPr rtlCol="0" anchor="ctr"/>
                  <a:lstStyle/>
                  <a:p>
                    <a:pPr>
                      <a:lnSpc>
                        <a:spcPct val="90000"/>
                      </a:lnSpc>
                    </a:pPr>
                    <a:endParaRPr lang="en-US" sz="1000"/>
                  </a:p>
                </p:txBody>
              </p:sp>
              <p:sp>
                <p:nvSpPr>
                  <p:cNvPr id="554" name="Graphic 2771">
                    <a:extLst>
                      <a:ext uri="{FF2B5EF4-FFF2-40B4-BE49-F238E27FC236}">
                        <a16:creationId xmlns:a16="http://schemas.microsoft.com/office/drawing/2014/main" id="{93250388-6DF6-7E47-2815-9A793BAC4E41}"/>
                      </a:ext>
                    </a:extLst>
                  </p:cNvPr>
                  <p:cNvSpPr/>
                  <p:nvPr/>
                </p:nvSpPr>
                <p:spPr>
                  <a:xfrm rot="10800000">
                    <a:off x="11042871" y="3189637"/>
                    <a:ext cx="281810" cy="239785"/>
                  </a:xfrm>
                  <a:custGeom>
                    <a:avLst/>
                    <a:gdLst>
                      <a:gd name="connsiteX0" fmla="*/ 282677 w 282677"/>
                      <a:gd name="connsiteY0" fmla="*/ 146050 h 282677"/>
                      <a:gd name="connsiteX1" fmla="*/ 0 w 282677"/>
                      <a:gd name="connsiteY1" fmla="*/ 146050 h 282677"/>
                      <a:gd name="connsiteX2" fmla="*/ 0 w 282677"/>
                      <a:gd name="connsiteY2" fmla="*/ 282677 h 282677"/>
                      <a:gd name="connsiteX3" fmla="*/ 0 w 282677"/>
                      <a:gd name="connsiteY3" fmla="*/ 0 h 282677"/>
                    </a:gdLst>
                    <a:ahLst/>
                    <a:cxnLst>
                      <a:cxn ang="0">
                        <a:pos x="connsiteX0" y="connsiteY0"/>
                      </a:cxn>
                      <a:cxn ang="0">
                        <a:pos x="connsiteX1" y="connsiteY1"/>
                      </a:cxn>
                      <a:cxn ang="0">
                        <a:pos x="connsiteX2" y="connsiteY2"/>
                      </a:cxn>
                      <a:cxn ang="0">
                        <a:pos x="connsiteX3" y="connsiteY3"/>
                      </a:cxn>
                    </a:cxnLst>
                    <a:rect l="l" t="t" r="r" b="b"/>
                    <a:pathLst>
                      <a:path w="282677" h="282677">
                        <a:moveTo>
                          <a:pt x="282677" y="146050"/>
                        </a:moveTo>
                        <a:lnTo>
                          <a:pt x="0" y="146050"/>
                        </a:lnTo>
                        <a:lnTo>
                          <a:pt x="0" y="282677"/>
                        </a:lnTo>
                        <a:lnTo>
                          <a:pt x="0" y="0"/>
                        </a:lnTo>
                      </a:path>
                    </a:pathLst>
                  </a:custGeom>
                  <a:noFill/>
                  <a:ln w="12700" cap="rnd">
                    <a:solidFill>
                      <a:schemeClr val="tx2"/>
                    </a:solidFill>
                    <a:prstDash val="solid"/>
                    <a:round/>
                  </a:ln>
                </p:spPr>
                <p:txBody>
                  <a:bodyPr rtlCol="0" anchor="ctr"/>
                  <a:lstStyle/>
                  <a:p>
                    <a:pPr>
                      <a:lnSpc>
                        <a:spcPct val="90000"/>
                      </a:lnSpc>
                    </a:pPr>
                    <a:endParaRPr lang="en-US" sz="1000"/>
                  </a:p>
                </p:txBody>
              </p:sp>
            </p:grpSp>
            <p:sp>
              <p:nvSpPr>
                <p:cNvPr id="541" name="TextBox 540">
                  <a:extLst>
                    <a:ext uri="{FF2B5EF4-FFF2-40B4-BE49-F238E27FC236}">
                      <a16:creationId xmlns:a16="http://schemas.microsoft.com/office/drawing/2014/main" id="{5D5C263D-B2BA-7C0C-3029-E9DE0E79807A}"/>
                    </a:ext>
                  </a:extLst>
                </p:cNvPr>
                <p:cNvSpPr txBox="1"/>
                <p:nvPr/>
              </p:nvSpPr>
              <p:spPr>
                <a:xfrm>
                  <a:off x="1353842" y="2937702"/>
                  <a:ext cx="791696" cy="274320"/>
                </a:xfrm>
                <a:prstGeom prst="rect">
                  <a:avLst/>
                </a:prstGeom>
                <a:noFill/>
                <a:effectLst/>
              </p:spPr>
              <p:txBody>
                <a:bodyPr wrap="square" lIns="0" rIns="0" rtlCol="0" anchor="ctr">
                  <a:noAutofit/>
                </a:bodyPr>
                <a:lstStyle/>
                <a:p>
                  <a:pPr defTabSz="914378">
                    <a:lnSpc>
                      <a:spcPct val="90000"/>
                    </a:lnSpc>
                    <a:spcAft>
                      <a:spcPts val="600"/>
                    </a:spcAft>
                    <a:buClr>
                      <a:srgbClr val="086F3C"/>
                    </a:buClr>
                    <a:defRPr/>
                  </a:pPr>
                  <a:r>
                    <a:rPr kumimoji="0" lang="en-US" sz="1000" b="1" i="0" u="none" strike="noStrike" kern="0" cap="none" spc="0" normalizeH="0" baseline="0" noProof="0">
                      <a:ln>
                        <a:noFill/>
                      </a:ln>
                      <a:solidFill>
                        <a:schemeClr val="accent3"/>
                      </a:solidFill>
                      <a:effectLst>
                        <a:glow>
                          <a:srgbClr val="000000"/>
                        </a:glow>
                      </a:effectLst>
                      <a:uLnTx/>
                      <a:uFillTx/>
                      <a:cs typeface="Arial" panose="020B0604020202020204" pitchFamily="34" charset="0"/>
                    </a:rPr>
                    <a:t>Stratification:</a:t>
                  </a:r>
                  <a:r>
                    <a:rPr kumimoji="0" lang="en-US" sz="1000" b="1" i="0" u="none" strike="noStrike" kern="0" cap="none" spc="0" normalizeH="0" baseline="30000" noProof="0">
                      <a:ln>
                        <a:noFill/>
                      </a:ln>
                      <a:solidFill>
                        <a:schemeClr val="accent3"/>
                      </a:solidFill>
                      <a:effectLst>
                        <a:glow>
                          <a:srgbClr val="000000"/>
                        </a:glow>
                      </a:effectLst>
                      <a:uLnTx/>
                      <a:uFillTx/>
                      <a:cs typeface="Arial" panose="020B0604020202020204" pitchFamily="34" charset="0"/>
                    </a:rPr>
                    <a:t>§</a:t>
                  </a:r>
                </a:p>
                <a:p>
                  <a:pPr marL="109728" indent="-109728" defTabSz="914378">
                    <a:lnSpc>
                      <a:spcPct val="90000"/>
                    </a:lnSpc>
                    <a:spcAft>
                      <a:spcPts val="600"/>
                    </a:spcAft>
                    <a:buClr>
                      <a:srgbClr val="086F3C"/>
                    </a:buClr>
                    <a:buFont typeface="Arial" panose="020B0604020202020204" pitchFamily="34" charset="0"/>
                    <a:buChar char="•"/>
                    <a:defRPr/>
                  </a:pPr>
                  <a:r>
                    <a:rPr kumimoji="0" lang="en-US" sz="1000" b="0" i="0" u="none" strike="noStrike" kern="0" cap="none" spc="0" normalizeH="0" baseline="0" noProof="0">
                      <a:ln>
                        <a:noFill/>
                      </a:ln>
                      <a:solidFill>
                        <a:schemeClr val="accent3"/>
                      </a:solidFill>
                      <a:effectLst>
                        <a:glow>
                          <a:srgbClr val="000000"/>
                        </a:glow>
                      </a:effectLst>
                      <a:uLnTx/>
                      <a:uFillTx/>
                      <a:cs typeface="Arial" panose="020B0604020202020204" pitchFamily="34" charset="0"/>
                    </a:rPr>
                    <a:t>IIM subtype</a:t>
                  </a:r>
                </a:p>
                <a:p>
                  <a:pPr marL="109728" indent="-109728" defTabSz="914378">
                    <a:lnSpc>
                      <a:spcPct val="90000"/>
                    </a:lnSpc>
                    <a:spcAft>
                      <a:spcPts val="600"/>
                    </a:spcAft>
                    <a:buClr>
                      <a:srgbClr val="086F3C"/>
                    </a:buClr>
                    <a:buFont typeface="Arial" panose="020B0604020202020204" pitchFamily="34" charset="0"/>
                    <a:buChar char="•"/>
                    <a:defRPr/>
                  </a:pPr>
                  <a:r>
                    <a:rPr kumimoji="0" lang="en-US" sz="1000" b="0" i="0" u="none" strike="noStrike" kern="0" cap="none" spc="0" normalizeH="0" baseline="0" noProof="0">
                      <a:ln>
                        <a:noFill/>
                      </a:ln>
                      <a:solidFill>
                        <a:schemeClr val="accent3"/>
                      </a:solidFill>
                      <a:effectLst>
                        <a:glow>
                          <a:srgbClr val="000000"/>
                        </a:glow>
                      </a:effectLst>
                      <a:uLnTx/>
                      <a:uFillTx/>
                      <a:cs typeface="Arial" panose="020B0604020202020204" pitchFamily="34" charset="0"/>
                    </a:rPr>
                    <a:t>MDGA</a:t>
                  </a:r>
                </a:p>
              </p:txBody>
            </p:sp>
            <p:sp>
              <p:nvSpPr>
                <p:cNvPr id="542" name="Graphic 2771">
                  <a:extLst>
                    <a:ext uri="{FF2B5EF4-FFF2-40B4-BE49-F238E27FC236}">
                      <a16:creationId xmlns:a16="http://schemas.microsoft.com/office/drawing/2014/main" id="{8FC85311-6948-B111-5070-AA708EC298C7}"/>
                    </a:ext>
                  </a:extLst>
                </p:cNvPr>
                <p:cNvSpPr/>
                <p:nvPr/>
              </p:nvSpPr>
              <p:spPr>
                <a:xfrm rot="10800000">
                  <a:off x="1776535" y="2499708"/>
                  <a:ext cx="1802004" cy="321635"/>
                </a:xfrm>
                <a:custGeom>
                  <a:avLst/>
                  <a:gdLst>
                    <a:gd name="connsiteX0" fmla="*/ 282677 w 282677"/>
                    <a:gd name="connsiteY0" fmla="*/ 146050 h 282677"/>
                    <a:gd name="connsiteX1" fmla="*/ 0 w 282677"/>
                    <a:gd name="connsiteY1" fmla="*/ 146050 h 282677"/>
                    <a:gd name="connsiteX2" fmla="*/ 0 w 282677"/>
                    <a:gd name="connsiteY2" fmla="*/ 282677 h 282677"/>
                    <a:gd name="connsiteX3" fmla="*/ 0 w 282677"/>
                    <a:gd name="connsiteY3" fmla="*/ 0 h 282677"/>
                  </a:gdLst>
                  <a:ahLst/>
                  <a:cxnLst>
                    <a:cxn ang="0">
                      <a:pos x="connsiteX0" y="connsiteY0"/>
                    </a:cxn>
                    <a:cxn ang="0">
                      <a:pos x="connsiteX1" y="connsiteY1"/>
                    </a:cxn>
                    <a:cxn ang="0">
                      <a:pos x="connsiteX2" y="connsiteY2"/>
                    </a:cxn>
                    <a:cxn ang="0">
                      <a:pos x="connsiteX3" y="connsiteY3"/>
                    </a:cxn>
                  </a:cxnLst>
                  <a:rect l="l" t="t" r="r" b="b"/>
                  <a:pathLst>
                    <a:path w="282677" h="282677">
                      <a:moveTo>
                        <a:pt x="282677" y="146050"/>
                      </a:moveTo>
                      <a:lnTo>
                        <a:pt x="0" y="146050"/>
                      </a:lnTo>
                      <a:lnTo>
                        <a:pt x="0" y="282677"/>
                      </a:lnTo>
                      <a:lnTo>
                        <a:pt x="0" y="0"/>
                      </a:lnTo>
                    </a:path>
                  </a:pathLst>
                </a:custGeom>
                <a:noFill/>
                <a:ln w="12700" cap="rnd">
                  <a:solidFill>
                    <a:schemeClr val="tx2"/>
                  </a:solidFill>
                  <a:prstDash val="solid"/>
                  <a:round/>
                </a:ln>
              </p:spPr>
              <p:txBody>
                <a:bodyPr rtlCol="0" anchor="ctr"/>
                <a:lstStyle/>
                <a:p>
                  <a:pPr>
                    <a:lnSpc>
                      <a:spcPct val="90000"/>
                    </a:lnSpc>
                  </a:pPr>
                  <a:endParaRPr lang="en-US" sz="1000"/>
                </a:p>
              </p:txBody>
            </p:sp>
            <p:sp>
              <p:nvSpPr>
                <p:cNvPr id="543" name="Rectangle: Rounded Corners 183">
                  <a:extLst>
                    <a:ext uri="{FF2B5EF4-FFF2-40B4-BE49-F238E27FC236}">
                      <a16:creationId xmlns:a16="http://schemas.microsoft.com/office/drawing/2014/main" id="{F940C223-3C96-9E22-F084-20B84DAAC734}"/>
                    </a:ext>
                  </a:extLst>
                </p:cNvPr>
                <p:cNvSpPr/>
                <p:nvPr/>
              </p:nvSpPr>
              <p:spPr>
                <a:xfrm>
                  <a:off x="606690" y="2472998"/>
                  <a:ext cx="2286000" cy="365760"/>
                </a:xfrm>
                <a:prstGeom prst="roundRect">
                  <a:avLst>
                    <a:gd name="adj" fmla="val 50000"/>
                  </a:avLst>
                </a:prstGeom>
                <a:solidFill>
                  <a:srgbClr val="0B436E"/>
                </a:solidFill>
                <a:ln w="19050" cap="flat" cmpd="sng" algn="ctr">
                  <a:noFill/>
                  <a:prstDash val="solid"/>
                  <a:miter lim="800000"/>
                </a:ln>
                <a:effectLst/>
              </p:spPr>
              <p:txBody>
                <a:bodyPr lIns="0" r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IN" sz="1000" b="1" i="0" u="none" strike="noStrike" kern="0" cap="none" spc="0" normalizeH="0" baseline="0" noProof="0">
                      <a:ln>
                        <a:noFill/>
                      </a:ln>
                      <a:solidFill>
                        <a:srgbClr val="FFFFFF"/>
                      </a:solidFill>
                      <a:effectLst/>
                      <a:uLnTx/>
                      <a:uFillTx/>
                    </a:rPr>
                    <a:t>SCREENING</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4–6 weeks</a:t>
                  </a:r>
                </a:p>
              </p:txBody>
            </p:sp>
            <p:grpSp>
              <p:nvGrpSpPr>
                <p:cNvPr id="544" name="Group 543">
                  <a:extLst>
                    <a:ext uri="{FF2B5EF4-FFF2-40B4-BE49-F238E27FC236}">
                      <a16:creationId xmlns:a16="http://schemas.microsoft.com/office/drawing/2014/main" id="{2544125C-B4EE-AB58-2647-405D83AED04A}"/>
                    </a:ext>
                  </a:extLst>
                </p:cNvPr>
                <p:cNvGrpSpPr/>
                <p:nvPr/>
              </p:nvGrpSpPr>
              <p:grpSpPr>
                <a:xfrm>
                  <a:off x="8604232" y="2499708"/>
                  <a:ext cx="695078" cy="321635"/>
                  <a:chOff x="8604232" y="2290700"/>
                  <a:chExt cx="695078" cy="321635"/>
                </a:xfrm>
              </p:grpSpPr>
              <p:sp>
                <p:nvSpPr>
                  <p:cNvPr id="550" name="Graphic 2771">
                    <a:extLst>
                      <a:ext uri="{FF2B5EF4-FFF2-40B4-BE49-F238E27FC236}">
                        <a16:creationId xmlns:a16="http://schemas.microsoft.com/office/drawing/2014/main" id="{E9CB898E-3625-CA9D-5B3C-E67487C66B57}"/>
                      </a:ext>
                    </a:extLst>
                  </p:cNvPr>
                  <p:cNvSpPr/>
                  <p:nvPr/>
                </p:nvSpPr>
                <p:spPr>
                  <a:xfrm rot="10800000" flipH="1">
                    <a:off x="8604232" y="2290700"/>
                    <a:ext cx="695078" cy="321635"/>
                  </a:xfrm>
                  <a:custGeom>
                    <a:avLst/>
                    <a:gdLst>
                      <a:gd name="connsiteX0" fmla="*/ 282677 w 282677"/>
                      <a:gd name="connsiteY0" fmla="*/ 146050 h 282677"/>
                      <a:gd name="connsiteX1" fmla="*/ 0 w 282677"/>
                      <a:gd name="connsiteY1" fmla="*/ 146050 h 282677"/>
                      <a:gd name="connsiteX2" fmla="*/ 0 w 282677"/>
                      <a:gd name="connsiteY2" fmla="*/ 282677 h 282677"/>
                      <a:gd name="connsiteX3" fmla="*/ 0 w 282677"/>
                      <a:gd name="connsiteY3" fmla="*/ 0 h 282677"/>
                    </a:gdLst>
                    <a:ahLst/>
                    <a:cxnLst>
                      <a:cxn ang="0">
                        <a:pos x="connsiteX0" y="connsiteY0"/>
                      </a:cxn>
                      <a:cxn ang="0">
                        <a:pos x="connsiteX1" y="connsiteY1"/>
                      </a:cxn>
                      <a:cxn ang="0">
                        <a:pos x="connsiteX2" y="connsiteY2"/>
                      </a:cxn>
                      <a:cxn ang="0">
                        <a:pos x="connsiteX3" y="connsiteY3"/>
                      </a:cxn>
                    </a:cxnLst>
                    <a:rect l="l" t="t" r="r" b="b"/>
                    <a:pathLst>
                      <a:path w="282677" h="282677">
                        <a:moveTo>
                          <a:pt x="282677" y="146050"/>
                        </a:moveTo>
                        <a:lnTo>
                          <a:pt x="0" y="146050"/>
                        </a:lnTo>
                        <a:lnTo>
                          <a:pt x="0" y="282677"/>
                        </a:lnTo>
                        <a:lnTo>
                          <a:pt x="0" y="0"/>
                        </a:lnTo>
                      </a:path>
                    </a:pathLst>
                  </a:custGeom>
                  <a:noFill/>
                  <a:ln w="12700" cap="rnd">
                    <a:solidFill>
                      <a:schemeClr val="tx2"/>
                    </a:solidFill>
                    <a:prstDash val="solid"/>
                    <a:round/>
                  </a:ln>
                </p:spPr>
                <p:txBody>
                  <a:bodyPr rtlCol="0" anchor="ctr"/>
                  <a:lstStyle/>
                  <a:p>
                    <a:pPr>
                      <a:lnSpc>
                        <a:spcPct val="90000"/>
                      </a:lnSpc>
                    </a:pPr>
                    <a:endParaRPr lang="en-US" sz="1000"/>
                  </a:p>
                </p:txBody>
              </p:sp>
              <p:sp>
                <p:nvSpPr>
                  <p:cNvPr id="551" name="Graphic 2771">
                    <a:extLst>
                      <a:ext uri="{FF2B5EF4-FFF2-40B4-BE49-F238E27FC236}">
                        <a16:creationId xmlns:a16="http://schemas.microsoft.com/office/drawing/2014/main" id="{C9233D3C-6399-EE8D-27A9-10AF463E4A4E}"/>
                      </a:ext>
                    </a:extLst>
                  </p:cNvPr>
                  <p:cNvSpPr/>
                  <p:nvPr/>
                </p:nvSpPr>
                <p:spPr>
                  <a:xfrm rot="10800000" flipH="1">
                    <a:off x="9299310" y="2290700"/>
                    <a:ext cx="0" cy="321635"/>
                  </a:xfrm>
                  <a:custGeom>
                    <a:avLst/>
                    <a:gdLst>
                      <a:gd name="connsiteX0" fmla="*/ 282677 w 282677"/>
                      <a:gd name="connsiteY0" fmla="*/ 146050 h 282677"/>
                      <a:gd name="connsiteX1" fmla="*/ 0 w 282677"/>
                      <a:gd name="connsiteY1" fmla="*/ 146050 h 282677"/>
                      <a:gd name="connsiteX2" fmla="*/ 0 w 282677"/>
                      <a:gd name="connsiteY2" fmla="*/ 282677 h 282677"/>
                      <a:gd name="connsiteX3" fmla="*/ 0 w 282677"/>
                      <a:gd name="connsiteY3" fmla="*/ 0 h 282677"/>
                      <a:gd name="connsiteX0" fmla="*/ 0 w 0"/>
                      <a:gd name="connsiteY0" fmla="*/ 146050 h 282677"/>
                      <a:gd name="connsiteX1" fmla="*/ 0 w 0"/>
                      <a:gd name="connsiteY1" fmla="*/ 282677 h 282677"/>
                      <a:gd name="connsiteX2" fmla="*/ 0 w 0"/>
                      <a:gd name="connsiteY2" fmla="*/ 0 h 282677"/>
                    </a:gdLst>
                    <a:ahLst/>
                    <a:cxnLst>
                      <a:cxn ang="0">
                        <a:pos x="connsiteX0" y="connsiteY0"/>
                      </a:cxn>
                      <a:cxn ang="0">
                        <a:pos x="connsiteX1" y="connsiteY1"/>
                      </a:cxn>
                      <a:cxn ang="0">
                        <a:pos x="connsiteX2" y="connsiteY2"/>
                      </a:cxn>
                    </a:cxnLst>
                    <a:rect l="l" t="t" r="r" b="b"/>
                    <a:pathLst>
                      <a:path h="282677">
                        <a:moveTo>
                          <a:pt x="0" y="146050"/>
                        </a:moveTo>
                        <a:lnTo>
                          <a:pt x="0" y="282677"/>
                        </a:lnTo>
                        <a:lnTo>
                          <a:pt x="0" y="0"/>
                        </a:lnTo>
                      </a:path>
                    </a:pathLst>
                  </a:custGeom>
                  <a:noFill/>
                  <a:ln w="12700" cap="rnd">
                    <a:solidFill>
                      <a:schemeClr val="tx2"/>
                    </a:solidFill>
                    <a:prstDash val="solid"/>
                    <a:round/>
                  </a:ln>
                </p:spPr>
                <p:txBody>
                  <a:bodyPr rtlCol="0" anchor="ctr"/>
                  <a:lstStyle/>
                  <a:p>
                    <a:pPr>
                      <a:lnSpc>
                        <a:spcPct val="90000"/>
                      </a:lnSpc>
                    </a:pPr>
                    <a:endParaRPr lang="en-US" sz="1000"/>
                  </a:p>
                </p:txBody>
              </p:sp>
            </p:grpSp>
            <p:sp>
              <p:nvSpPr>
                <p:cNvPr id="545" name="object 133">
                  <a:extLst>
                    <a:ext uri="{FF2B5EF4-FFF2-40B4-BE49-F238E27FC236}">
                      <a16:creationId xmlns:a16="http://schemas.microsoft.com/office/drawing/2014/main" id="{9363C594-933E-F126-96D0-A0666C00138C}"/>
                    </a:ext>
                  </a:extLst>
                </p:cNvPr>
                <p:cNvSpPr txBox="1"/>
                <p:nvPr/>
              </p:nvSpPr>
              <p:spPr>
                <a:xfrm rot="5400000">
                  <a:off x="9235686" y="2564438"/>
                  <a:ext cx="121119" cy="182880"/>
                </a:xfrm>
                <a:prstGeom prst="ellipse">
                  <a:avLst/>
                </a:prstGeom>
                <a:solidFill>
                  <a:schemeClr val="bg1"/>
                </a:solidFill>
                <a:ln>
                  <a:solidFill>
                    <a:schemeClr val="tx1"/>
                  </a:solidFill>
                </a:ln>
              </p:spPr>
              <p:txBody>
                <a:bodyPr vert="vert270" wrap="none" lIns="0" tIns="10918" rIns="0" bIns="0" rtlCol="0" anchor="ctr">
                  <a:noAutofit/>
                </a:bodyPr>
                <a:lstStyle/>
                <a:p>
                  <a:pPr marL="15597" algn="ctr" defTabSz="1681490">
                    <a:spcBef>
                      <a:spcPts val="85"/>
                    </a:spcBef>
                  </a:pPr>
                  <a:r>
                    <a:rPr lang="en-GB" sz="700" spc="-18">
                      <a:solidFill>
                        <a:schemeClr val="tx2"/>
                      </a:solidFill>
                      <a:cs typeface="Calibri"/>
                    </a:rPr>
                    <a:t>OR</a:t>
                  </a:r>
                  <a:endParaRPr lang="en-GB" sz="700">
                    <a:solidFill>
                      <a:schemeClr val="tx2"/>
                    </a:solidFill>
                    <a:cs typeface="Calibri"/>
                  </a:endParaRPr>
                </a:p>
              </p:txBody>
            </p:sp>
            <p:sp>
              <p:nvSpPr>
                <p:cNvPr id="546" name="Rectangle: Rounded Corners 183">
                  <a:extLst>
                    <a:ext uri="{FF2B5EF4-FFF2-40B4-BE49-F238E27FC236}">
                      <a16:creationId xmlns:a16="http://schemas.microsoft.com/office/drawing/2014/main" id="{4F6BAF1C-5247-B8A8-6B8D-4042D87CD1A3}"/>
                    </a:ext>
                  </a:extLst>
                </p:cNvPr>
                <p:cNvSpPr/>
                <p:nvPr/>
              </p:nvSpPr>
              <p:spPr>
                <a:xfrm>
                  <a:off x="9299310" y="2161814"/>
                  <a:ext cx="2286000" cy="365760"/>
                </a:xfrm>
                <a:prstGeom prst="roundRect">
                  <a:avLst>
                    <a:gd name="adj" fmla="val 50000"/>
                  </a:avLst>
                </a:prstGeom>
                <a:solidFill>
                  <a:schemeClr val="accent2">
                    <a:lumMod val="25000"/>
                  </a:schemeClr>
                </a:solidFill>
                <a:ln w="19050" cap="flat" cmpd="sng" algn="ctr">
                  <a:noFill/>
                  <a:prstDash val="solid"/>
                  <a:miter lim="800000"/>
                </a:ln>
                <a:effectLst/>
              </p:spPr>
              <p:txBody>
                <a:bodyPr lIns="0" r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IN" sz="1000" b="1" i="0" u="none" strike="noStrike" kern="0" cap="none" spc="0" normalizeH="0" baseline="0" noProof="0" dirty="0">
                      <a:ln>
                        <a:noFill/>
                      </a:ln>
                      <a:solidFill>
                        <a:srgbClr val="FFFFFF"/>
                      </a:solidFill>
                      <a:effectLst/>
                      <a:uLnTx/>
                      <a:uFillTx/>
                    </a:rPr>
                    <a:t>ARGX-113-2011 OLE</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rPr>
                    <a:t>51-month treatment period</a:t>
                  </a:r>
                  <a:br>
                    <a:rPr kumimoji="0" lang="en-US" sz="800" i="0" u="none" strike="noStrike" kern="0" cap="none" spc="0" normalizeH="0" baseline="0" noProof="0" dirty="0">
                      <a:ln>
                        <a:noFill/>
                      </a:ln>
                      <a:solidFill>
                        <a:srgbClr val="FFFFFF"/>
                      </a:solidFill>
                      <a:effectLst/>
                      <a:uLnTx/>
                      <a:uFillTx/>
                    </a:rPr>
                  </a:br>
                  <a:r>
                    <a:rPr kumimoji="0" lang="en-US" sz="800" i="0" u="none" strike="noStrike" kern="0" cap="none" spc="0" normalizeH="0" baseline="0" noProof="0" dirty="0">
                      <a:ln>
                        <a:noFill/>
                      </a:ln>
                      <a:solidFill>
                        <a:srgbClr val="FFFFFF"/>
                      </a:solidFill>
                      <a:effectLst/>
                      <a:uLnTx/>
                      <a:uFillTx/>
                    </a:rPr>
                    <a:t>Objective: long-term safety and efficacy </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solidFill>
                        <a:srgbClr val="FFFFFF"/>
                      </a:solidFill>
                      <a:effectLst/>
                      <a:uLnTx/>
                      <a:uFillTx/>
                    </a:rPr>
                    <a:t>Efgartigimod PH20 SC 1000 mg once weekly</a:t>
                  </a:r>
                </a:p>
              </p:txBody>
            </p:sp>
            <p:sp>
              <p:nvSpPr>
                <p:cNvPr id="547" name="Rectangle: Rounded Corners 183">
                  <a:extLst>
                    <a:ext uri="{FF2B5EF4-FFF2-40B4-BE49-F238E27FC236}">
                      <a16:creationId xmlns:a16="http://schemas.microsoft.com/office/drawing/2014/main" id="{39A6063F-6613-49B4-F61A-A0A834FF0ADB}"/>
                    </a:ext>
                  </a:extLst>
                </p:cNvPr>
                <p:cNvSpPr/>
                <p:nvPr/>
              </p:nvSpPr>
              <p:spPr>
                <a:xfrm>
                  <a:off x="9299310" y="2788538"/>
                  <a:ext cx="2286000" cy="365760"/>
                </a:xfrm>
                <a:prstGeom prst="roundRect">
                  <a:avLst>
                    <a:gd name="adj" fmla="val 50000"/>
                  </a:avLst>
                </a:prstGeom>
                <a:solidFill>
                  <a:srgbClr val="086F3C"/>
                </a:solidFill>
                <a:ln w="19050" cap="flat" cmpd="sng" algn="ctr">
                  <a:noFill/>
                  <a:prstDash val="solid"/>
                  <a:miter lim="800000"/>
                </a:ln>
                <a:effectLst/>
              </p:spPr>
              <p:txBody>
                <a:bodyPr lIns="0" r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IN" sz="1000" b="1" i="0" u="none" strike="noStrike" kern="0" cap="none" spc="0" normalizeH="0" baseline="0" noProof="0">
                      <a:ln>
                        <a:noFill/>
                      </a:ln>
                      <a:solidFill>
                        <a:srgbClr val="FFFFFF"/>
                      </a:solidFill>
                      <a:effectLst/>
                      <a:uLnTx/>
                      <a:uFillTx/>
                    </a:rPr>
                    <a:t>SAFETY FOLLOW-UP</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56 days after last dose</a:t>
                  </a:r>
                </a:p>
              </p:txBody>
            </p:sp>
            <p:sp>
              <p:nvSpPr>
                <p:cNvPr id="548" name="Rectangle: Rounded Corners 183">
                  <a:extLst>
                    <a:ext uri="{FF2B5EF4-FFF2-40B4-BE49-F238E27FC236}">
                      <a16:creationId xmlns:a16="http://schemas.microsoft.com/office/drawing/2014/main" id="{EC8CF52B-6C98-93DF-7A88-021AA2445E3E}"/>
                    </a:ext>
                  </a:extLst>
                </p:cNvPr>
                <p:cNvSpPr/>
                <p:nvPr/>
              </p:nvSpPr>
              <p:spPr>
                <a:xfrm>
                  <a:off x="9018054" y="2161814"/>
                  <a:ext cx="561021" cy="365760"/>
                </a:xfrm>
                <a:prstGeom prst="roundRect">
                  <a:avLst>
                    <a:gd name="adj" fmla="val 50000"/>
                  </a:avLst>
                </a:prstGeom>
                <a:solidFill>
                  <a:schemeClr val="bg1"/>
                </a:solidFill>
                <a:ln w="6350" cap="flat" cmpd="sng" algn="ctr">
                  <a:solidFill>
                    <a:schemeClr val="accent2">
                      <a:lumMod val="25000"/>
                    </a:schemeClr>
                  </a:solidFill>
                  <a:prstDash val="solid"/>
                  <a:miter lim="800000"/>
                </a:ln>
                <a:effectLst/>
              </p:spPr>
              <p:txBody>
                <a:bodyPr wrap="none" lIns="0" rIns="0" rtlCol="0" anchor="ctr"/>
                <a:lstStyle/>
                <a:p>
                  <a:pPr marL="15597" algn="ctr" defTabSz="1681490">
                    <a:spcBef>
                      <a:spcPts val="140"/>
                    </a:spcBef>
                  </a:pPr>
                  <a:r>
                    <a:rPr lang="en-GB" sz="800" spc="6" dirty="0">
                      <a:solidFill>
                        <a:schemeClr val="tx1">
                          <a:lumMod val="65000"/>
                          <a:lumOff val="35000"/>
                        </a:schemeClr>
                      </a:solidFill>
                      <a:cs typeface="Calibri"/>
                    </a:rPr>
                    <a:t>R</a:t>
                  </a:r>
                  <a:r>
                    <a:rPr lang="en-GB" sz="800" dirty="0">
                      <a:solidFill>
                        <a:schemeClr val="tx1">
                          <a:lumMod val="65000"/>
                          <a:lumOff val="35000"/>
                        </a:schemeClr>
                      </a:solidFill>
                      <a:cs typeface="Calibri"/>
                    </a:rPr>
                    <a:t>ollo</a:t>
                  </a:r>
                  <a:r>
                    <a:rPr lang="en-GB" sz="800" spc="6" dirty="0">
                      <a:solidFill>
                        <a:schemeClr val="tx1">
                          <a:lumMod val="65000"/>
                          <a:lumOff val="35000"/>
                        </a:schemeClr>
                      </a:solidFill>
                      <a:cs typeface="Calibri"/>
                    </a:rPr>
                    <a:t>ver</a:t>
                  </a:r>
                  <a:endParaRPr lang="en-GB" sz="800" dirty="0">
                    <a:solidFill>
                      <a:schemeClr val="tx1">
                        <a:lumMod val="65000"/>
                        <a:lumOff val="35000"/>
                      </a:schemeClr>
                    </a:solidFill>
                    <a:cs typeface="Calibri"/>
                  </a:endParaRPr>
                </a:p>
              </p:txBody>
            </p:sp>
            <p:sp>
              <p:nvSpPr>
                <p:cNvPr id="549" name="Rectangle: Rounded Corners 183">
                  <a:extLst>
                    <a:ext uri="{FF2B5EF4-FFF2-40B4-BE49-F238E27FC236}">
                      <a16:creationId xmlns:a16="http://schemas.microsoft.com/office/drawing/2014/main" id="{5687A50C-6145-1D5F-3999-968E28FDCBF2}"/>
                    </a:ext>
                  </a:extLst>
                </p:cNvPr>
                <p:cNvSpPr/>
                <p:nvPr/>
              </p:nvSpPr>
              <p:spPr>
                <a:xfrm>
                  <a:off x="9018054" y="2788538"/>
                  <a:ext cx="561021" cy="365760"/>
                </a:xfrm>
                <a:prstGeom prst="roundRect">
                  <a:avLst>
                    <a:gd name="adj" fmla="val 50000"/>
                  </a:avLst>
                </a:prstGeom>
                <a:solidFill>
                  <a:schemeClr val="bg1"/>
                </a:solidFill>
                <a:ln w="6350" cap="flat" cmpd="sng" algn="ctr">
                  <a:solidFill>
                    <a:srgbClr val="086F3C"/>
                  </a:solidFill>
                  <a:prstDash val="solid"/>
                  <a:miter lim="800000"/>
                </a:ln>
                <a:effectLst/>
              </p:spPr>
              <p:txBody>
                <a:bodyPr wrap="none" lIns="0" rIns="0" rtlCol="0" anchor="ctr"/>
                <a:lstStyle/>
                <a:p>
                  <a:pPr marL="154406" marR="6237" indent="-139589" algn="ctr" defTabSz="1681490">
                    <a:lnSpc>
                      <a:spcPct val="102600"/>
                    </a:lnSpc>
                    <a:spcBef>
                      <a:spcPts val="91"/>
                    </a:spcBef>
                  </a:pPr>
                  <a:r>
                    <a:rPr lang="en-GB" sz="800" spc="6">
                      <a:solidFill>
                        <a:schemeClr val="tx2"/>
                      </a:solidFill>
                      <a:cs typeface="Calibri"/>
                    </a:rPr>
                    <a:t>Follow-up </a:t>
                  </a:r>
                  <a:endParaRPr lang="en-GB" sz="800">
                    <a:solidFill>
                      <a:schemeClr val="tx2"/>
                    </a:solidFill>
                    <a:cs typeface="Calibri"/>
                  </a:endParaRPr>
                </a:p>
              </p:txBody>
            </p:sp>
          </p:grpSp>
          <p:cxnSp>
            <p:nvCxnSpPr>
              <p:cNvPr id="538" name="Straight Connector 537">
                <a:extLst>
                  <a:ext uri="{FF2B5EF4-FFF2-40B4-BE49-F238E27FC236}">
                    <a16:creationId xmlns:a16="http://schemas.microsoft.com/office/drawing/2014/main" id="{D36C5980-F551-DD4B-3A65-090C0BE3A64F}"/>
                  </a:ext>
                </a:extLst>
              </p:cNvPr>
              <p:cNvCxnSpPr>
                <a:cxnSpLocks/>
              </p:cNvCxnSpPr>
              <p:nvPr/>
            </p:nvCxnSpPr>
            <p:spPr>
              <a:xfrm>
                <a:off x="3352800" y="5776306"/>
                <a:ext cx="5486400" cy="0"/>
              </a:xfrm>
              <a:prstGeom prst="line">
                <a:avLst/>
              </a:prstGeom>
              <a:noFill/>
              <a:ln w="12700" cap="rnd" cmpd="sng" algn="ctr">
                <a:solidFill>
                  <a:schemeClr val="tx2">
                    <a:alpha val="25000"/>
                  </a:schemeClr>
                </a:solidFill>
                <a:prstDash val="solid"/>
                <a:round/>
              </a:ln>
              <a:effectLst/>
            </p:spPr>
          </p:cxnSp>
        </p:grpSp>
        <p:pic>
          <p:nvPicPr>
            <p:cNvPr id="528" name="Picture 2" descr="ALKIVIA Study">
              <a:extLst>
                <a:ext uri="{FF2B5EF4-FFF2-40B4-BE49-F238E27FC236}">
                  <a16:creationId xmlns:a16="http://schemas.microsoft.com/office/drawing/2014/main" id="{0AF8FF2A-C9EC-2D27-8CCD-9BB8C7DAFD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0085" y="4690384"/>
              <a:ext cx="1759211" cy="810303"/>
            </a:xfrm>
            <a:prstGeom prst="roundRect">
              <a:avLst>
                <a:gd name="adj" fmla="val 24622"/>
              </a:avLst>
            </a:prstGeom>
            <a:noFill/>
            <a:extLst>
              <a:ext uri="{909E8E84-426E-40DD-AFC4-6F175D3DCCD1}">
                <a14:hiddenFill xmlns:a14="http://schemas.microsoft.com/office/drawing/2010/main">
                  <a:solidFill>
                    <a:srgbClr val="FFFFFF"/>
                  </a:solidFill>
                </a14:hiddenFill>
              </a:ext>
            </a:extLst>
          </p:spPr>
        </p:pic>
      </p:grpSp>
      <p:sp>
        <p:nvSpPr>
          <p:cNvPr id="158" name="Rectangle: Rounded Corners 183">
            <a:extLst>
              <a:ext uri="{FF2B5EF4-FFF2-40B4-BE49-F238E27FC236}">
                <a16:creationId xmlns:a16="http://schemas.microsoft.com/office/drawing/2014/main" id="{5DA98A22-56F0-A45E-CDBE-D63AEA710D0D}"/>
              </a:ext>
            </a:extLst>
          </p:cNvPr>
          <p:cNvSpPr/>
          <p:nvPr/>
        </p:nvSpPr>
        <p:spPr>
          <a:xfrm>
            <a:off x="3575032" y="1766060"/>
            <a:ext cx="5029200" cy="552272"/>
          </a:xfrm>
          <a:prstGeom prst="roundRect">
            <a:avLst>
              <a:gd name="adj" fmla="val 50000"/>
            </a:avLst>
          </a:prstGeom>
          <a:solidFill>
            <a:schemeClr val="accent2">
              <a:lumMod val="90000"/>
              <a:alpha val="15000"/>
            </a:schemeClr>
          </a:solidFill>
          <a:ln w="19050" cap="flat" cmpd="sng" algn="ctr">
            <a:noFill/>
            <a:prstDash val="solid"/>
            <a:miter lim="800000"/>
          </a:ln>
          <a:effectLst/>
        </p:spPr>
        <p:txBody>
          <a:bodyPr lIns="0" rIns="0" rtlCol="0" anchor="ctr"/>
          <a:lstStyle/>
          <a:p>
            <a:pPr marL="0" marR="0" lvl="0" indent="0" algn="ctr" defTabSz="914400" eaLnBrk="1" fontAlgn="auto" latinLnBrk="0" hangingPunct="1">
              <a:lnSpc>
                <a:spcPct val="90000"/>
              </a:lnSpc>
              <a:spcBef>
                <a:spcPts val="0"/>
              </a:spcBef>
              <a:buClrTx/>
              <a:buSzTx/>
              <a:buFontTx/>
              <a:buNone/>
              <a:tabLst/>
              <a:defRPr/>
            </a:pPr>
            <a:endParaRPr kumimoji="0" lang="en-IN" sz="1000" i="0" u="none" strike="noStrike" kern="0" cap="none" spc="0" normalizeH="0" baseline="0" noProof="0">
              <a:ln>
                <a:noFill/>
              </a:ln>
              <a:solidFill>
                <a:srgbClr val="FFFFFF"/>
              </a:solidFill>
              <a:effectLst/>
              <a:uLnTx/>
              <a:uFillTx/>
            </a:endParaRPr>
          </a:p>
        </p:txBody>
      </p:sp>
      <p:sp>
        <p:nvSpPr>
          <p:cNvPr id="159" name="Rectangle: Rounded Corners 183">
            <a:extLst>
              <a:ext uri="{FF2B5EF4-FFF2-40B4-BE49-F238E27FC236}">
                <a16:creationId xmlns:a16="http://schemas.microsoft.com/office/drawing/2014/main" id="{FA9623D9-204D-857B-A800-9078E9D20069}"/>
              </a:ext>
            </a:extLst>
          </p:cNvPr>
          <p:cNvSpPr/>
          <p:nvPr/>
        </p:nvSpPr>
        <p:spPr>
          <a:xfrm>
            <a:off x="3575032" y="2719838"/>
            <a:ext cx="5029200" cy="552272"/>
          </a:xfrm>
          <a:prstGeom prst="roundRect">
            <a:avLst>
              <a:gd name="adj" fmla="val 50000"/>
            </a:avLst>
          </a:prstGeom>
          <a:solidFill>
            <a:schemeClr val="accent1">
              <a:lumMod val="60000"/>
              <a:lumOff val="40000"/>
              <a:alpha val="15000"/>
            </a:schemeClr>
          </a:solidFill>
          <a:ln w="12700" cap="flat" cmpd="sng" algn="ctr">
            <a:noFill/>
            <a:prstDash val="solid"/>
            <a:miter lim="800000"/>
          </a:ln>
          <a:effectLst/>
        </p:spPr>
        <p:txBody>
          <a:bodyPr rtlCol="0" anchor="ctr"/>
          <a:lstStyle/>
          <a:p>
            <a:pPr algn="ctr" defTabSz="914400">
              <a:lnSpc>
                <a:spcPct val="90000"/>
              </a:lnSpc>
              <a:defRPr/>
            </a:pPr>
            <a:endParaRPr lang="en-IN" sz="1000" kern="0">
              <a:solidFill>
                <a:srgbClr val="FFFFFF"/>
              </a:solidFill>
            </a:endParaRPr>
          </a:p>
        </p:txBody>
      </p:sp>
      <p:sp>
        <p:nvSpPr>
          <p:cNvPr id="160" name="object 111">
            <a:extLst>
              <a:ext uri="{FF2B5EF4-FFF2-40B4-BE49-F238E27FC236}">
                <a16:creationId xmlns:a16="http://schemas.microsoft.com/office/drawing/2014/main" id="{58AAFC05-F9A4-974D-8416-A70651401C85}"/>
              </a:ext>
            </a:extLst>
          </p:cNvPr>
          <p:cNvSpPr txBox="1"/>
          <p:nvPr/>
        </p:nvSpPr>
        <p:spPr>
          <a:xfrm>
            <a:off x="4847230" y="3085738"/>
            <a:ext cx="2555956" cy="141220"/>
          </a:xfrm>
          <a:prstGeom prst="rect">
            <a:avLst/>
          </a:prstGeom>
        </p:spPr>
        <p:txBody>
          <a:bodyPr vert="horz" wrap="none" lIns="0" tIns="17934" rIns="0" bIns="0" rtlCol="0">
            <a:spAutoFit/>
          </a:bodyPr>
          <a:lstStyle/>
          <a:p>
            <a:pPr marL="15597" algn="ctr" defTabSz="1681490">
              <a:spcBef>
                <a:spcPts val="140"/>
              </a:spcBef>
            </a:pPr>
            <a:r>
              <a:rPr lang="en-GB" sz="800" b="1" spc="6" dirty="0">
                <a:solidFill>
                  <a:schemeClr val="tx2"/>
                </a:solidFill>
                <a:cs typeface="Calibri"/>
              </a:rPr>
              <a:t>Placebo </a:t>
            </a:r>
            <a:r>
              <a:rPr lang="en-GB" sz="800" b="1" spc="-6" dirty="0">
                <a:solidFill>
                  <a:schemeClr val="tx2"/>
                </a:solidFill>
                <a:cs typeface="Calibri"/>
              </a:rPr>
              <a:t>PH20</a:t>
            </a:r>
            <a:r>
              <a:rPr lang="en-GB" sz="800" b="1" spc="-43" dirty="0">
                <a:solidFill>
                  <a:schemeClr val="tx2"/>
                </a:solidFill>
                <a:cs typeface="Calibri"/>
              </a:rPr>
              <a:t> </a:t>
            </a:r>
            <a:r>
              <a:rPr lang="en-GB" sz="800" b="1" spc="6" dirty="0">
                <a:solidFill>
                  <a:schemeClr val="tx2"/>
                </a:solidFill>
                <a:cs typeface="Calibri"/>
              </a:rPr>
              <a:t>SC once weekly + background IIM treatment</a:t>
            </a:r>
            <a:r>
              <a:rPr lang="en-GB" sz="800" b="1" spc="6" baseline="30000" dirty="0">
                <a:solidFill>
                  <a:schemeClr val="tx2"/>
                </a:solidFill>
                <a:cs typeface="Calibri"/>
              </a:rPr>
              <a:t>‡</a:t>
            </a:r>
            <a:endParaRPr lang="en-GB" sz="800" baseline="-25000" dirty="0">
              <a:solidFill>
                <a:schemeClr val="tx2"/>
              </a:solidFill>
              <a:cs typeface="Calibri"/>
            </a:endParaRPr>
          </a:p>
        </p:txBody>
      </p:sp>
      <p:grpSp>
        <p:nvGrpSpPr>
          <p:cNvPr id="161" name="Group 160">
            <a:extLst>
              <a:ext uri="{FF2B5EF4-FFF2-40B4-BE49-F238E27FC236}">
                <a16:creationId xmlns:a16="http://schemas.microsoft.com/office/drawing/2014/main" id="{C8B5D283-1026-D2B6-160F-4DE9D4DED99F}"/>
              </a:ext>
            </a:extLst>
          </p:cNvPr>
          <p:cNvGrpSpPr/>
          <p:nvPr/>
        </p:nvGrpSpPr>
        <p:grpSpPr>
          <a:xfrm>
            <a:off x="4421933" y="2654829"/>
            <a:ext cx="3406550" cy="124023"/>
            <a:chOff x="3941379" y="3968276"/>
            <a:chExt cx="3406550" cy="124023"/>
          </a:xfrm>
          <a:solidFill>
            <a:srgbClr val="7CA744"/>
          </a:solidFill>
        </p:grpSpPr>
        <p:grpSp>
          <p:nvGrpSpPr>
            <p:cNvPr id="519" name="Group 518">
              <a:extLst>
                <a:ext uri="{FF2B5EF4-FFF2-40B4-BE49-F238E27FC236}">
                  <a16:creationId xmlns:a16="http://schemas.microsoft.com/office/drawing/2014/main" id="{5BDAD022-EE80-EB12-3C20-3D82C1CF6E13}"/>
                </a:ext>
              </a:extLst>
            </p:cNvPr>
            <p:cNvGrpSpPr/>
            <p:nvPr/>
          </p:nvGrpSpPr>
          <p:grpSpPr>
            <a:xfrm>
              <a:off x="3941379" y="3968276"/>
              <a:ext cx="2858164" cy="124023"/>
              <a:chOff x="5195551" y="24782182"/>
              <a:chExt cx="7053916" cy="306088"/>
            </a:xfrm>
            <a:grpFill/>
          </p:grpSpPr>
          <p:sp>
            <p:nvSpPr>
              <p:cNvPr id="521" name="Isosceles Triangle 415">
                <a:extLst>
                  <a:ext uri="{FF2B5EF4-FFF2-40B4-BE49-F238E27FC236}">
                    <a16:creationId xmlns:a16="http://schemas.microsoft.com/office/drawing/2014/main" id="{E8BF230C-5657-C9E1-5C0B-E93142E2CACE}"/>
                  </a:ext>
                </a:extLst>
              </p:cNvPr>
              <p:cNvSpPr>
                <a:spLocks noChangeAspect="1"/>
              </p:cNvSpPr>
              <p:nvPr/>
            </p:nvSpPr>
            <p:spPr>
              <a:xfrm rot="10800000">
                <a:off x="5195551" y="24782182"/>
                <a:ext cx="286889" cy="303882"/>
              </a:xfrm>
              <a:prstGeom prst="triangle">
                <a:avLst/>
              </a:prstGeom>
              <a:grp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sp>
            <p:nvSpPr>
              <p:cNvPr id="522" name="Isosceles Triangle 416">
                <a:extLst>
                  <a:ext uri="{FF2B5EF4-FFF2-40B4-BE49-F238E27FC236}">
                    <a16:creationId xmlns:a16="http://schemas.microsoft.com/office/drawing/2014/main" id="{F9E0A98A-0ABE-1AAF-3F63-21237C8FFA8D}"/>
                  </a:ext>
                </a:extLst>
              </p:cNvPr>
              <p:cNvSpPr>
                <a:spLocks noChangeAspect="1"/>
              </p:cNvSpPr>
              <p:nvPr/>
            </p:nvSpPr>
            <p:spPr>
              <a:xfrm rot="10800000">
                <a:off x="6548956" y="24784388"/>
                <a:ext cx="286889" cy="303882"/>
              </a:xfrm>
              <a:prstGeom prst="triangle">
                <a:avLst/>
              </a:prstGeom>
              <a:grp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sp>
            <p:nvSpPr>
              <p:cNvPr id="523" name="Isosceles Triangle 417">
                <a:extLst>
                  <a:ext uri="{FF2B5EF4-FFF2-40B4-BE49-F238E27FC236}">
                    <a16:creationId xmlns:a16="http://schemas.microsoft.com/office/drawing/2014/main" id="{EF98931A-B0B7-4068-6BF7-5EFE7A6EF8D8}"/>
                  </a:ext>
                </a:extLst>
              </p:cNvPr>
              <p:cNvSpPr>
                <a:spLocks noChangeAspect="1"/>
              </p:cNvSpPr>
              <p:nvPr/>
            </p:nvSpPr>
            <p:spPr>
              <a:xfrm rot="10800000">
                <a:off x="7902362" y="24784388"/>
                <a:ext cx="286889" cy="303882"/>
              </a:xfrm>
              <a:prstGeom prst="triangle">
                <a:avLst/>
              </a:prstGeom>
              <a:grp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sp>
            <p:nvSpPr>
              <p:cNvPr id="524" name="Isosceles Triangle 418">
                <a:extLst>
                  <a:ext uri="{FF2B5EF4-FFF2-40B4-BE49-F238E27FC236}">
                    <a16:creationId xmlns:a16="http://schemas.microsoft.com/office/drawing/2014/main" id="{310A4CFE-C464-F775-ACC5-5FF5888E25DC}"/>
                  </a:ext>
                </a:extLst>
              </p:cNvPr>
              <p:cNvSpPr>
                <a:spLocks noChangeAspect="1"/>
              </p:cNvSpPr>
              <p:nvPr/>
            </p:nvSpPr>
            <p:spPr>
              <a:xfrm rot="10800000">
                <a:off x="9255767" y="24784388"/>
                <a:ext cx="286889" cy="303882"/>
              </a:xfrm>
              <a:prstGeom prst="triangle">
                <a:avLst/>
              </a:prstGeom>
              <a:grp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sp>
            <p:nvSpPr>
              <p:cNvPr id="525" name="Isosceles Triangle 419">
                <a:extLst>
                  <a:ext uri="{FF2B5EF4-FFF2-40B4-BE49-F238E27FC236}">
                    <a16:creationId xmlns:a16="http://schemas.microsoft.com/office/drawing/2014/main" id="{96D6E0CD-3FEB-A5C0-167F-E63B6BAD6E41}"/>
                  </a:ext>
                </a:extLst>
              </p:cNvPr>
              <p:cNvSpPr>
                <a:spLocks noChangeAspect="1"/>
              </p:cNvSpPr>
              <p:nvPr/>
            </p:nvSpPr>
            <p:spPr>
              <a:xfrm rot="10800000">
                <a:off x="10609173" y="24784388"/>
                <a:ext cx="286889" cy="303882"/>
              </a:xfrm>
              <a:prstGeom prst="triangle">
                <a:avLst/>
              </a:prstGeom>
              <a:grp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sp>
            <p:nvSpPr>
              <p:cNvPr id="526" name="Isosceles Triangle 420">
                <a:extLst>
                  <a:ext uri="{FF2B5EF4-FFF2-40B4-BE49-F238E27FC236}">
                    <a16:creationId xmlns:a16="http://schemas.microsoft.com/office/drawing/2014/main" id="{96FB5CD6-B593-DB68-CF70-C0A89F6E48EF}"/>
                  </a:ext>
                </a:extLst>
              </p:cNvPr>
              <p:cNvSpPr>
                <a:spLocks noChangeAspect="1"/>
              </p:cNvSpPr>
              <p:nvPr/>
            </p:nvSpPr>
            <p:spPr>
              <a:xfrm rot="10800000">
                <a:off x="11962578" y="24783599"/>
                <a:ext cx="286889" cy="303882"/>
              </a:xfrm>
              <a:prstGeom prst="triangle">
                <a:avLst/>
              </a:prstGeom>
              <a:grp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grpSp>
        <p:sp>
          <p:nvSpPr>
            <p:cNvPr id="520" name="Isosceles Triangle 12">
              <a:extLst>
                <a:ext uri="{FF2B5EF4-FFF2-40B4-BE49-F238E27FC236}">
                  <a16:creationId xmlns:a16="http://schemas.microsoft.com/office/drawing/2014/main" id="{C36EB4D3-61E8-CDE5-3496-E6BA015382B4}"/>
                </a:ext>
              </a:extLst>
            </p:cNvPr>
            <p:cNvSpPr>
              <a:spLocks noChangeAspect="1"/>
            </p:cNvSpPr>
            <p:nvPr/>
          </p:nvSpPr>
          <p:spPr>
            <a:xfrm rot="10800000">
              <a:off x="7231685" y="3968850"/>
              <a:ext cx="116244" cy="123129"/>
            </a:xfrm>
            <a:prstGeom prst="triangle">
              <a:avLst/>
            </a:prstGeom>
            <a:grp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grpSp>
      <p:sp>
        <p:nvSpPr>
          <p:cNvPr id="162" name="object 111">
            <a:extLst>
              <a:ext uri="{FF2B5EF4-FFF2-40B4-BE49-F238E27FC236}">
                <a16:creationId xmlns:a16="http://schemas.microsoft.com/office/drawing/2014/main" id="{9A7A42BB-D767-5E9F-C70F-9FC86B05B09F}"/>
              </a:ext>
            </a:extLst>
          </p:cNvPr>
          <p:cNvSpPr txBox="1"/>
          <p:nvPr/>
        </p:nvSpPr>
        <p:spPr>
          <a:xfrm>
            <a:off x="4523680" y="1799394"/>
            <a:ext cx="3203056" cy="141220"/>
          </a:xfrm>
          <a:prstGeom prst="rect">
            <a:avLst/>
          </a:prstGeom>
        </p:spPr>
        <p:txBody>
          <a:bodyPr vert="horz" wrap="none" lIns="0" tIns="17934" rIns="0" bIns="0" rtlCol="0">
            <a:spAutoFit/>
          </a:bodyPr>
          <a:lstStyle/>
          <a:p>
            <a:pPr marL="15597" algn="ctr" defTabSz="1681490">
              <a:spcBef>
                <a:spcPts val="140"/>
              </a:spcBef>
            </a:pPr>
            <a:r>
              <a:rPr lang="en-GB" sz="800" b="1" spc="6" dirty="0">
                <a:solidFill>
                  <a:schemeClr val="tx1">
                    <a:lumMod val="65000"/>
                    <a:lumOff val="35000"/>
                  </a:schemeClr>
                </a:solidFill>
                <a:cs typeface="Calibri"/>
              </a:rPr>
              <a:t>Efgartigimod PH20 SC</a:t>
            </a:r>
            <a:r>
              <a:rPr lang="en-GB" sz="800" b="1" spc="-6" baseline="30000" dirty="0">
                <a:solidFill>
                  <a:schemeClr val="tx1">
                    <a:lumMod val="65000"/>
                    <a:lumOff val="35000"/>
                  </a:schemeClr>
                </a:solidFill>
                <a:cs typeface="Calibri"/>
              </a:rPr>
              <a:t>†</a:t>
            </a:r>
            <a:r>
              <a:rPr lang="en-GB" sz="800" b="1" spc="6" dirty="0">
                <a:solidFill>
                  <a:schemeClr val="tx1">
                    <a:lumMod val="65000"/>
                    <a:lumOff val="35000"/>
                  </a:schemeClr>
                </a:solidFill>
                <a:cs typeface="Calibri"/>
              </a:rPr>
              <a:t> 1000 mg once weekly + background IIM treatment</a:t>
            </a:r>
            <a:r>
              <a:rPr lang="en-GB" sz="800" b="1" spc="6" baseline="30000" dirty="0">
                <a:solidFill>
                  <a:schemeClr val="tx1">
                    <a:lumMod val="65000"/>
                    <a:lumOff val="35000"/>
                  </a:schemeClr>
                </a:solidFill>
                <a:cs typeface="Calibri"/>
              </a:rPr>
              <a:t>‡</a:t>
            </a:r>
          </a:p>
        </p:txBody>
      </p:sp>
      <p:sp>
        <p:nvSpPr>
          <p:cNvPr id="163" name="TextBox 162">
            <a:extLst>
              <a:ext uri="{FF2B5EF4-FFF2-40B4-BE49-F238E27FC236}">
                <a16:creationId xmlns:a16="http://schemas.microsoft.com/office/drawing/2014/main" id="{E167E86F-43EB-51AF-ED8C-CD603B61FA2F}"/>
              </a:ext>
            </a:extLst>
          </p:cNvPr>
          <p:cNvSpPr txBox="1"/>
          <p:nvPr/>
        </p:nvSpPr>
        <p:spPr>
          <a:xfrm>
            <a:off x="3578539" y="2453525"/>
            <a:ext cx="645052" cy="138499"/>
          </a:xfrm>
          <a:prstGeom prst="rect">
            <a:avLst/>
          </a:prstGeom>
          <a:noFill/>
          <a:ln>
            <a:noFill/>
          </a:ln>
        </p:spPr>
        <p:txBody>
          <a:bodyPr wrap="square" lIns="0" tIns="0" rIns="0" bIns="0" rtlCol="0" anchor="ctr">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chemeClr val="tx2"/>
                </a:solidFill>
                <a:effectLst/>
                <a:uLnTx/>
                <a:uFillTx/>
              </a:rPr>
              <a:t>R (1:1)</a:t>
            </a:r>
          </a:p>
        </p:txBody>
      </p:sp>
      <p:sp>
        <p:nvSpPr>
          <p:cNvPr id="165" name="TextBox 164">
            <a:extLst>
              <a:ext uri="{FF2B5EF4-FFF2-40B4-BE49-F238E27FC236}">
                <a16:creationId xmlns:a16="http://schemas.microsoft.com/office/drawing/2014/main" id="{410FB9CA-2F4D-56D0-B7DB-2DC15D764415}"/>
              </a:ext>
            </a:extLst>
          </p:cNvPr>
          <p:cNvSpPr txBox="1"/>
          <p:nvPr/>
        </p:nvSpPr>
        <p:spPr>
          <a:xfrm>
            <a:off x="4159564" y="2453525"/>
            <a:ext cx="645052" cy="138499"/>
          </a:xfrm>
          <a:prstGeom prst="rect">
            <a:avLst/>
          </a:prstGeom>
          <a:noFill/>
          <a:ln>
            <a:noFill/>
          </a:ln>
        </p:spPr>
        <p:txBody>
          <a:bodyPr wrap="square" lIns="0" tIns="0" rIns="0" bIns="0" rtlCol="0" anchor="ctr">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tx1">
                    <a:lumMod val="65000"/>
                    <a:lumOff val="35000"/>
                  </a:schemeClr>
                </a:solidFill>
                <a:effectLst/>
                <a:uLnTx/>
                <a:uFillTx/>
              </a:rPr>
              <a:t>Visits</a:t>
            </a:r>
          </a:p>
        </p:txBody>
      </p:sp>
      <p:grpSp>
        <p:nvGrpSpPr>
          <p:cNvPr id="168" name="Group 167">
            <a:extLst>
              <a:ext uri="{FF2B5EF4-FFF2-40B4-BE49-F238E27FC236}">
                <a16:creationId xmlns:a16="http://schemas.microsoft.com/office/drawing/2014/main" id="{5F330B5F-1A3A-953D-3F28-9849789D26E6}"/>
              </a:ext>
            </a:extLst>
          </p:cNvPr>
          <p:cNvGrpSpPr/>
          <p:nvPr/>
        </p:nvGrpSpPr>
        <p:grpSpPr>
          <a:xfrm flipV="1">
            <a:off x="4421933" y="2258788"/>
            <a:ext cx="3406550" cy="124023"/>
            <a:chOff x="3941379" y="3968276"/>
            <a:chExt cx="3406550" cy="124023"/>
          </a:xfrm>
        </p:grpSpPr>
        <p:grpSp>
          <p:nvGrpSpPr>
            <p:cNvPr id="319" name="Group 318">
              <a:extLst>
                <a:ext uri="{FF2B5EF4-FFF2-40B4-BE49-F238E27FC236}">
                  <a16:creationId xmlns:a16="http://schemas.microsoft.com/office/drawing/2014/main" id="{7955D888-C27E-5C45-684C-F4140A2C6BED}"/>
                </a:ext>
              </a:extLst>
            </p:cNvPr>
            <p:cNvGrpSpPr/>
            <p:nvPr/>
          </p:nvGrpSpPr>
          <p:grpSpPr>
            <a:xfrm>
              <a:off x="3941379" y="3968276"/>
              <a:ext cx="2858164" cy="124023"/>
              <a:chOff x="5195551" y="24782182"/>
              <a:chExt cx="7053916" cy="306088"/>
            </a:xfrm>
          </p:grpSpPr>
          <p:sp>
            <p:nvSpPr>
              <p:cNvPr id="513" name="Isosceles Triangle 415">
                <a:extLst>
                  <a:ext uri="{FF2B5EF4-FFF2-40B4-BE49-F238E27FC236}">
                    <a16:creationId xmlns:a16="http://schemas.microsoft.com/office/drawing/2014/main" id="{E0B5D9AD-7353-D090-6573-B6D75EBF117F}"/>
                  </a:ext>
                </a:extLst>
              </p:cNvPr>
              <p:cNvSpPr>
                <a:spLocks noChangeAspect="1"/>
              </p:cNvSpPr>
              <p:nvPr/>
            </p:nvSpPr>
            <p:spPr>
              <a:xfrm rot="10800000">
                <a:off x="5195551" y="24782182"/>
                <a:ext cx="286889" cy="303882"/>
              </a:xfrm>
              <a:prstGeom prst="triangle">
                <a:avLst/>
              </a:prstGeom>
              <a:solidFill>
                <a:srgbClr val="0B436E"/>
              </a:solid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sp>
            <p:nvSpPr>
              <p:cNvPr id="514" name="Isosceles Triangle 416">
                <a:extLst>
                  <a:ext uri="{FF2B5EF4-FFF2-40B4-BE49-F238E27FC236}">
                    <a16:creationId xmlns:a16="http://schemas.microsoft.com/office/drawing/2014/main" id="{F5E0FD23-9AAE-8538-FF7C-FE62FB61CBC0}"/>
                  </a:ext>
                </a:extLst>
              </p:cNvPr>
              <p:cNvSpPr>
                <a:spLocks noChangeAspect="1"/>
              </p:cNvSpPr>
              <p:nvPr/>
            </p:nvSpPr>
            <p:spPr>
              <a:xfrm rot="10800000">
                <a:off x="6548956" y="24784388"/>
                <a:ext cx="286889" cy="303882"/>
              </a:xfrm>
              <a:prstGeom prst="triangle">
                <a:avLst/>
              </a:prstGeom>
              <a:solidFill>
                <a:srgbClr val="0B436E"/>
              </a:solid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sp>
            <p:nvSpPr>
              <p:cNvPr id="515" name="Isosceles Triangle 417">
                <a:extLst>
                  <a:ext uri="{FF2B5EF4-FFF2-40B4-BE49-F238E27FC236}">
                    <a16:creationId xmlns:a16="http://schemas.microsoft.com/office/drawing/2014/main" id="{B732AD03-F16D-0897-1005-247C8C83B55D}"/>
                  </a:ext>
                </a:extLst>
              </p:cNvPr>
              <p:cNvSpPr>
                <a:spLocks noChangeAspect="1"/>
              </p:cNvSpPr>
              <p:nvPr/>
            </p:nvSpPr>
            <p:spPr>
              <a:xfrm rot="10800000">
                <a:off x="7902362" y="24784388"/>
                <a:ext cx="286889" cy="303882"/>
              </a:xfrm>
              <a:prstGeom prst="triangle">
                <a:avLst/>
              </a:prstGeom>
              <a:solidFill>
                <a:srgbClr val="0B436E"/>
              </a:solid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sp>
            <p:nvSpPr>
              <p:cNvPr id="516" name="Isosceles Triangle 418">
                <a:extLst>
                  <a:ext uri="{FF2B5EF4-FFF2-40B4-BE49-F238E27FC236}">
                    <a16:creationId xmlns:a16="http://schemas.microsoft.com/office/drawing/2014/main" id="{1059DF4C-6087-CC5D-59F9-213AAB4A68FF}"/>
                  </a:ext>
                </a:extLst>
              </p:cNvPr>
              <p:cNvSpPr>
                <a:spLocks noChangeAspect="1"/>
              </p:cNvSpPr>
              <p:nvPr/>
            </p:nvSpPr>
            <p:spPr>
              <a:xfrm rot="10800000">
                <a:off x="9255767" y="24784388"/>
                <a:ext cx="286889" cy="303882"/>
              </a:xfrm>
              <a:prstGeom prst="triangle">
                <a:avLst/>
              </a:prstGeom>
              <a:solidFill>
                <a:srgbClr val="0B436E"/>
              </a:solid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sp>
            <p:nvSpPr>
              <p:cNvPr id="517" name="Isosceles Triangle 419">
                <a:extLst>
                  <a:ext uri="{FF2B5EF4-FFF2-40B4-BE49-F238E27FC236}">
                    <a16:creationId xmlns:a16="http://schemas.microsoft.com/office/drawing/2014/main" id="{94AED8E4-F871-4E5A-A2BD-EC22AACC108F}"/>
                  </a:ext>
                </a:extLst>
              </p:cNvPr>
              <p:cNvSpPr>
                <a:spLocks noChangeAspect="1"/>
              </p:cNvSpPr>
              <p:nvPr/>
            </p:nvSpPr>
            <p:spPr>
              <a:xfrm rot="10800000">
                <a:off x="10609173" y="24784388"/>
                <a:ext cx="286889" cy="303882"/>
              </a:xfrm>
              <a:prstGeom prst="triangle">
                <a:avLst/>
              </a:prstGeom>
              <a:solidFill>
                <a:srgbClr val="0B436E"/>
              </a:solid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sp>
            <p:nvSpPr>
              <p:cNvPr id="518" name="Isosceles Triangle 420">
                <a:extLst>
                  <a:ext uri="{FF2B5EF4-FFF2-40B4-BE49-F238E27FC236}">
                    <a16:creationId xmlns:a16="http://schemas.microsoft.com/office/drawing/2014/main" id="{8FB2D83D-9668-9298-96E1-A55201C70E2F}"/>
                  </a:ext>
                </a:extLst>
              </p:cNvPr>
              <p:cNvSpPr>
                <a:spLocks noChangeAspect="1"/>
              </p:cNvSpPr>
              <p:nvPr/>
            </p:nvSpPr>
            <p:spPr>
              <a:xfrm rot="10800000">
                <a:off x="11962578" y="24783599"/>
                <a:ext cx="286889" cy="303882"/>
              </a:xfrm>
              <a:prstGeom prst="triangle">
                <a:avLst/>
              </a:prstGeom>
              <a:solidFill>
                <a:srgbClr val="0B436E"/>
              </a:solid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grpSp>
        <p:sp>
          <p:nvSpPr>
            <p:cNvPr id="512" name="Isosceles Triangle 12">
              <a:extLst>
                <a:ext uri="{FF2B5EF4-FFF2-40B4-BE49-F238E27FC236}">
                  <a16:creationId xmlns:a16="http://schemas.microsoft.com/office/drawing/2014/main" id="{F0AFF1A9-2691-3EA1-AFE4-17C2073A8095}"/>
                </a:ext>
              </a:extLst>
            </p:cNvPr>
            <p:cNvSpPr>
              <a:spLocks noChangeAspect="1"/>
            </p:cNvSpPr>
            <p:nvPr/>
          </p:nvSpPr>
          <p:spPr>
            <a:xfrm rot="10800000">
              <a:off x="7231685" y="3968850"/>
              <a:ext cx="116244" cy="123129"/>
            </a:xfrm>
            <a:prstGeom prst="triangle">
              <a:avLst/>
            </a:prstGeom>
            <a:solidFill>
              <a:srgbClr val="0B436E"/>
            </a:solidFill>
            <a:ln w="25400" cap="flat" cmpd="sng" algn="ctr">
              <a:noFill/>
              <a:prstDash val="solid"/>
            </a:ln>
            <a:effectLst/>
          </p:spPr>
          <p:txBody>
            <a:bodyPr rtlCol="0" anchor="ctr"/>
            <a:lstStyle/>
            <a:p>
              <a:pPr marL="0" marR="0" lvl="0" indent="0" algn="ctr"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mn-ea"/>
                <a:cs typeface="+mn-cs"/>
              </a:endParaRPr>
            </a:p>
          </p:txBody>
        </p:sp>
      </p:grpSp>
      <p:grpSp>
        <p:nvGrpSpPr>
          <p:cNvPr id="170" name="Group 169">
            <a:extLst>
              <a:ext uri="{FF2B5EF4-FFF2-40B4-BE49-F238E27FC236}">
                <a16:creationId xmlns:a16="http://schemas.microsoft.com/office/drawing/2014/main" id="{BD5BD2AB-25D8-1519-CF91-DC8FBF02935D}"/>
              </a:ext>
            </a:extLst>
          </p:cNvPr>
          <p:cNvGrpSpPr/>
          <p:nvPr/>
        </p:nvGrpSpPr>
        <p:grpSpPr>
          <a:xfrm>
            <a:off x="4435891" y="1954373"/>
            <a:ext cx="3378633" cy="307519"/>
            <a:chOff x="5229999" y="25087479"/>
            <a:chExt cx="8338423" cy="758952"/>
          </a:xfrm>
          <a:solidFill>
            <a:srgbClr val="0F446E"/>
          </a:solidFill>
        </p:grpSpPr>
        <p:sp>
          <p:nvSpPr>
            <p:cNvPr id="258" name="object 113">
              <a:extLst>
                <a:ext uri="{FF2B5EF4-FFF2-40B4-BE49-F238E27FC236}">
                  <a16:creationId xmlns:a16="http://schemas.microsoft.com/office/drawing/2014/main" id="{4E04DE4C-36BA-A1DD-0213-91A43EF1BF8A}"/>
                </a:ext>
              </a:extLst>
            </p:cNvPr>
            <p:cNvSpPr/>
            <p:nvPr/>
          </p:nvSpPr>
          <p:spPr>
            <a:xfrm>
              <a:off x="5229999"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259" name="object 121">
              <a:extLst>
                <a:ext uri="{FF2B5EF4-FFF2-40B4-BE49-F238E27FC236}">
                  <a16:creationId xmlns:a16="http://schemas.microsoft.com/office/drawing/2014/main" id="{B556FA2F-7808-6BB6-424B-8A422ACBEA46}"/>
                </a:ext>
              </a:extLst>
            </p:cNvPr>
            <p:cNvSpPr/>
            <p:nvPr/>
          </p:nvSpPr>
          <p:spPr>
            <a:xfrm>
              <a:off x="5568350"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295" name="object 113">
              <a:extLst>
                <a:ext uri="{FF2B5EF4-FFF2-40B4-BE49-F238E27FC236}">
                  <a16:creationId xmlns:a16="http://schemas.microsoft.com/office/drawing/2014/main" id="{2BBB44D8-9769-6BD7-DD1C-E59C6181FA91}"/>
                </a:ext>
              </a:extLst>
            </p:cNvPr>
            <p:cNvSpPr/>
            <p:nvPr/>
          </p:nvSpPr>
          <p:spPr>
            <a:xfrm>
              <a:off x="5906701"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297" name="object 121">
              <a:extLst>
                <a:ext uri="{FF2B5EF4-FFF2-40B4-BE49-F238E27FC236}">
                  <a16:creationId xmlns:a16="http://schemas.microsoft.com/office/drawing/2014/main" id="{52EEED09-43DC-AAFF-4B5A-2BBE8159E931}"/>
                </a:ext>
              </a:extLst>
            </p:cNvPr>
            <p:cNvSpPr/>
            <p:nvPr/>
          </p:nvSpPr>
          <p:spPr>
            <a:xfrm>
              <a:off x="6245053"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298" name="object 122">
              <a:extLst>
                <a:ext uri="{FF2B5EF4-FFF2-40B4-BE49-F238E27FC236}">
                  <a16:creationId xmlns:a16="http://schemas.microsoft.com/office/drawing/2014/main" id="{481BF46A-C6CA-9098-BB8E-885588FF94E4}"/>
                </a:ext>
              </a:extLst>
            </p:cNvPr>
            <p:cNvSpPr/>
            <p:nvPr/>
          </p:nvSpPr>
          <p:spPr>
            <a:xfrm>
              <a:off x="6583404"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299" name="object 123">
              <a:extLst>
                <a:ext uri="{FF2B5EF4-FFF2-40B4-BE49-F238E27FC236}">
                  <a16:creationId xmlns:a16="http://schemas.microsoft.com/office/drawing/2014/main" id="{182A6C8B-890A-DDDE-02F9-8976B7F804BF}"/>
                </a:ext>
              </a:extLst>
            </p:cNvPr>
            <p:cNvSpPr/>
            <p:nvPr/>
          </p:nvSpPr>
          <p:spPr>
            <a:xfrm>
              <a:off x="6921755" y="25087479"/>
              <a:ext cx="217992" cy="758952"/>
            </a:xfrm>
            <a:prstGeom prst="roundRect">
              <a:avLst>
                <a:gd name="adj" fmla="val 41829"/>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300" name="object 113">
              <a:extLst>
                <a:ext uri="{FF2B5EF4-FFF2-40B4-BE49-F238E27FC236}">
                  <a16:creationId xmlns:a16="http://schemas.microsoft.com/office/drawing/2014/main" id="{0CFE4552-D7F8-4D3C-9268-6DAA8853B297}"/>
                </a:ext>
              </a:extLst>
            </p:cNvPr>
            <p:cNvSpPr/>
            <p:nvPr/>
          </p:nvSpPr>
          <p:spPr>
            <a:xfrm>
              <a:off x="7260106"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301" name="object 121">
              <a:extLst>
                <a:ext uri="{FF2B5EF4-FFF2-40B4-BE49-F238E27FC236}">
                  <a16:creationId xmlns:a16="http://schemas.microsoft.com/office/drawing/2014/main" id="{9C6E1466-753E-3F59-B539-FEFDAAEBDD24}"/>
                </a:ext>
              </a:extLst>
            </p:cNvPr>
            <p:cNvSpPr/>
            <p:nvPr/>
          </p:nvSpPr>
          <p:spPr>
            <a:xfrm>
              <a:off x="7598457"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302" name="object 122">
              <a:extLst>
                <a:ext uri="{FF2B5EF4-FFF2-40B4-BE49-F238E27FC236}">
                  <a16:creationId xmlns:a16="http://schemas.microsoft.com/office/drawing/2014/main" id="{347DFEDD-C690-C113-78FA-5473308DD518}"/>
                </a:ext>
              </a:extLst>
            </p:cNvPr>
            <p:cNvSpPr/>
            <p:nvPr/>
          </p:nvSpPr>
          <p:spPr>
            <a:xfrm>
              <a:off x="7936808"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303" name="object 123">
              <a:extLst>
                <a:ext uri="{FF2B5EF4-FFF2-40B4-BE49-F238E27FC236}">
                  <a16:creationId xmlns:a16="http://schemas.microsoft.com/office/drawing/2014/main" id="{8ABD6BED-A428-155C-0597-CB18B92B3E46}"/>
                </a:ext>
              </a:extLst>
            </p:cNvPr>
            <p:cNvSpPr/>
            <p:nvPr/>
          </p:nvSpPr>
          <p:spPr>
            <a:xfrm>
              <a:off x="8275160"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304" name="object 113">
              <a:extLst>
                <a:ext uri="{FF2B5EF4-FFF2-40B4-BE49-F238E27FC236}">
                  <a16:creationId xmlns:a16="http://schemas.microsoft.com/office/drawing/2014/main" id="{5E468DE2-BFB0-4B84-1036-9C6E74D8B57B}"/>
                </a:ext>
              </a:extLst>
            </p:cNvPr>
            <p:cNvSpPr/>
            <p:nvPr/>
          </p:nvSpPr>
          <p:spPr>
            <a:xfrm>
              <a:off x="8613511"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305" name="object 121">
              <a:extLst>
                <a:ext uri="{FF2B5EF4-FFF2-40B4-BE49-F238E27FC236}">
                  <a16:creationId xmlns:a16="http://schemas.microsoft.com/office/drawing/2014/main" id="{53818912-8233-C730-56BC-4B95098A7E5F}"/>
                </a:ext>
              </a:extLst>
            </p:cNvPr>
            <p:cNvSpPr/>
            <p:nvPr/>
          </p:nvSpPr>
          <p:spPr>
            <a:xfrm>
              <a:off x="8951862"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306" name="object 122">
              <a:extLst>
                <a:ext uri="{FF2B5EF4-FFF2-40B4-BE49-F238E27FC236}">
                  <a16:creationId xmlns:a16="http://schemas.microsoft.com/office/drawing/2014/main" id="{3E4795D9-34CE-C92D-8A27-E774EF9EF364}"/>
                </a:ext>
              </a:extLst>
            </p:cNvPr>
            <p:cNvSpPr/>
            <p:nvPr/>
          </p:nvSpPr>
          <p:spPr>
            <a:xfrm>
              <a:off x="9290213"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307" name="object 123">
              <a:extLst>
                <a:ext uri="{FF2B5EF4-FFF2-40B4-BE49-F238E27FC236}">
                  <a16:creationId xmlns:a16="http://schemas.microsoft.com/office/drawing/2014/main" id="{25918287-24CB-918F-C6DE-81AB57050750}"/>
                </a:ext>
              </a:extLst>
            </p:cNvPr>
            <p:cNvSpPr/>
            <p:nvPr/>
          </p:nvSpPr>
          <p:spPr>
            <a:xfrm>
              <a:off x="9628564"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308" name="object 121">
              <a:extLst>
                <a:ext uri="{FF2B5EF4-FFF2-40B4-BE49-F238E27FC236}">
                  <a16:creationId xmlns:a16="http://schemas.microsoft.com/office/drawing/2014/main" id="{F2813972-7F54-48C6-1F6C-A21CB019CC73}"/>
                </a:ext>
              </a:extLst>
            </p:cNvPr>
            <p:cNvSpPr/>
            <p:nvPr/>
          </p:nvSpPr>
          <p:spPr>
            <a:xfrm>
              <a:off x="9966915"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309" name="object 122">
              <a:extLst>
                <a:ext uri="{FF2B5EF4-FFF2-40B4-BE49-F238E27FC236}">
                  <a16:creationId xmlns:a16="http://schemas.microsoft.com/office/drawing/2014/main" id="{FC62C543-DE7C-A838-6A38-5D032463A1FB}"/>
                </a:ext>
              </a:extLst>
            </p:cNvPr>
            <p:cNvSpPr/>
            <p:nvPr/>
          </p:nvSpPr>
          <p:spPr>
            <a:xfrm>
              <a:off x="10305267"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310" name="object 123">
              <a:extLst>
                <a:ext uri="{FF2B5EF4-FFF2-40B4-BE49-F238E27FC236}">
                  <a16:creationId xmlns:a16="http://schemas.microsoft.com/office/drawing/2014/main" id="{67BB33C9-13D4-8F82-F497-5A704E5632B1}"/>
                </a:ext>
              </a:extLst>
            </p:cNvPr>
            <p:cNvSpPr/>
            <p:nvPr/>
          </p:nvSpPr>
          <p:spPr>
            <a:xfrm>
              <a:off x="10643618"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311" name="object 113">
              <a:extLst>
                <a:ext uri="{FF2B5EF4-FFF2-40B4-BE49-F238E27FC236}">
                  <a16:creationId xmlns:a16="http://schemas.microsoft.com/office/drawing/2014/main" id="{DCE9C9B6-53C7-55AA-FF17-5DA1CFAFC808}"/>
                </a:ext>
              </a:extLst>
            </p:cNvPr>
            <p:cNvSpPr/>
            <p:nvPr/>
          </p:nvSpPr>
          <p:spPr>
            <a:xfrm>
              <a:off x="10981969"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312" name="object 121">
              <a:extLst>
                <a:ext uri="{FF2B5EF4-FFF2-40B4-BE49-F238E27FC236}">
                  <a16:creationId xmlns:a16="http://schemas.microsoft.com/office/drawing/2014/main" id="{8E6592A6-50CB-F756-5772-D5D3B2AC73DE}"/>
                </a:ext>
              </a:extLst>
            </p:cNvPr>
            <p:cNvSpPr/>
            <p:nvPr/>
          </p:nvSpPr>
          <p:spPr>
            <a:xfrm>
              <a:off x="11320320"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313" name="object 122">
              <a:extLst>
                <a:ext uri="{FF2B5EF4-FFF2-40B4-BE49-F238E27FC236}">
                  <a16:creationId xmlns:a16="http://schemas.microsoft.com/office/drawing/2014/main" id="{2AEDFE15-933C-0F2D-22D3-DF5F6DC36CAD}"/>
                </a:ext>
              </a:extLst>
            </p:cNvPr>
            <p:cNvSpPr/>
            <p:nvPr/>
          </p:nvSpPr>
          <p:spPr>
            <a:xfrm>
              <a:off x="11658671"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314" name="object 123">
              <a:extLst>
                <a:ext uri="{FF2B5EF4-FFF2-40B4-BE49-F238E27FC236}">
                  <a16:creationId xmlns:a16="http://schemas.microsoft.com/office/drawing/2014/main" id="{B1CCD83A-C3B9-B75B-9377-EE779A5C8863}"/>
                </a:ext>
              </a:extLst>
            </p:cNvPr>
            <p:cNvSpPr/>
            <p:nvPr/>
          </p:nvSpPr>
          <p:spPr>
            <a:xfrm>
              <a:off x="11997022"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315" name="object 113">
              <a:extLst>
                <a:ext uri="{FF2B5EF4-FFF2-40B4-BE49-F238E27FC236}">
                  <a16:creationId xmlns:a16="http://schemas.microsoft.com/office/drawing/2014/main" id="{34C45132-1FF7-6AD8-15E2-9F8D715426C3}"/>
                </a:ext>
              </a:extLst>
            </p:cNvPr>
            <p:cNvSpPr/>
            <p:nvPr/>
          </p:nvSpPr>
          <p:spPr>
            <a:xfrm>
              <a:off x="12335374"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316" name="object 121">
              <a:extLst>
                <a:ext uri="{FF2B5EF4-FFF2-40B4-BE49-F238E27FC236}">
                  <a16:creationId xmlns:a16="http://schemas.microsoft.com/office/drawing/2014/main" id="{11587967-79B4-9B51-CFA9-747546466023}"/>
                </a:ext>
              </a:extLst>
            </p:cNvPr>
            <p:cNvSpPr/>
            <p:nvPr/>
          </p:nvSpPr>
          <p:spPr>
            <a:xfrm>
              <a:off x="12673725"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317" name="object 122">
              <a:extLst>
                <a:ext uri="{FF2B5EF4-FFF2-40B4-BE49-F238E27FC236}">
                  <a16:creationId xmlns:a16="http://schemas.microsoft.com/office/drawing/2014/main" id="{A4613F2C-4E2D-87BF-3B96-AEFF27354674}"/>
                </a:ext>
              </a:extLst>
            </p:cNvPr>
            <p:cNvSpPr/>
            <p:nvPr/>
          </p:nvSpPr>
          <p:spPr>
            <a:xfrm>
              <a:off x="13012076"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318" name="object 122">
              <a:extLst>
                <a:ext uri="{FF2B5EF4-FFF2-40B4-BE49-F238E27FC236}">
                  <a16:creationId xmlns:a16="http://schemas.microsoft.com/office/drawing/2014/main" id="{A41138A0-E488-BD51-938E-D23C34CEA1BD}"/>
                </a:ext>
              </a:extLst>
            </p:cNvPr>
            <p:cNvSpPr/>
            <p:nvPr/>
          </p:nvSpPr>
          <p:spPr>
            <a:xfrm>
              <a:off x="13350430" y="25087479"/>
              <a:ext cx="217992" cy="758952"/>
            </a:xfrm>
            <a:prstGeom prst="roundRect">
              <a:avLst>
                <a:gd name="adj" fmla="val 50000"/>
              </a:avLst>
            </a:prstGeom>
            <a:grpFill/>
            <a:ln w="9525">
              <a:solidFill>
                <a:schemeClr val="accent1"/>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grpSp>
      <p:grpSp>
        <p:nvGrpSpPr>
          <p:cNvPr id="171" name="Group 170">
            <a:extLst>
              <a:ext uri="{FF2B5EF4-FFF2-40B4-BE49-F238E27FC236}">
                <a16:creationId xmlns:a16="http://schemas.microsoft.com/office/drawing/2014/main" id="{897CAB49-42DE-BA38-10C4-C02A8835C221}"/>
              </a:ext>
            </a:extLst>
          </p:cNvPr>
          <p:cNvGrpSpPr/>
          <p:nvPr/>
        </p:nvGrpSpPr>
        <p:grpSpPr>
          <a:xfrm>
            <a:off x="4435891" y="2776278"/>
            <a:ext cx="3378633" cy="307519"/>
            <a:chOff x="5229999" y="25087479"/>
            <a:chExt cx="8338423" cy="758952"/>
          </a:xfrm>
          <a:solidFill>
            <a:srgbClr val="7CA744"/>
          </a:solidFill>
        </p:grpSpPr>
        <p:sp>
          <p:nvSpPr>
            <p:cNvPr id="173" name="object 113">
              <a:extLst>
                <a:ext uri="{FF2B5EF4-FFF2-40B4-BE49-F238E27FC236}">
                  <a16:creationId xmlns:a16="http://schemas.microsoft.com/office/drawing/2014/main" id="{1B9868D3-A925-CDC7-0296-24CEE0F91DBE}"/>
                </a:ext>
              </a:extLst>
            </p:cNvPr>
            <p:cNvSpPr/>
            <p:nvPr/>
          </p:nvSpPr>
          <p:spPr>
            <a:xfrm>
              <a:off x="5229999"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174" name="object 121">
              <a:extLst>
                <a:ext uri="{FF2B5EF4-FFF2-40B4-BE49-F238E27FC236}">
                  <a16:creationId xmlns:a16="http://schemas.microsoft.com/office/drawing/2014/main" id="{8003A667-6315-4327-D40B-FA960675E6E0}"/>
                </a:ext>
              </a:extLst>
            </p:cNvPr>
            <p:cNvSpPr/>
            <p:nvPr/>
          </p:nvSpPr>
          <p:spPr>
            <a:xfrm>
              <a:off x="5568350"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175" name="object 113">
              <a:extLst>
                <a:ext uri="{FF2B5EF4-FFF2-40B4-BE49-F238E27FC236}">
                  <a16:creationId xmlns:a16="http://schemas.microsoft.com/office/drawing/2014/main" id="{431111FD-8A7C-6484-E8A5-B73456E2A8F5}"/>
                </a:ext>
              </a:extLst>
            </p:cNvPr>
            <p:cNvSpPr/>
            <p:nvPr/>
          </p:nvSpPr>
          <p:spPr>
            <a:xfrm>
              <a:off x="5906701"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176" name="object 121">
              <a:extLst>
                <a:ext uri="{FF2B5EF4-FFF2-40B4-BE49-F238E27FC236}">
                  <a16:creationId xmlns:a16="http://schemas.microsoft.com/office/drawing/2014/main" id="{C6891D75-3DDD-05B8-C1C4-313D12BD5F7D}"/>
                </a:ext>
              </a:extLst>
            </p:cNvPr>
            <p:cNvSpPr/>
            <p:nvPr/>
          </p:nvSpPr>
          <p:spPr>
            <a:xfrm>
              <a:off x="6245053"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177" name="object 122">
              <a:extLst>
                <a:ext uri="{FF2B5EF4-FFF2-40B4-BE49-F238E27FC236}">
                  <a16:creationId xmlns:a16="http://schemas.microsoft.com/office/drawing/2014/main" id="{CC763DF0-7E06-3BCD-15F6-F5C201FE421B}"/>
                </a:ext>
              </a:extLst>
            </p:cNvPr>
            <p:cNvSpPr/>
            <p:nvPr/>
          </p:nvSpPr>
          <p:spPr>
            <a:xfrm>
              <a:off x="6583404"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178" name="object 123">
              <a:extLst>
                <a:ext uri="{FF2B5EF4-FFF2-40B4-BE49-F238E27FC236}">
                  <a16:creationId xmlns:a16="http://schemas.microsoft.com/office/drawing/2014/main" id="{3204E78C-7635-02B8-95BE-37934FB8EF79}"/>
                </a:ext>
              </a:extLst>
            </p:cNvPr>
            <p:cNvSpPr/>
            <p:nvPr/>
          </p:nvSpPr>
          <p:spPr>
            <a:xfrm>
              <a:off x="6921755" y="25087479"/>
              <a:ext cx="217992" cy="758952"/>
            </a:xfrm>
            <a:prstGeom prst="roundRect">
              <a:avLst>
                <a:gd name="adj" fmla="val 41829"/>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181" name="object 113">
              <a:extLst>
                <a:ext uri="{FF2B5EF4-FFF2-40B4-BE49-F238E27FC236}">
                  <a16:creationId xmlns:a16="http://schemas.microsoft.com/office/drawing/2014/main" id="{B840E36E-7611-73B7-6DF5-29EFEF1E3ED5}"/>
                </a:ext>
              </a:extLst>
            </p:cNvPr>
            <p:cNvSpPr/>
            <p:nvPr/>
          </p:nvSpPr>
          <p:spPr>
            <a:xfrm>
              <a:off x="7260106"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183" name="object 121">
              <a:extLst>
                <a:ext uri="{FF2B5EF4-FFF2-40B4-BE49-F238E27FC236}">
                  <a16:creationId xmlns:a16="http://schemas.microsoft.com/office/drawing/2014/main" id="{BA825B5F-4295-12F6-45D9-F1259EB59917}"/>
                </a:ext>
              </a:extLst>
            </p:cNvPr>
            <p:cNvSpPr/>
            <p:nvPr/>
          </p:nvSpPr>
          <p:spPr>
            <a:xfrm>
              <a:off x="7598457"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184" name="object 122">
              <a:extLst>
                <a:ext uri="{FF2B5EF4-FFF2-40B4-BE49-F238E27FC236}">
                  <a16:creationId xmlns:a16="http://schemas.microsoft.com/office/drawing/2014/main" id="{260175F0-45EE-918A-401B-02D052356E24}"/>
                </a:ext>
              </a:extLst>
            </p:cNvPr>
            <p:cNvSpPr/>
            <p:nvPr/>
          </p:nvSpPr>
          <p:spPr>
            <a:xfrm>
              <a:off x="7936808"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189" name="object 123">
              <a:extLst>
                <a:ext uri="{FF2B5EF4-FFF2-40B4-BE49-F238E27FC236}">
                  <a16:creationId xmlns:a16="http://schemas.microsoft.com/office/drawing/2014/main" id="{65AFBA78-71D8-AD40-7B3B-7BEBAFE00F26}"/>
                </a:ext>
              </a:extLst>
            </p:cNvPr>
            <p:cNvSpPr/>
            <p:nvPr/>
          </p:nvSpPr>
          <p:spPr>
            <a:xfrm>
              <a:off x="8275160"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190" name="object 113">
              <a:extLst>
                <a:ext uri="{FF2B5EF4-FFF2-40B4-BE49-F238E27FC236}">
                  <a16:creationId xmlns:a16="http://schemas.microsoft.com/office/drawing/2014/main" id="{B13A2F49-D784-8838-0E3C-A9A1B40932EA}"/>
                </a:ext>
              </a:extLst>
            </p:cNvPr>
            <p:cNvSpPr/>
            <p:nvPr/>
          </p:nvSpPr>
          <p:spPr>
            <a:xfrm>
              <a:off x="8613511"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201" name="object 121">
              <a:extLst>
                <a:ext uri="{FF2B5EF4-FFF2-40B4-BE49-F238E27FC236}">
                  <a16:creationId xmlns:a16="http://schemas.microsoft.com/office/drawing/2014/main" id="{FC5C1193-99B2-19F8-ABB2-76C38D5E09A9}"/>
                </a:ext>
              </a:extLst>
            </p:cNvPr>
            <p:cNvSpPr/>
            <p:nvPr/>
          </p:nvSpPr>
          <p:spPr>
            <a:xfrm>
              <a:off x="8951862"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235" name="object 122">
              <a:extLst>
                <a:ext uri="{FF2B5EF4-FFF2-40B4-BE49-F238E27FC236}">
                  <a16:creationId xmlns:a16="http://schemas.microsoft.com/office/drawing/2014/main" id="{5200B495-5CB7-4902-A6E5-5A0CA8BF280C}"/>
                </a:ext>
              </a:extLst>
            </p:cNvPr>
            <p:cNvSpPr/>
            <p:nvPr/>
          </p:nvSpPr>
          <p:spPr>
            <a:xfrm>
              <a:off x="9290213"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237" name="object 123">
              <a:extLst>
                <a:ext uri="{FF2B5EF4-FFF2-40B4-BE49-F238E27FC236}">
                  <a16:creationId xmlns:a16="http://schemas.microsoft.com/office/drawing/2014/main" id="{4F8AA6F8-38E3-66F1-FF68-9DE66520D07F}"/>
                </a:ext>
              </a:extLst>
            </p:cNvPr>
            <p:cNvSpPr/>
            <p:nvPr/>
          </p:nvSpPr>
          <p:spPr>
            <a:xfrm>
              <a:off x="9628564"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238" name="object 121">
              <a:extLst>
                <a:ext uri="{FF2B5EF4-FFF2-40B4-BE49-F238E27FC236}">
                  <a16:creationId xmlns:a16="http://schemas.microsoft.com/office/drawing/2014/main" id="{727A4680-8BC8-2F85-231E-F2BAA9F63539}"/>
                </a:ext>
              </a:extLst>
            </p:cNvPr>
            <p:cNvSpPr/>
            <p:nvPr/>
          </p:nvSpPr>
          <p:spPr>
            <a:xfrm>
              <a:off x="9966915"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240" name="object 122">
              <a:extLst>
                <a:ext uri="{FF2B5EF4-FFF2-40B4-BE49-F238E27FC236}">
                  <a16:creationId xmlns:a16="http://schemas.microsoft.com/office/drawing/2014/main" id="{F9A16725-E967-C035-6604-0B3BC7F3AEC2}"/>
                </a:ext>
              </a:extLst>
            </p:cNvPr>
            <p:cNvSpPr/>
            <p:nvPr/>
          </p:nvSpPr>
          <p:spPr>
            <a:xfrm>
              <a:off x="10305267"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241" name="object 123">
              <a:extLst>
                <a:ext uri="{FF2B5EF4-FFF2-40B4-BE49-F238E27FC236}">
                  <a16:creationId xmlns:a16="http://schemas.microsoft.com/office/drawing/2014/main" id="{498FD810-A0FE-7832-549B-3D104FCEEF5D}"/>
                </a:ext>
              </a:extLst>
            </p:cNvPr>
            <p:cNvSpPr/>
            <p:nvPr/>
          </p:nvSpPr>
          <p:spPr>
            <a:xfrm>
              <a:off x="10643618"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242" name="object 113">
              <a:extLst>
                <a:ext uri="{FF2B5EF4-FFF2-40B4-BE49-F238E27FC236}">
                  <a16:creationId xmlns:a16="http://schemas.microsoft.com/office/drawing/2014/main" id="{FD804A85-E754-D36B-4EF3-663D8E95E157}"/>
                </a:ext>
              </a:extLst>
            </p:cNvPr>
            <p:cNvSpPr/>
            <p:nvPr/>
          </p:nvSpPr>
          <p:spPr>
            <a:xfrm>
              <a:off x="10981969"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243" name="object 121">
              <a:extLst>
                <a:ext uri="{FF2B5EF4-FFF2-40B4-BE49-F238E27FC236}">
                  <a16:creationId xmlns:a16="http://schemas.microsoft.com/office/drawing/2014/main" id="{F68A8249-4144-EA23-D7B6-D4911BC9672F}"/>
                </a:ext>
              </a:extLst>
            </p:cNvPr>
            <p:cNvSpPr/>
            <p:nvPr/>
          </p:nvSpPr>
          <p:spPr>
            <a:xfrm>
              <a:off x="11320320"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244" name="object 122">
              <a:extLst>
                <a:ext uri="{FF2B5EF4-FFF2-40B4-BE49-F238E27FC236}">
                  <a16:creationId xmlns:a16="http://schemas.microsoft.com/office/drawing/2014/main" id="{4759F940-E9A8-53BA-2159-751110AEB0C8}"/>
                </a:ext>
              </a:extLst>
            </p:cNvPr>
            <p:cNvSpPr/>
            <p:nvPr/>
          </p:nvSpPr>
          <p:spPr>
            <a:xfrm>
              <a:off x="11658671"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245" name="object 123">
              <a:extLst>
                <a:ext uri="{FF2B5EF4-FFF2-40B4-BE49-F238E27FC236}">
                  <a16:creationId xmlns:a16="http://schemas.microsoft.com/office/drawing/2014/main" id="{74D00790-178E-8150-1C62-B588DD57EFF7}"/>
                </a:ext>
              </a:extLst>
            </p:cNvPr>
            <p:cNvSpPr/>
            <p:nvPr/>
          </p:nvSpPr>
          <p:spPr>
            <a:xfrm>
              <a:off x="11997022"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246" name="object 113">
              <a:extLst>
                <a:ext uri="{FF2B5EF4-FFF2-40B4-BE49-F238E27FC236}">
                  <a16:creationId xmlns:a16="http://schemas.microsoft.com/office/drawing/2014/main" id="{96A2F074-6DFD-0B3F-098D-D98165847C18}"/>
                </a:ext>
              </a:extLst>
            </p:cNvPr>
            <p:cNvSpPr/>
            <p:nvPr/>
          </p:nvSpPr>
          <p:spPr>
            <a:xfrm>
              <a:off x="12335374"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247" name="object 121">
              <a:extLst>
                <a:ext uri="{FF2B5EF4-FFF2-40B4-BE49-F238E27FC236}">
                  <a16:creationId xmlns:a16="http://schemas.microsoft.com/office/drawing/2014/main" id="{B6334748-D296-E9DB-0BE7-3F916C5982F5}"/>
                </a:ext>
              </a:extLst>
            </p:cNvPr>
            <p:cNvSpPr/>
            <p:nvPr/>
          </p:nvSpPr>
          <p:spPr>
            <a:xfrm>
              <a:off x="12673725"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B436E"/>
                </a:solidFill>
                <a:effectLst/>
                <a:uLnTx/>
                <a:uFillTx/>
              </a:endParaRPr>
            </a:p>
          </p:txBody>
        </p:sp>
        <p:sp>
          <p:nvSpPr>
            <p:cNvPr id="248" name="object 122">
              <a:extLst>
                <a:ext uri="{FF2B5EF4-FFF2-40B4-BE49-F238E27FC236}">
                  <a16:creationId xmlns:a16="http://schemas.microsoft.com/office/drawing/2014/main" id="{F46DAA64-CAEF-8E9E-08A3-0AF26C78BE2B}"/>
                </a:ext>
              </a:extLst>
            </p:cNvPr>
            <p:cNvSpPr/>
            <p:nvPr/>
          </p:nvSpPr>
          <p:spPr>
            <a:xfrm>
              <a:off x="13012076"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257" name="object 122">
              <a:extLst>
                <a:ext uri="{FF2B5EF4-FFF2-40B4-BE49-F238E27FC236}">
                  <a16:creationId xmlns:a16="http://schemas.microsoft.com/office/drawing/2014/main" id="{8B4D94C6-4674-F092-3E2B-B7FD4CB83C5C}"/>
                </a:ext>
              </a:extLst>
            </p:cNvPr>
            <p:cNvSpPr/>
            <p:nvPr/>
          </p:nvSpPr>
          <p:spPr>
            <a:xfrm>
              <a:off x="13350430" y="25087479"/>
              <a:ext cx="217992" cy="758952"/>
            </a:xfrm>
            <a:prstGeom prst="roundRect">
              <a:avLst>
                <a:gd name="adj" fmla="val 50000"/>
              </a:avLst>
            </a:prstGeom>
            <a:grpFill/>
            <a:ln w="9525">
              <a:solidFill>
                <a:srgbClr val="5A5A5A">
                  <a:lumMod val="60000"/>
                  <a:lumOff val="40000"/>
                </a:srgbClr>
              </a:solidFill>
            </a:ln>
          </p:spPr>
          <p:txBody>
            <a:bodyPr wrap="square" lIns="0" tIns="0" rIns="0" bIns="0" rtlCol="0"/>
            <a:lstStyle/>
            <a:p>
              <a:pPr marL="0" marR="0" lvl="0" indent="0" defTabSz="168149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grpSp>
      <p:sp>
        <p:nvSpPr>
          <p:cNvPr id="172" name="Freeform 171">
            <a:extLst>
              <a:ext uri="{FF2B5EF4-FFF2-40B4-BE49-F238E27FC236}">
                <a16:creationId xmlns:a16="http://schemas.microsoft.com/office/drawing/2014/main" id="{38958FA6-064A-0415-4435-5BFFF6479878}"/>
              </a:ext>
            </a:extLst>
          </p:cNvPr>
          <p:cNvSpPr/>
          <p:nvPr/>
        </p:nvSpPr>
        <p:spPr>
          <a:xfrm flipH="1">
            <a:off x="9033381" y="3501254"/>
            <a:ext cx="2514600" cy="2029447"/>
          </a:xfrm>
          <a:custGeom>
            <a:avLst/>
            <a:gdLst>
              <a:gd name="connsiteX0" fmla="*/ 1198539 w 2843034"/>
              <a:gd name="connsiteY0" fmla="*/ 2381 h 2294515"/>
              <a:gd name="connsiteX1" fmla="*/ 1364395 w 2843034"/>
              <a:gd name="connsiteY1" fmla="*/ 41187 h 2294515"/>
              <a:gd name="connsiteX2" fmla="*/ 1473181 w 2843034"/>
              <a:gd name="connsiteY2" fmla="*/ 83809 h 2294515"/>
              <a:gd name="connsiteX3" fmla="*/ 1713852 w 2843034"/>
              <a:gd name="connsiteY3" fmla="*/ 233300 h 2294515"/>
              <a:gd name="connsiteX4" fmla="*/ 1796866 w 2843034"/>
              <a:gd name="connsiteY4" fmla="*/ 292288 h 2294515"/>
              <a:gd name="connsiteX5" fmla="*/ 2460883 w 2843034"/>
              <a:gd name="connsiteY5" fmla="*/ 726933 h 2294515"/>
              <a:gd name="connsiteX6" fmla="*/ 2522037 w 2843034"/>
              <a:gd name="connsiteY6" fmla="*/ 766591 h 2294515"/>
              <a:gd name="connsiteX7" fmla="*/ 2609834 w 2843034"/>
              <a:gd name="connsiteY7" fmla="*/ 836169 h 2294515"/>
              <a:gd name="connsiteX8" fmla="*/ 2655819 w 2843034"/>
              <a:gd name="connsiteY8" fmla="*/ 873722 h 2294515"/>
              <a:gd name="connsiteX9" fmla="*/ 2839288 w 2843034"/>
              <a:gd name="connsiteY9" fmla="*/ 1200917 h 2294515"/>
              <a:gd name="connsiteX10" fmla="*/ 2840633 w 2843034"/>
              <a:gd name="connsiteY10" fmla="*/ 1203237 h 2294515"/>
              <a:gd name="connsiteX11" fmla="*/ 2722734 w 2843034"/>
              <a:gd name="connsiteY11" fmla="*/ 1579022 h 2294515"/>
              <a:gd name="connsiteX12" fmla="*/ 2712621 w 2843034"/>
              <a:gd name="connsiteY12" fmla="*/ 1595664 h 2294515"/>
              <a:gd name="connsiteX13" fmla="*/ 2627138 w 2843034"/>
              <a:gd name="connsiteY13" fmla="*/ 1698181 h 2294515"/>
              <a:gd name="connsiteX14" fmla="*/ 2291183 w 2843034"/>
              <a:gd name="connsiteY14" fmla="*/ 1882277 h 2294515"/>
              <a:gd name="connsiteX15" fmla="*/ 2213357 w 2843034"/>
              <a:gd name="connsiteY15" fmla="*/ 1905763 h 2294515"/>
              <a:gd name="connsiteX16" fmla="*/ 2055212 w 2843034"/>
              <a:gd name="connsiteY16" fmla="*/ 1946431 h 2294515"/>
              <a:gd name="connsiteX17" fmla="*/ 1465662 w 2843034"/>
              <a:gd name="connsiteY17" fmla="*/ 2130187 h 2294515"/>
              <a:gd name="connsiteX18" fmla="*/ 1056419 w 2843034"/>
              <a:gd name="connsiteY18" fmla="*/ 2248347 h 2294515"/>
              <a:gd name="connsiteX19" fmla="*/ 879040 w 2843034"/>
              <a:gd name="connsiteY19" fmla="*/ 2281902 h 2294515"/>
              <a:gd name="connsiteX20" fmla="*/ 720846 w 2843034"/>
              <a:gd name="connsiteY20" fmla="*/ 2293406 h 2294515"/>
              <a:gd name="connsiteX21" fmla="*/ 549538 w 2843034"/>
              <a:gd name="connsiteY21" fmla="*/ 2282289 h 2294515"/>
              <a:gd name="connsiteX22" fmla="*/ 464250 w 2843034"/>
              <a:gd name="connsiteY22" fmla="*/ 2253802 h 2294515"/>
              <a:gd name="connsiteX23" fmla="*/ 399041 w 2843034"/>
              <a:gd name="connsiteY23" fmla="*/ 2222857 h 2294515"/>
              <a:gd name="connsiteX24" fmla="*/ 244222 w 2843034"/>
              <a:gd name="connsiteY24" fmla="*/ 2106168 h 2294515"/>
              <a:gd name="connsiteX25" fmla="*/ 116571 w 2843034"/>
              <a:gd name="connsiteY25" fmla="*/ 1954137 h 2294515"/>
              <a:gd name="connsiteX26" fmla="*/ 116250 w 2843034"/>
              <a:gd name="connsiteY26" fmla="*/ 1952582 h 2294515"/>
              <a:gd name="connsiteX27" fmla="*/ 53622 w 2843034"/>
              <a:gd name="connsiteY27" fmla="*/ 1839528 h 2294515"/>
              <a:gd name="connsiteX28" fmla="*/ 132 w 2843034"/>
              <a:gd name="connsiteY28" fmla="*/ 1605219 h 2294515"/>
              <a:gd name="connsiteX29" fmla="*/ 9763 w 2843034"/>
              <a:gd name="connsiteY29" fmla="*/ 1474783 h 2294515"/>
              <a:gd name="connsiteX30" fmla="*/ 63726 w 2843034"/>
              <a:gd name="connsiteY30" fmla="*/ 1244034 h 2294515"/>
              <a:gd name="connsiteX31" fmla="*/ 255940 w 2843034"/>
              <a:gd name="connsiteY31" fmla="*/ 779887 h 2294515"/>
              <a:gd name="connsiteX32" fmla="*/ 347974 w 2843034"/>
              <a:gd name="connsiteY32" fmla="*/ 609801 h 2294515"/>
              <a:gd name="connsiteX33" fmla="*/ 584074 w 2843034"/>
              <a:gd name="connsiteY33" fmla="*/ 292878 h 2294515"/>
              <a:gd name="connsiteX34" fmla="*/ 694713 w 2843034"/>
              <a:gd name="connsiteY34" fmla="*/ 183629 h 2294515"/>
              <a:gd name="connsiteX35" fmla="*/ 824264 w 2843034"/>
              <a:gd name="connsiteY35" fmla="*/ 90961 h 2294515"/>
              <a:gd name="connsiteX36" fmla="*/ 945117 w 2843034"/>
              <a:gd name="connsiteY36" fmla="*/ 30747 h 2294515"/>
              <a:gd name="connsiteX37" fmla="*/ 1072704 w 2843034"/>
              <a:gd name="connsiteY37" fmla="*/ 3203 h 2294515"/>
              <a:gd name="connsiteX38" fmla="*/ 1198539 w 2843034"/>
              <a:gd name="connsiteY38" fmla="*/ 2381 h 229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843034" h="2294515">
                <a:moveTo>
                  <a:pt x="1198539" y="2381"/>
                </a:moveTo>
                <a:cubicBezTo>
                  <a:pt x="1254856" y="9632"/>
                  <a:pt x="1310621" y="22613"/>
                  <a:pt x="1364395" y="41187"/>
                </a:cubicBezTo>
                <a:cubicBezTo>
                  <a:pt x="1398874" y="52875"/>
                  <a:pt x="1435095" y="67234"/>
                  <a:pt x="1473181" y="83809"/>
                </a:cubicBezTo>
                <a:cubicBezTo>
                  <a:pt x="1556122" y="129305"/>
                  <a:pt x="1636403" y="179231"/>
                  <a:pt x="1713852" y="233300"/>
                </a:cubicBezTo>
                <a:cubicBezTo>
                  <a:pt x="1740958" y="252320"/>
                  <a:pt x="1768630" y="271983"/>
                  <a:pt x="1796866" y="292288"/>
                </a:cubicBezTo>
                <a:cubicBezTo>
                  <a:pt x="2010960" y="447394"/>
                  <a:pt x="2232410" y="592470"/>
                  <a:pt x="2460883" y="726933"/>
                </a:cubicBezTo>
                <a:cubicBezTo>
                  <a:pt x="2481553" y="741535"/>
                  <a:pt x="2501841" y="754810"/>
                  <a:pt x="2522037" y="766591"/>
                </a:cubicBezTo>
                <a:cubicBezTo>
                  <a:pt x="2551649" y="790937"/>
                  <a:pt x="2580818" y="814187"/>
                  <a:pt x="2609834" y="836169"/>
                </a:cubicBezTo>
                <a:cubicBezTo>
                  <a:pt x="2625397" y="849649"/>
                  <a:pt x="2640745" y="862089"/>
                  <a:pt x="2655819" y="873722"/>
                </a:cubicBezTo>
                <a:cubicBezTo>
                  <a:pt x="2764049" y="979886"/>
                  <a:pt x="2825240" y="1089124"/>
                  <a:pt x="2839288" y="1200917"/>
                </a:cubicBezTo>
                <a:lnTo>
                  <a:pt x="2840633" y="1203237"/>
                </a:lnTo>
                <a:cubicBezTo>
                  <a:pt x="2853561" y="1323794"/>
                  <a:pt x="2814297" y="1449229"/>
                  <a:pt x="2722734" y="1579022"/>
                </a:cubicBezTo>
                <a:cubicBezTo>
                  <a:pt x="2718910" y="1584122"/>
                  <a:pt x="2715421" y="1589801"/>
                  <a:pt x="2712621" y="1595664"/>
                </a:cubicBezTo>
                <a:cubicBezTo>
                  <a:pt x="2686874" y="1632125"/>
                  <a:pt x="2658282" y="1666352"/>
                  <a:pt x="2627138" y="1698181"/>
                </a:cubicBezTo>
                <a:cubicBezTo>
                  <a:pt x="2529733" y="1782806"/>
                  <a:pt x="2415056" y="1845654"/>
                  <a:pt x="2291183" y="1882277"/>
                </a:cubicBezTo>
                <a:cubicBezTo>
                  <a:pt x="2264694" y="1889389"/>
                  <a:pt x="2238773" y="1897141"/>
                  <a:pt x="2213357" y="1905763"/>
                </a:cubicBezTo>
                <a:cubicBezTo>
                  <a:pt x="2159602" y="1918305"/>
                  <a:pt x="2106750" y="1932069"/>
                  <a:pt x="2055212" y="1946431"/>
                </a:cubicBezTo>
                <a:cubicBezTo>
                  <a:pt x="1862320" y="2006694"/>
                  <a:pt x="1665726" y="2067926"/>
                  <a:pt x="1465662" y="2130187"/>
                </a:cubicBezTo>
                <a:cubicBezTo>
                  <a:pt x="1332702" y="2173193"/>
                  <a:pt x="1196287" y="2212580"/>
                  <a:pt x="1056419" y="2248347"/>
                </a:cubicBezTo>
                <a:cubicBezTo>
                  <a:pt x="1004959" y="2257831"/>
                  <a:pt x="945701" y="2268899"/>
                  <a:pt x="879040" y="2281902"/>
                </a:cubicBezTo>
                <a:cubicBezTo>
                  <a:pt x="826954" y="2290972"/>
                  <a:pt x="773799" y="2294857"/>
                  <a:pt x="720846" y="2293406"/>
                </a:cubicBezTo>
                <a:cubicBezTo>
                  <a:pt x="663440" y="2296641"/>
                  <a:pt x="605975" y="2292758"/>
                  <a:pt x="549538" y="2282289"/>
                </a:cubicBezTo>
                <a:cubicBezTo>
                  <a:pt x="520577" y="2274774"/>
                  <a:pt x="492168" y="2265203"/>
                  <a:pt x="464250" y="2253802"/>
                </a:cubicBezTo>
                <a:cubicBezTo>
                  <a:pt x="441697" y="2245310"/>
                  <a:pt x="419926" y="2234821"/>
                  <a:pt x="399041" y="2222857"/>
                </a:cubicBezTo>
                <a:cubicBezTo>
                  <a:pt x="341127" y="2193131"/>
                  <a:pt x="288781" y="2153629"/>
                  <a:pt x="244222" y="2106168"/>
                </a:cubicBezTo>
                <a:cubicBezTo>
                  <a:pt x="196588" y="2060090"/>
                  <a:pt x="153757" y="2008930"/>
                  <a:pt x="116571" y="1954137"/>
                </a:cubicBezTo>
                <a:lnTo>
                  <a:pt x="116250" y="1952582"/>
                </a:lnTo>
                <a:cubicBezTo>
                  <a:pt x="92178" y="1916735"/>
                  <a:pt x="71302" y="1879051"/>
                  <a:pt x="53622" y="1839528"/>
                </a:cubicBezTo>
                <a:cubicBezTo>
                  <a:pt x="16779" y="1766946"/>
                  <a:pt x="-1455" y="1686367"/>
                  <a:pt x="132" y="1605219"/>
                </a:cubicBezTo>
                <a:cubicBezTo>
                  <a:pt x="-725" y="1561631"/>
                  <a:pt x="2623" y="1517943"/>
                  <a:pt x="9763" y="1474783"/>
                </a:cubicBezTo>
                <a:cubicBezTo>
                  <a:pt x="22817" y="1396707"/>
                  <a:pt x="40749" y="1319695"/>
                  <a:pt x="63726" y="1244034"/>
                </a:cubicBezTo>
                <a:cubicBezTo>
                  <a:pt x="118430" y="1085746"/>
                  <a:pt x="182582" y="930726"/>
                  <a:pt x="255940" y="779887"/>
                </a:cubicBezTo>
                <a:cubicBezTo>
                  <a:pt x="285671" y="721223"/>
                  <a:pt x="316639" y="664360"/>
                  <a:pt x="347974" y="609801"/>
                </a:cubicBezTo>
                <a:cubicBezTo>
                  <a:pt x="416976" y="497234"/>
                  <a:pt x="495778" y="391212"/>
                  <a:pt x="584074" y="292878"/>
                </a:cubicBezTo>
                <a:cubicBezTo>
                  <a:pt x="618951" y="254455"/>
                  <a:pt x="655816" y="217791"/>
                  <a:pt x="694713" y="183629"/>
                </a:cubicBezTo>
                <a:cubicBezTo>
                  <a:pt x="735002" y="148861"/>
                  <a:pt x="778456" y="117881"/>
                  <a:pt x="824264" y="90961"/>
                </a:cubicBezTo>
                <a:cubicBezTo>
                  <a:pt x="862929" y="67760"/>
                  <a:pt x="903213" y="47690"/>
                  <a:pt x="945117" y="30747"/>
                </a:cubicBezTo>
                <a:cubicBezTo>
                  <a:pt x="986668" y="17874"/>
                  <a:pt x="1029489" y="8526"/>
                  <a:pt x="1072704" y="3203"/>
                </a:cubicBezTo>
                <a:cubicBezTo>
                  <a:pt x="1114345" y="-827"/>
                  <a:pt x="1156672" y="-999"/>
                  <a:pt x="1198539" y="2381"/>
                </a:cubicBezTo>
                <a:close/>
              </a:path>
            </a:pathLst>
          </a:cu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0" rIns="182880" bIns="0" rtlCol="0" anchor="ctr">
            <a:noAutofit/>
          </a:bodyPr>
          <a:lstStyle/>
          <a:p>
            <a:pPr algn="ctr">
              <a:spcBef>
                <a:spcPts val="600"/>
              </a:spcBef>
            </a:pPr>
            <a:r>
              <a:rPr lang="en-GB" sz="1200" b="1">
                <a:solidFill>
                  <a:schemeClr val="accent3"/>
                </a:solidFill>
              </a:rPr>
              <a:t>Phase 2 data are presented.</a:t>
            </a:r>
          </a:p>
          <a:p>
            <a:pPr algn="ctr">
              <a:spcBef>
                <a:spcPts val="600"/>
              </a:spcBef>
            </a:pPr>
            <a:r>
              <a:rPr lang="en-GB" sz="1200" b="1">
                <a:solidFill>
                  <a:schemeClr val="accent3"/>
                </a:solidFill>
              </a:rPr>
              <a:t>The phase 3 stage (52-week treatment period) is ongoing.</a:t>
            </a:r>
          </a:p>
        </p:txBody>
      </p:sp>
    </p:spTree>
    <p:extLst>
      <p:ext uri="{BB962C8B-B14F-4D97-AF65-F5344CB8AC3E}">
        <p14:creationId xmlns:p14="http://schemas.microsoft.com/office/powerpoint/2010/main" val="4255448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AE4EB-88B7-6947-C3EF-A2EC2867EEB9}"/>
            </a:ext>
          </a:extLst>
        </p:cNvPr>
        <p:cNvGrpSpPr/>
        <p:nvPr/>
      </p:nvGrpSpPr>
      <p:grpSpPr>
        <a:xfrm>
          <a:off x="0" y="0"/>
          <a:ext cx="0" cy="0"/>
          <a:chOff x="0" y="0"/>
          <a:chExt cx="0" cy="0"/>
        </a:xfrm>
      </p:grpSpPr>
      <p:sp>
        <p:nvSpPr>
          <p:cNvPr id="20" name="Footer Placeholder 19">
            <a:extLst>
              <a:ext uri="{FF2B5EF4-FFF2-40B4-BE49-F238E27FC236}">
                <a16:creationId xmlns:a16="http://schemas.microsoft.com/office/drawing/2014/main" id="{5E3082A5-08CE-0774-10F1-3E8AC71A66F8}"/>
              </a:ext>
            </a:extLst>
          </p:cNvPr>
          <p:cNvSpPr>
            <a:spLocks noGrp="1"/>
          </p:cNvSpPr>
          <p:nvPr>
            <p:ph type="ftr" sz="quarter" idx="11"/>
          </p:nvPr>
        </p:nvSpPr>
        <p:spPr>
          <a:xfrm>
            <a:off x="924194" y="5998059"/>
            <a:ext cx="10909035" cy="687368"/>
          </a:xfrm>
        </p:spPr>
        <p:txBody>
          <a:bodyPr/>
          <a:lstStyle/>
          <a:p>
            <a:pPr lvl="0"/>
            <a:r>
              <a:rPr kumimoji="0" lang="en-US" sz="800" b="0" i="0" u="none" strike="noStrike" kern="1200" cap="none" spc="0" normalizeH="0" baseline="0" noProof="0">
                <a:ln>
                  <a:noFill/>
                </a:ln>
                <a:solidFill>
                  <a:srgbClr val="5A5A5A">
                    <a:lumMod val="75000"/>
                  </a:srgbClr>
                </a:solidFill>
                <a:effectLst/>
                <a:uLnTx/>
                <a:uFillTx/>
                <a:latin typeface="Calibri" panose="020F0502020204030204"/>
                <a:ea typeface="+mn-ea"/>
                <a:cs typeface="+mn-cs"/>
              </a:rPr>
              <a:t>ACR</a:t>
            </a:r>
            <a:r>
              <a:rPr lang="en-US">
                <a:solidFill>
                  <a:srgbClr val="5A5A5A">
                    <a:lumMod val="75000"/>
                  </a:srgbClr>
                </a:solidFill>
              </a:rPr>
              <a:t>, American College of Radiology; </a:t>
            </a:r>
            <a:r>
              <a:rPr lang="en-US" err="1">
                <a:solidFill>
                  <a:srgbClr val="5A5A5A">
                    <a:lumMod val="75000"/>
                  </a:srgbClr>
                </a:solidFill>
              </a:rPr>
              <a:t>ASyS</a:t>
            </a:r>
            <a:r>
              <a:rPr lang="en-US">
                <a:solidFill>
                  <a:srgbClr val="5A5A5A">
                    <a:lumMod val="75000"/>
                  </a:srgbClr>
                </a:solidFill>
              </a:rPr>
              <a:t>, </a:t>
            </a:r>
            <a:r>
              <a:rPr lang="en-GB" err="1">
                <a:solidFill>
                  <a:srgbClr val="5A5A5A">
                    <a:lumMod val="75000"/>
                  </a:srgbClr>
                </a:solidFill>
              </a:rPr>
              <a:t>antisynthetase</a:t>
            </a:r>
            <a:r>
              <a:rPr lang="en-GB">
                <a:solidFill>
                  <a:srgbClr val="5A5A5A">
                    <a:lumMod val="75000"/>
                  </a:srgbClr>
                </a:solidFill>
              </a:rPr>
              <a:t> syndrome</a:t>
            </a:r>
            <a:r>
              <a:rPr lang="en-US">
                <a:solidFill>
                  <a:srgbClr val="5A5A5A">
                    <a:lumMod val="75000"/>
                  </a:srgbClr>
                </a:solidFill>
              </a:rPr>
              <a:t>; CSM, </a:t>
            </a:r>
            <a:r>
              <a:rPr lang="en-US">
                <a:solidFill>
                  <a:srgbClr val="5A5A5A"/>
                </a:solidFill>
              </a:rPr>
              <a:t>Core Set Measures</a:t>
            </a:r>
            <a:r>
              <a:rPr lang="en-US">
                <a:solidFill>
                  <a:srgbClr val="5A5A5A">
                    <a:lumMod val="75000"/>
                  </a:srgbClr>
                </a:solidFill>
              </a:rPr>
              <a:t>; DM, </a:t>
            </a:r>
            <a:r>
              <a:rPr lang="en-GB">
                <a:solidFill>
                  <a:srgbClr val="5A5A5A">
                    <a:lumMod val="75000"/>
                  </a:srgbClr>
                </a:solidFill>
              </a:rPr>
              <a:t>dermatomyositis; </a:t>
            </a:r>
            <a:r>
              <a:rPr lang="en-US">
                <a:solidFill>
                  <a:srgbClr val="5A5A5A">
                    <a:lumMod val="75000"/>
                  </a:srgbClr>
                </a:solidFill>
              </a:rPr>
              <a:t>EULAR</a:t>
            </a:r>
            <a:r>
              <a:rPr kumimoji="0" lang="en-US" sz="800" b="0" i="0" u="none" strike="noStrike" kern="1200" cap="none" spc="0" normalizeH="0" baseline="0" noProof="0">
                <a:ln>
                  <a:noFill/>
                </a:ln>
                <a:solidFill>
                  <a:srgbClr val="5A5A5A">
                    <a:lumMod val="75000"/>
                  </a:srgbClr>
                </a:solidFill>
                <a:effectLst/>
                <a:uLnTx/>
                <a:uFillTx/>
                <a:latin typeface="Calibri" panose="020F0502020204030204"/>
                <a:ea typeface="+mn-ea"/>
                <a:cs typeface="+mn-cs"/>
              </a:rPr>
              <a:t>, European Alliance of Associations for Rheumatology; IIM, </a:t>
            </a:r>
            <a:r>
              <a:rPr lang="en-GB">
                <a:solidFill>
                  <a:srgbClr val="5A5A5A">
                    <a:lumMod val="75000"/>
                  </a:srgbClr>
                </a:solidFill>
              </a:rPr>
              <a:t>idiopathic inflammatory myopathy;</a:t>
            </a:r>
            <a:r>
              <a:rPr kumimoji="0" lang="en-US" sz="800" b="0" i="0" u="none" strike="noStrike" kern="1200" cap="none" spc="0" normalizeH="0" baseline="0" noProof="0">
                <a:ln>
                  <a:noFill/>
                </a:ln>
                <a:solidFill>
                  <a:srgbClr val="5A5A5A">
                    <a:lumMod val="75000"/>
                  </a:srgbClr>
                </a:solidFill>
                <a:effectLst/>
                <a:uLnTx/>
                <a:uFillTx/>
                <a:latin typeface="Calibri" panose="020F0502020204030204"/>
                <a:ea typeface="+mn-ea"/>
                <a:cs typeface="+mn-cs"/>
              </a:rPr>
              <a:t> IMNM, </a:t>
            </a:r>
            <a:r>
              <a:rPr lang="en-GB">
                <a:solidFill>
                  <a:srgbClr val="5A5A5A">
                    <a:lumMod val="75000"/>
                  </a:srgbClr>
                </a:solidFill>
              </a:rPr>
              <a:t>immune-mediated necrotizing myopathy</a:t>
            </a:r>
            <a:r>
              <a:rPr kumimoji="0" lang="en-US" sz="800" b="0" i="0" u="none" strike="noStrike" kern="1200" cap="none" spc="0" normalizeH="0" baseline="0" noProof="0">
                <a:ln>
                  <a:noFill/>
                </a:ln>
                <a:solidFill>
                  <a:srgbClr val="5A5A5A">
                    <a:lumMod val="75000"/>
                  </a:srgbClr>
                </a:solidFill>
                <a:effectLst/>
                <a:uLnTx/>
                <a:uFillTx/>
                <a:latin typeface="Calibri" panose="020F0502020204030204"/>
                <a:ea typeface="+mn-ea"/>
                <a:cs typeface="+mn-cs"/>
              </a:rPr>
              <a:t>; MRI, </a:t>
            </a:r>
            <a:r>
              <a:rPr lang="en-GB">
                <a:solidFill>
                  <a:srgbClr val="5A5A5A">
                    <a:lumMod val="75000"/>
                  </a:srgbClr>
                </a:solidFill>
              </a:rPr>
              <a:t>magnetic resonance imaging</a:t>
            </a:r>
            <a:r>
              <a:rPr lang="en-US">
                <a:solidFill>
                  <a:srgbClr val="5A5A5A">
                    <a:lumMod val="75000"/>
                  </a:srgbClr>
                </a:solidFill>
              </a:rPr>
              <a:t>; PM, </a:t>
            </a:r>
            <a:r>
              <a:rPr lang="en-GB">
                <a:solidFill>
                  <a:srgbClr val="5A5A5A">
                    <a:lumMod val="75000"/>
                  </a:srgbClr>
                </a:solidFill>
              </a:rPr>
              <a:t>polymyositis</a:t>
            </a:r>
            <a:r>
              <a:rPr kumimoji="0" lang="en-US" sz="800" b="0" i="0" u="none" strike="noStrike" kern="1200" cap="none" spc="0" normalizeH="0" baseline="0" noProof="0">
                <a:ln>
                  <a:noFill/>
                </a:ln>
                <a:solidFill>
                  <a:srgbClr val="5A5A5A">
                    <a:lumMod val="75000"/>
                  </a:srgbClr>
                </a:solidFill>
                <a:effectLst/>
                <a:uLnTx/>
                <a:uFillTx/>
                <a:latin typeface="Calibri" panose="020F0502020204030204"/>
                <a:ea typeface="+mn-ea"/>
                <a:cs typeface="+mn-cs"/>
              </a:rPr>
              <a:t>; </a:t>
            </a:r>
            <a:r>
              <a:rPr kumimoji="0" lang="en-US" sz="800" b="0" i="0" u="none" strike="noStrike" kern="1200" cap="none" spc="0" normalizeH="0" baseline="0" noProof="0" err="1">
                <a:ln>
                  <a:noFill/>
                </a:ln>
                <a:solidFill>
                  <a:srgbClr val="5A5A5A">
                    <a:lumMod val="75000"/>
                  </a:srgbClr>
                </a:solidFill>
                <a:effectLst/>
                <a:uLnTx/>
                <a:uFillTx/>
                <a:latin typeface="Calibri" panose="020F0502020204030204"/>
                <a:ea typeface="+mn-ea"/>
                <a:cs typeface="+mn-cs"/>
              </a:rPr>
              <a:t>SjD</a:t>
            </a:r>
            <a:r>
              <a:rPr kumimoji="0" lang="en-US" sz="800" b="0" i="0" u="none" strike="noStrike" kern="1200" cap="none" spc="0" normalizeH="0" baseline="0" noProof="0">
                <a:ln>
                  <a:noFill/>
                </a:ln>
                <a:solidFill>
                  <a:srgbClr val="5A5A5A">
                    <a:lumMod val="75000"/>
                  </a:srgbClr>
                </a:solidFill>
                <a:effectLst/>
                <a:uLnTx/>
                <a:uFillTx/>
                <a:latin typeface="Calibri" panose="020F0502020204030204"/>
                <a:ea typeface="+mn-ea"/>
                <a:cs typeface="+mn-cs"/>
              </a:rPr>
              <a:t>, Sjögren's disease.</a:t>
            </a:r>
          </a:p>
          <a:p>
            <a:pPr lvl="0"/>
            <a:r>
              <a:rPr kumimoji="0" lang="en-US" sz="800" b="0" i="0" u="none" strike="noStrike" kern="1200" cap="none" spc="0" normalizeH="0" noProof="0">
                <a:ln>
                  <a:noFill/>
                </a:ln>
                <a:solidFill>
                  <a:srgbClr val="5A5A5A">
                    <a:lumMod val="75000"/>
                  </a:srgbClr>
                </a:solidFill>
                <a:effectLst/>
                <a:uLnTx/>
                <a:uFillTx/>
                <a:latin typeface="Calibri" panose="020F0502020204030204"/>
                <a:ea typeface="+mn-ea"/>
                <a:cs typeface="+mn-cs"/>
              </a:rPr>
              <a:t>*Diagnosed &lt; 5 years from screening.</a:t>
            </a:r>
          </a:p>
          <a:p>
            <a:pPr lvl="0"/>
            <a:r>
              <a:rPr kumimoji="0" lang="en-US" sz="800" b="0" i="0" u="none" strike="noStrike" kern="1200" cap="none" spc="0" normalizeH="0" baseline="30000" noProof="0">
                <a:ln>
                  <a:noFill/>
                </a:ln>
                <a:solidFill>
                  <a:srgbClr val="5A5A5A">
                    <a:lumMod val="75000"/>
                  </a:srgbClr>
                </a:solidFill>
                <a:effectLst/>
                <a:uLnTx/>
                <a:uFillTx/>
                <a:latin typeface="Calibri" panose="020F0502020204030204"/>
                <a:ea typeface="+mn-ea"/>
                <a:cs typeface="+mn-cs"/>
              </a:rPr>
              <a:t>1</a:t>
            </a:r>
            <a:r>
              <a:rPr kumimoji="0" lang="en-US" sz="800" b="0" i="0" u="none" strike="noStrike" kern="1200" cap="none" spc="0" normalizeH="0" noProof="0">
                <a:ln>
                  <a:noFill/>
                </a:ln>
                <a:solidFill>
                  <a:srgbClr val="5A5A5A">
                    <a:lumMod val="75000"/>
                  </a:srgbClr>
                </a:solidFill>
                <a:effectLst/>
                <a:uLnTx/>
                <a:uFillTx/>
                <a:latin typeface="Calibri" panose="020F0502020204030204"/>
                <a:ea typeface="+mn-ea"/>
                <a:cs typeface="+mn-cs"/>
              </a:rPr>
              <a:t>American College of Rheumatology/European League Against Rheumatism (2016) </a:t>
            </a:r>
            <a:r>
              <a:rPr kumimoji="0" lang="en-GB" sz="800" b="0" i="0" u="none" strike="noStrike" kern="1200" cap="none" spc="0" normalizeH="0" noProof="0">
                <a:ln>
                  <a:noFill/>
                </a:ln>
                <a:solidFill>
                  <a:srgbClr val="5A5A5A">
                    <a:lumMod val="75000"/>
                  </a:srgbClr>
                </a:solidFill>
                <a:effectLst/>
                <a:uLnTx/>
                <a:uFillTx/>
                <a:latin typeface="Calibri" panose="020F0502020204030204"/>
                <a:ea typeface="+mn-ea"/>
                <a:cs typeface="+mn-cs"/>
              </a:rPr>
              <a:t>ACR/EULAR Criteria for Minimal, Moderate, and Major Clinical Response in Adult </a:t>
            </a:r>
            <a:r>
              <a:rPr lang="en-GB">
                <a:solidFill>
                  <a:srgbClr val="5A5A5A">
                    <a:lumMod val="75000"/>
                  </a:srgbClr>
                </a:solidFill>
                <a:latin typeface="Calibri" panose="020F0502020204030204"/>
              </a:rPr>
              <a:t>D</a:t>
            </a:r>
            <a:r>
              <a:rPr kumimoji="0" lang="en-GB" sz="800" b="0" i="0" u="none" strike="noStrike" kern="1200" cap="none" spc="0" normalizeH="0" noProof="0" err="1">
                <a:ln>
                  <a:noFill/>
                </a:ln>
                <a:solidFill>
                  <a:srgbClr val="5A5A5A">
                    <a:lumMod val="75000"/>
                  </a:srgbClr>
                </a:solidFill>
                <a:effectLst/>
                <a:uLnTx/>
                <a:uFillTx/>
                <a:latin typeface="Calibri" panose="020F0502020204030204"/>
                <a:ea typeface="+mn-ea"/>
                <a:cs typeface="+mn-cs"/>
              </a:rPr>
              <a:t>ermatomyositis</a:t>
            </a:r>
            <a:r>
              <a:rPr kumimoji="0" lang="en-GB" sz="800" b="0" i="0" u="none" strike="noStrike" kern="1200" cap="none" spc="0" normalizeH="0" noProof="0">
                <a:ln>
                  <a:noFill/>
                </a:ln>
                <a:solidFill>
                  <a:srgbClr val="5A5A5A">
                    <a:lumMod val="75000"/>
                  </a:srgbClr>
                </a:solidFill>
                <a:effectLst/>
                <a:uLnTx/>
                <a:uFillTx/>
                <a:latin typeface="Calibri" panose="020F0502020204030204"/>
                <a:ea typeface="+mn-ea"/>
                <a:cs typeface="+mn-cs"/>
              </a:rPr>
              <a:t> and Polymyositis and Juvenile Dermatomyositis. Available at </a:t>
            </a:r>
            <a:r>
              <a:rPr kumimoji="0" lang="en-GB" sz="800" b="0" i="0" u="none" strike="noStrike" kern="1200" cap="none" spc="0" normalizeH="0" noProof="0">
                <a:ln>
                  <a:noFill/>
                </a:ln>
                <a:solidFill>
                  <a:srgbClr val="5A5A5A">
                    <a:lumMod val="75000"/>
                  </a:srgbClr>
                </a:solidFill>
                <a:effectLst/>
                <a:uLnTx/>
                <a:uFillTx/>
                <a:latin typeface="Calibri" panose="020F0502020204030204"/>
                <a:ea typeface="+mn-ea"/>
                <a:cs typeface="+mn-cs"/>
                <a:hlinkClick r:id="rId3"/>
              </a:rPr>
              <a:t>https://www.niehs.nih.gov/research/resources/imacs/response_criteria/final_myositis_response_criteria_508.pdf</a:t>
            </a:r>
            <a:r>
              <a:rPr kumimoji="0" lang="en-GB" sz="800" b="0" i="0" u="none" strike="noStrike" kern="1200" cap="none" spc="0" normalizeH="0" noProof="0">
                <a:ln>
                  <a:noFill/>
                </a:ln>
                <a:solidFill>
                  <a:srgbClr val="5A5A5A">
                    <a:lumMod val="75000"/>
                  </a:srgbClr>
                </a:solidFill>
                <a:effectLst/>
                <a:uLnTx/>
                <a:uFillTx/>
                <a:latin typeface="Calibri" panose="020F0502020204030204"/>
                <a:ea typeface="+mn-ea"/>
                <a:cs typeface="+mn-cs"/>
              </a:rPr>
              <a:t>. Accessed October 28, 2025.</a:t>
            </a:r>
            <a:endParaRPr kumimoji="0" lang="en-US" sz="800" b="0" i="0" u="none" strike="noStrike" kern="1200" cap="none" spc="0" normalizeH="0" baseline="30000" noProof="0">
              <a:ln>
                <a:noFill/>
              </a:ln>
              <a:solidFill>
                <a:srgbClr val="5A5A5A">
                  <a:lumMod val="75000"/>
                </a:srgbClr>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0F57E5CC-75AF-0764-7CC5-7C00D8C31B5B}"/>
              </a:ext>
            </a:extLst>
          </p:cNvPr>
          <p:cNvSpPr>
            <a:spLocks noGrp="1"/>
          </p:cNvSpPr>
          <p:nvPr>
            <p:ph type="sldNum" sz="quarter" idx="12"/>
          </p:nvPr>
        </p:nvSpPr>
        <p:spPr>
          <a:xfrm>
            <a:off x="361949" y="6409540"/>
            <a:ext cx="274320" cy="27432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16DDDD-2DB5-41B0-89CB-F50E795279FE}" type="slidenum">
              <a:rPr kumimoji="0" lang="en-GB" sz="800" b="0" i="0" u="none" strike="noStrike" kern="1200" cap="none" spc="0" normalizeH="0" baseline="0" noProof="0" smtClean="0">
                <a:ln>
                  <a:noFill/>
                </a:ln>
                <a:solidFill>
                  <a:srgbClr val="5A5A5A">
                    <a:lumMod val="75000"/>
                  </a:srgbClr>
                </a:solidFill>
                <a:effectLst/>
                <a:uLnTx/>
                <a:uFillTx/>
                <a:latin typeface="Calibri" panose="020F050202020403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GB" sz="800" b="0" i="0" u="none" strike="noStrike" kern="1200" cap="none" spc="0" normalizeH="0" baseline="0" noProof="0">
              <a:ln>
                <a:noFill/>
              </a:ln>
              <a:solidFill>
                <a:srgbClr val="5A5A5A">
                  <a:lumMod val="75000"/>
                </a:srgbClr>
              </a:solidFill>
              <a:effectLst/>
              <a:uLnTx/>
              <a:uFillTx/>
              <a:latin typeface="Calibri" panose="020F0502020204030204" pitchFamily="34" charset="0"/>
              <a:ea typeface="+mn-ea"/>
              <a:cs typeface="+mn-cs"/>
            </a:endParaRPr>
          </a:p>
        </p:txBody>
      </p:sp>
      <p:sp>
        <p:nvSpPr>
          <p:cNvPr id="38" name="Title 37">
            <a:extLst>
              <a:ext uri="{FF2B5EF4-FFF2-40B4-BE49-F238E27FC236}">
                <a16:creationId xmlns:a16="http://schemas.microsoft.com/office/drawing/2014/main" id="{9572305A-953E-D105-03B5-831034C0021F}"/>
              </a:ext>
            </a:extLst>
          </p:cNvPr>
          <p:cNvSpPr>
            <a:spLocks noGrp="1"/>
          </p:cNvSpPr>
          <p:nvPr>
            <p:ph type="title"/>
          </p:nvPr>
        </p:nvSpPr>
        <p:spPr>
          <a:xfrm rot="5400000">
            <a:off x="5786162" y="-5276004"/>
            <a:ext cx="457200" cy="12029521"/>
          </a:xfrm>
        </p:spPr>
        <p:txBody>
          <a:bodyPr tIns="0" bIns="0"/>
          <a:lstStyle/>
          <a:p>
            <a:r>
              <a:rPr lang="en-US"/>
              <a:t>Eligibility Criteria</a:t>
            </a:r>
          </a:p>
        </p:txBody>
      </p:sp>
      <p:grpSp>
        <p:nvGrpSpPr>
          <p:cNvPr id="22" name="Graphic 2358">
            <a:extLst>
              <a:ext uri="{FF2B5EF4-FFF2-40B4-BE49-F238E27FC236}">
                <a16:creationId xmlns:a16="http://schemas.microsoft.com/office/drawing/2014/main" id="{422022BA-B1F5-35D4-121B-E9B46B7037E7}"/>
              </a:ext>
            </a:extLst>
          </p:cNvPr>
          <p:cNvGrpSpPr>
            <a:grpSpLocks noChangeAspect="1"/>
          </p:cNvGrpSpPr>
          <p:nvPr/>
        </p:nvGrpSpPr>
        <p:grpSpPr>
          <a:xfrm>
            <a:off x="4065540" y="1464667"/>
            <a:ext cx="850995" cy="712874"/>
            <a:chOff x="-2223214" y="2358437"/>
            <a:chExt cx="634621" cy="531621"/>
          </a:xfrm>
          <a:solidFill>
            <a:schemeClr val="accent1"/>
          </a:solidFill>
        </p:grpSpPr>
        <p:sp>
          <p:nvSpPr>
            <p:cNvPr id="24" name="Freeform 2364">
              <a:extLst>
                <a:ext uri="{FF2B5EF4-FFF2-40B4-BE49-F238E27FC236}">
                  <a16:creationId xmlns:a16="http://schemas.microsoft.com/office/drawing/2014/main" id="{46D38E25-CEF2-59A7-4CF9-29CF6C2620B7}"/>
                </a:ext>
              </a:extLst>
            </p:cNvPr>
            <p:cNvSpPr/>
            <p:nvPr/>
          </p:nvSpPr>
          <p:spPr>
            <a:xfrm>
              <a:off x="-1729335" y="2645350"/>
              <a:ext cx="140742" cy="244615"/>
            </a:xfrm>
            <a:custGeom>
              <a:avLst/>
              <a:gdLst>
                <a:gd name="connsiteX0" fmla="*/ 49094 w 140742"/>
                <a:gd name="connsiteY0" fmla="*/ 94 h 244615"/>
                <a:gd name="connsiteX1" fmla="*/ 0 w 140742"/>
                <a:gd name="connsiteY1" fmla="*/ 94 h 244615"/>
                <a:gd name="connsiteX2" fmla="*/ 7772 w 140742"/>
                <a:gd name="connsiteY2" fmla="*/ 43421 h 244615"/>
                <a:gd name="connsiteX3" fmla="*/ 7772 w 140742"/>
                <a:gd name="connsiteY3" fmla="*/ 226555 h 244615"/>
                <a:gd name="connsiteX4" fmla="*/ 4644 w 140742"/>
                <a:gd name="connsiteY4" fmla="*/ 244615 h 244615"/>
                <a:gd name="connsiteX5" fmla="*/ 85772 w 140742"/>
                <a:gd name="connsiteY5" fmla="*/ 244615 h 244615"/>
                <a:gd name="connsiteX6" fmla="*/ 140743 w 140742"/>
                <a:gd name="connsiteY6" fmla="*/ 190340 h 244615"/>
                <a:gd name="connsiteX7" fmla="*/ 140743 w 140742"/>
                <a:gd name="connsiteY7" fmla="*/ 90491 h 244615"/>
                <a:gd name="connsiteX8" fmla="*/ 49094 w 140742"/>
                <a:gd name="connsiteY8" fmla="*/ 0 h 244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742" h="244615">
                  <a:moveTo>
                    <a:pt x="49094" y="94"/>
                  </a:moveTo>
                  <a:lnTo>
                    <a:pt x="0" y="94"/>
                  </a:lnTo>
                  <a:cubicBezTo>
                    <a:pt x="5023" y="13663"/>
                    <a:pt x="7772" y="28261"/>
                    <a:pt x="7772" y="43421"/>
                  </a:cubicBezTo>
                  <a:lnTo>
                    <a:pt x="7772" y="226555"/>
                  </a:lnTo>
                  <a:cubicBezTo>
                    <a:pt x="7772" y="232918"/>
                    <a:pt x="6634" y="239001"/>
                    <a:pt x="4644" y="244615"/>
                  </a:cubicBezTo>
                  <a:lnTo>
                    <a:pt x="85772" y="244615"/>
                  </a:lnTo>
                  <a:cubicBezTo>
                    <a:pt x="116101" y="244615"/>
                    <a:pt x="140743" y="220285"/>
                    <a:pt x="140743" y="190340"/>
                  </a:cubicBezTo>
                  <a:lnTo>
                    <a:pt x="140743" y="90491"/>
                  </a:lnTo>
                  <a:cubicBezTo>
                    <a:pt x="140743" y="40613"/>
                    <a:pt x="99610" y="0"/>
                    <a:pt x="49094" y="0"/>
                  </a:cubicBezTo>
                </a:path>
              </a:pathLst>
            </a:custGeom>
            <a:solidFill>
              <a:schemeClr val="bg2">
                <a:lumMod val="75000"/>
              </a:schemeClr>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Freeform 2365">
              <a:extLst>
                <a:ext uri="{FF2B5EF4-FFF2-40B4-BE49-F238E27FC236}">
                  <a16:creationId xmlns:a16="http://schemas.microsoft.com/office/drawing/2014/main" id="{45B1EA95-A23D-43D1-3C06-ADCC287ED268}"/>
                </a:ext>
              </a:extLst>
            </p:cNvPr>
            <p:cNvSpPr/>
            <p:nvPr/>
          </p:nvSpPr>
          <p:spPr>
            <a:xfrm>
              <a:off x="-2223214" y="2645443"/>
              <a:ext cx="140742" cy="244615"/>
            </a:xfrm>
            <a:custGeom>
              <a:avLst/>
              <a:gdLst>
                <a:gd name="connsiteX0" fmla="*/ 132971 w 140742"/>
                <a:gd name="connsiteY0" fmla="*/ 43327 h 244615"/>
                <a:gd name="connsiteX1" fmla="*/ 140743 w 140742"/>
                <a:gd name="connsiteY1" fmla="*/ 0 h 244615"/>
                <a:gd name="connsiteX2" fmla="*/ 91649 w 140742"/>
                <a:gd name="connsiteY2" fmla="*/ 0 h 244615"/>
                <a:gd name="connsiteX3" fmla="*/ 0 w 140742"/>
                <a:gd name="connsiteY3" fmla="*/ 90491 h 244615"/>
                <a:gd name="connsiteX4" fmla="*/ 0 w 140742"/>
                <a:gd name="connsiteY4" fmla="*/ 190340 h 244615"/>
                <a:gd name="connsiteX5" fmla="*/ 54970 w 140742"/>
                <a:gd name="connsiteY5" fmla="*/ 244615 h 244615"/>
                <a:gd name="connsiteX6" fmla="*/ 136099 w 140742"/>
                <a:gd name="connsiteY6" fmla="*/ 244615 h 244615"/>
                <a:gd name="connsiteX7" fmla="*/ 132971 w 140742"/>
                <a:gd name="connsiteY7" fmla="*/ 226555 h 244615"/>
                <a:gd name="connsiteX8" fmla="*/ 132971 w 140742"/>
                <a:gd name="connsiteY8" fmla="*/ 43421 h 244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742" h="244615">
                  <a:moveTo>
                    <a:pt x="132971" y="43327"/>
                  </a:moveTo>
                  <a:cubicBezTo>
                    <a:pt x="132971" y="28074"/>
                    <a:pt x="135719" y="13569"/>
                    <a:pt x="140743" y="0"/>
                  </a:cubicBezTo>
                  <a:lnTo>
                    <a:pt x="91649" y="0"/>
                  </a:lnTo>
                  <a:cubicBezTo>
                    <a:pt x="41133" y="0"/>
                    <a:pt x="0" y="40613"/>
                    <a:pt x="0" y="90491"/>
                  </a:cubicBezTo>
                  <a:lnTo>
                    <a:pt x="0" y="190340"/>
                  </a:lnTo>
                  <a:cubicBezTo>
                    <a:pt x="0" y="220285"/>
                    <a:pt x="24642" y="244615"/>
                    <a:pt x="54970" y="244615"/>
                  </a:cubicBezTo>
                  <a:lnTo>
                    <a:pt x="136099" y="244615"/>
                  </a:lnTo>
                  <a:cubicBezTo>
                    <a:pt x="134013" y="238907"/>
                    <a:pt x="132971" y="232824"/>
                    <a:pt x="132971" y="226555"/>
                  </a:cubicBezTo>
                  <a:lnTo>
                    <a:pt x="132971" y="43421"/>
                  </a:lnTo>
                  <a:close/>
                </a:path>
              </a:pathLst>
            </a:custGeom>
            <a:solidFill>
              <a:schemeClr val="bg2">
                <a:lumMod val="75000"/>
              </a:schemeClr>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 name="Freeform 2366">
              <a:extLst>
                <a:ext uri="{FF2B5EF4-FFF2-40B4-BE49-F238E27FC236}">
                  <a16:creationId xmlns:a16="http://schemas.microsoft.com/office/drawing/2014/main" id="{8FC036F5-1ED0-6C2F-A7E9-B3F594202C25}"/>
                </a:ext>
              </a:extLst>
            </p:cNvPr>
            <p:cNvSpPr>
              <a:spLocks noChangeAspect="1"/>
            </p:cNvSpPr>
            <p:nvPr/>
          </p:nvSpPr>
          <p:spPr>
            <a:xfrm>
              <a:off x="-2053657" y="2598278"/>
              <a:ext cx="295322" cy="291684"/>
            </a:xfrm>
            <a:custGeom>
              <a:avLst/>
              <a:gdLst>
                <a:gd name="connsiteX0" fmla="*/ 203863 w 295322"/>
                <a:gd name="connsiteY0" fmla="*/ 0 h 291685"/>
                <a:gd name="connsiteX1" fmla="*/ 91649 w 295322"/>
                <a:gd name="connsiteY1" fmla="*/ 0 h 291685"/>
                <a:gd name="connsiteX2" fmla="*/ 0 w 295322"/>
                <a:gd name="connsiteY2" fmla="*/ 90491 h 291685"/>
                <a:gd name="connsiteX3" fmla="*/ 0 w 295322"/>
                <a:gd name="connsiteY3" fmla="*/ 273625 h 291685"/>
                <a:gd name="connsiteX4" fmla="*/ 18292 w 295322"/>
                <a:gd name="connsiteY4" fmla="*/ 291686 h 291685"/>
                <a:gd name="connsiteX5" fmla="*/ 277031 w 295322"/>
                <a:gd name="connsiteY5" fmla="*/ 291686 h 291685"/>
                <a:gd name="connsiteX6" fmla="*/ 295322 w 295322"/>
                <a:gd name="connsiteY6" fmla="*/ 273625 h 291685"/>
                <a:gd name="connsiteX7" fmla="*/ 295322 w 295322"/>
                <a:gd name="connsiteY7" fmla="*/ 90491 h 291685"/>
                <a:gd name="connsiteX8" fmla="*/ 203674 w 295322"/>
                <a:gd name="connsiteY8" fmla="*/ 0 h 2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322" h="291685">
                  <a:moveTo>
                    <a:pt x="203863" y="0"/>
                  </a:moveTo>
                  <a:lnTo>
                    <a:pt x="91649" y="0"/>
                  </a:lnTo>
                  <a:cubicBezTo>
                    <a:pt x="41133" y="0"/>
                    <a:pt x="0" y="40613"/>
                    <a:pt x="0" y="90491"/>
                  </a:cubicBezTo>
                  <a:lnTo>
                    <a:pt x="0" y="273625"/>
                  </a:lnTo>
                  <a:cubicBezTo>
                    <a:pt x="0" y="283638"/>
                    <a:pt x="8246" y="291686"/>
                    <a:pt x="18292" y="291686"/>
                  </a:cubicBezTo>
                  <a:lnTo>
                    <a:pt x="277031" y="291686"/>
                  </a:lnTo>
                  <a:cubicBezTo>
                    <a:pt x="287172" y="291686"/>
                    <a:pt x="295322" y="283544"/>
                    <a:pt x="295322" y="273625"/>
                  </a:cubicBezTo>
                  <a:lnTo>
                    <a:pt x="295322" y="90491"/>
                  </a:lnTo>
                  <a:cubicBezTo>
                    <a:pt x="295322" y="40613"/>
                    <a:pt x="254190" y="0"/>
                    <a:pt x="203674" y="0"/>
                  </a:cubicBezTo>
                </a:path>
              </a:pathLst>
            </a:custGeom>
            <a:solidFill>
              <a:schemeClr val="accent1"/>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Freeform 2367">
              <a:extLst>
                <a:ext uri="{FF2B5EF4-FFF2-40B4-BE49-F238E27FC236}">
                  <a16:creationId xmlns:a16="http://schemas.microsoft.com/office/drawing/2014/main" id="{D3E7B5A1-A000-FA0D-49AC-8E73F94B32A2}"/>
                </a:ext>
              </a:extLst>
            </p:cNvPr>
            <p:cNvSpPr/>
            <p:nvPr/>
          </p:nvSpPr>
          <p:spPr>
            <a:xfrm>
              <a:off x="-2016033" y="2358437"/>
              <a:ext cx="220259" cy="217571"/>
            </a:xfrm>
            <a:custGeom>
              <a:avLst/>
              <a:gdLst>
                <a:gd name="connsiteX0" fmla="*/ 110130 w 220259"/>
                <a:gd name="connsiteY0" fmla="*/ 0 h 217571"/>
                <a:gd name="connsiteX1" fmla="*/ 0 w 220259"/>
                <a:gd name="connsiteY1" fmla="*/ 108739 h 217571"/>
                <a:gd name="connsiteX2" fmla="*/ 56297 w 220259"/>
                <a:gd name="connsiteY2" fmla="*/ 203628 h 217571"/>
                <a:gd name="connsiteX3" fmla="*/ 110130 w 220259"/>
                <a:gd name="connsiteY3" fmla="*/ 217571 h 217571"/>
                <a:gd name="connsiteX4" fmla="*/ 163963 w 220259"/>
                <a:gd name="connsiteY4" fmla="*/ 203628 h 217571"/>
                <a:gd name="connsiteX5" fmla="*/ 220260 w 220259"/>
                <a:gd name="connsiteY5" fmla="*/ 108739 h 217571"/>
                <a:gd name="connsiteX6" fmla="*/ 110130 w 220259"/>
                <a:gd name="connsiteY6" fmla="*/ 0 h 21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259" h="217571">
                  <a:moveTo>
                    <a:pt x="110130" y="0"/>
                  </a:moveTo>
                  <a:cubicBezTo>
                    <a:pt x="49378" y="0"/>
                    <a:pt x="0" y="48848"/>
                    <a:pt x="0" y="108739"/>
                  </a:cubicBezTo>
                  <a:cubicBezTo>
                    <a:pt x="0" y="149446"/>
                    <a:pt x="22746" y="185006"/>
                    <a:pt x="56297" y="203628"/>
                  </a:cubicBezTo>
                  <a:cubicBezTo>
                    <a:pt x="72219" y="212518"/>
                    <a:pt x="90606" y="217571"/>
                    <a:pt x="110130" y="217571"/>
                  </a:cubicBezTo>
                  <a:cubicBezTo>
                    <a:pt x="129654" y="217571"/>
                    <a:pt x="148040" y="212518"/>
                    <a:pt x="163963" y="203628"/>
                  </a:cubicBezTo>
                  <a:cubicBezTo>
                    <a:pt x="197513" y="185006"/>
                    <a:pt x="220260" y="149446"/>
                    <a:pt x="220260" y="108739"/>
                  </a:cubicBezTo>
                  <a:cubicBezTo>
                    <a:pt x="220260" y="48755"/>
                    <a:pt x="170881" y="0"/>
                    <a:pt x="110130" y="0"/>
                  </a:cubicBezTo>
                </a:path>
              </a:pathLst>
            </a:custGeom>
            <a:solidFill>
              <a:schemeClr val="accent1"/>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Freeform 2368">
              <a:extLst>
                <a:ext uri="{FF2B5EF4-FFF2-40B4-BE49-F238E27FC236}">
                  <a16:creationId xmlns:a16="http://schemas.microsoft.com/office/drawing/2014/main" id="{C15550C1-886C-5DC5-8B39-ECBA8BE8A082}"/>
                </a:ext>
              </a:extLst>
            </p:cNvPr>
            <p:cNvSpPr/>
            <p:nvPr/>
          </p:nvSpPr>
          <p:spPr>
            <a:xfrm>
              <a:off x="-2181702" y="2459782"/>
              <a:ext cx="164815" cy="162640"/>
            </a:xfrm>
            <a:custGeom>
              <a:avLst/>
              <a:gdLst>
                <a:gd name="connsiteX0" fmla="*/ 82360 w 164815"/>
                <a:gd name="connsiteY0" fmla="*/ 0 h 162640"/>
                <a:gd name="connsiteX1" fmla="*/ 0 w 164815"/>
                <a:gd name="connsiteY1" fmla="*/ 81320 h 162640"/>
                <a:gd name="connsiteX2" fmla="*/ 82360 w 164815"/>
                <a:gd name="connsiteY2" fmla="*/ 162640 h 162640"/>
                <a:gd name="connsiteX3" fmla="*/ 114869 w 164815"/>
                <a:gd name="connsiteY3" fmla="*/ 156090 h 162640"/>
                <a:gd name="connsiteX4" fmla="*/ 155149 w 164815"/>
                <a:gd name="connsiteY4" fmla="*/ 119594 h 162640"/>
                <a:gd name="connsiteX5" fmla="*/ 164816 w 164815"/>
                <a:gd name="connsiteY5" fmla="*/ 81414 h 162640"/>
                <a:gd name="connsiteX6" fmla="*/ 82455 w 164815"/>
                <a:gd name="connsiteY6" fmla="*/ 94 h 16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5" h="162640">
                  <a:moveTo>
                    <a:pt x="82360" y="0"/>
                  </a:moveTo>
                  <a:cubicBezTo>
                    <a:pt x="36963" y="0"/>
                    <a:pt x="0" y="36496"/>
                    <a:pt x="0" y="81320"/>
                  </a:cubicBezTo>
                  <a:cubicBezTo>
                    <a:pt x="0" y="126144"/>
                    <a:pt x="36963" y="162640"/>
                    <a:pt x="82360" y="162640"/>
                  </a:cubicBezTo>
                  <a:cubicBezTo>
                    <a:pt x="93923" y="162640"/>
                    <a:pt x="104822" y="160301"/>
                    <a:pt x="114869" y="156090"/>
                  </a:cubicBezTo>
                  <a:cubicBezTo>
                    <a:pt x="132118" y="148791"/>
                    <a:pt x="146334" y="135783"/>
                    <a:pt x="155149" y="119594"/>
                  </a:cubicBezTo>
                  <a:cubicBezTo>
                    <a:pt x="161309" y="108177"/>
                    <a:pt x="164816" y="95170"/>
                    <a:pt x="164816" y="81414"/>
                  </a:cubicBezTo>
                  <a:cubicBezTo>
                    <a:pt x="164816" y="36589"/>
                    <a:pt x="127853" y="94"/>
                    <a:pt x="82455" y="94"/>
                  </a:cubicBezTo>
                </a:path>
              </a:pathLst>
            </a:custGeom>
            <a:solidFill>
              <a:schemeClr val="bg2">
                <a:lumMod val="75000"/>
              </a:schemeClr>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 name="Freeform 2369">
              <a:extLst>
                <a:ext uri="{FF2B5EF4-FFF2-40B4-BE49-F238E27FC236}">
                  <a16:creationId xmlns:a16="http://schemas.microsoft.com/office/drawing/2014/main" id="{2AE3C988-E687-DDD3-3BFC-0001506A6D3F}"/>
                </a:ext>
              </a:extLst>
            </p:cNvPr>
            <p:cNvSpPr/>
            <p:nvPr/>
          </p:nvSpPr>
          <p:spPr>
            <a:xfrm>
              <a:off x="-1794825" y="2459689"/>
              <a:ext cx="164815" cy="162640"/>
            </a:xfrm>
            <a:custGeom>
              <a:avLst/>
              <a:gdLst>
                <a:gd name="connsiteX0" fmla="*/ 82360 w 164815"/>
                <a:gd name="connsiteY0" fmla="*/ 94 h 162640"/>
                <a:gd name="connsiteX1" fmla="*/ 0 w 164815"/>
                <a:gd name="connsiteY1" fmla="*/ 81414 h 162640"/>
                <a:gd name="connsiteX2" fmla="*/ 9667 w 164815"/>
                <a:gd name="connsiteY2" fmla="*/ 119594 h 162640"/>
                <a:gd name="connsiteX3" fmla="*/ 49947 w 164815"/>
                <a:gd name="connsiteY3" fmla="*/ 156090 h 162640"/>
                <a:gd name="connsiteX4" fmla="*/ 82455 w 164815"/>
                <a:gd name="connsiteY4" fmla="*/ 162640 h 162640"/>
                <a:gd name="connsiteX5" fmla="*/ 164816 w 164815"/>
                <a:gd name="connsiteY5" fmla="*/ 81320 h 162640"/>
                <a:gd name="connsiteX6" fmla="*/ 82455 w 164815"/>
                <a:gd name="connsiteY6" fmla="*/ 0 h 16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5" h="162640">
                  <a:moveTo>
                    <a:pt x="82360" y="94"/>
                  </a:moveTo>
                  <a:cubicBezTo>
                    <a:pt x="36963" y="94"/>
                    <a:pt x="0" y="36589"/>
                    <a:pt x="0" y="81414"/>
                  </a:cubicBezTo>
                  <a:cubicBezTo>
                    <a:pt x="0" y="95263"/>
                    <a:pt x="3507" y="108271"/>
                    <a:pt x="9667" y="119594"/>
                  </a:cubicBezTo>
                  <a:cubicBezTo>
                    <a:pt x="18481" y="135877"/>
                    <a:pt x="32698" y="148791"/>
                    <a:pt x="49947" y="156090"/>
                  </a:cubicBezTo>
                  <a:cubicBezTo>
                    <a:pt x="59899" y="160301"/>
                    <a:pt x="70893" y="162640"/>
                    <a:pt x="82455" y="162640"/>
                  </a:cubicBezTo>
                  <a:cubicBezTo>
                    <a:pt x="127853" y="162640"/>
                    <a:pt x="164816" y="126144"/>
                    <a:pt x="164816" y="81320"/>
                  </a:cubicBezTo>
                  <a:cubicBezTo>
                    <a:pt x="164816" y="36496"/>
                    <a:pt x="127853" y="0"/>
                    <a:pt x="82455" y="0"/>
                  </a:cubicBezTo>
                </a:path>
              </a:pathLst>
            </a:custGeom>
            <a:solidFill>
              <a:schemeClr val="bg2">
                <a:lumMod val="75000"/>
              </a:schemeClr>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33" name="Straight Connector 32">
            <a:extLst>
              <a:ext uri="{FF2B5EF4-FFF2-40B4-BE49-F238E27FC236}">
                <a16:creationId xmlns:a16="http://schemas.microsoft.com/office/drawing/2014/main" id="{0041169B-B4CD-3238-F6A2-9D6A5CD9C8A8}"/>
              </a:ext>
            </a:extLst>
          </p:cNvPr>
          <p:cNvCxnSpPr>
            <a:cxnSpLocks/>
          </p:cNvCxnSpPr>
          <p:nvPr/>
        </p:nvCxnSpPr>
        <p:spPr>
          <a:xfrm flipV="1">
            <a:off x="361948" y="1949213"/>
            <a:ext cx="3596441" cy="616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5" name="object 136">
            <a:extLst>
              <a:ext uri="{FF2B5EF4-FFF2-40B4-BE49-F238E27FC236}">
                <a16:creationId xmlns:a16="http://schemas.microsoft.com/office/drawing/2014/main" id="{B00BE89B-692E-EF25-08B0-8404CF568BD2}"/>
              </a:ext>
            </a:extLst>
          </p:cNvPr>
          <p:cNvSpPr/>
          <p:nvPr/>
        </p:nvSpPr>
        <p:spPr>
          <a:xfrm>
            <a:off x="385836" y="1678274"/>
            <a:ext cx="3057067" cy="270940"/>
          </a:xfrm>
          <a:prstGeom prst="rect">
            <a:avLst/>
          </a:prstGeom>
          <a:noFill/>
          <a:ln>
            <a:noFill/>
          </a:ln>
        </p:spPr>
        <p:txBody>
          <a:bodyPr wrap="square" lIns="0" tIns="0" rIns="0" bIns="0" numCol="1" spcCol="274320" rtlCol="0" anchor="t" anchorCtr="0"/>
          <a:lstStyle/>
          <a:p>
            <a:pPr marL="17894" marR="58509" lvl="0" indent="0" algn="l" defTabSz="914400" rtl="0" eaLnBrk="1" fontAlgn="auto" latinLnBrk="0" hangingPunct="1">
              <a:lnSpc>
                <a:spcPct val="95000"/>
              </a:lnSpc>
              <a:spcBef>
                <a:spcPts val="600"/>
              </a:spcBef>
              <a:spcAft>
                <a:spcPts val="0"/>
              </a:spcAft>
              <a:buClrTx/>
              <a:buSzTx/>
              <a:buFontTx/>
              <a:buNone/>
              <a:tabLst/>
              <a:defRPr/>
            </a:pPr>
            <a:r>
              <a:rPr kumimoji="0" lang="en-US" sz="2000" b="1" i="0" u="none" strike="noStrike" kern="0" cap="none" spc="0" normalizeH="0" baseline="0" noProof="0">
                <a:ln>
                  <a:noFill/>
                </a:ln>
                <a:solidFill>
                  <a:srgbClr val="0B436E"/>
                </a:solidFill>
                <a:effectLst/>
                <a:uLnTx/>
                <a:uFillTx/>
                <a:latin typeface="Calibri" panose="020F0502020204030204"/>
                <a:ea typeface="+mn-ea"/>
                <a:cs typeface="+mn-cs"/>
              </a:rPr>
              <a:t>Select Inclusion Criteria</a:t>
            </a:r>
          </a:p>
        </p:txBody>
      </p:sp>
      <p:sp>
        <p:nvSpPr>
          <p:cNvPr id="41" name="Content Placeholder 1">
            <a:extLst>
              <a:ext uri="{FF2B5EF4-FFF2-40B4-BE49-F238E27FC236}">
                <a16:creationId xmlns:a16="http://schemas.microsoft.com/office/drawing/2014/main" id="{404E76AC-0F17-B9D8-C598-6281017B64E2}"/>
              </a:ext>
            </a:extLst>
          </p:cNvPr>
          <p:cNvSpPr txBox="1">
            <a:spLocks/>
          </p:cNvSpPr>
          <p:nvPr/>
        </p:nvSpPr>
        <p:spPr>
          <a:xfrm>
            <a:off x="347572" y="1867466"/>
            <a:ext cx="5219291" cy="4311353"/>
          </a:xfrm>
          <a:prstGeom prst="rect">
            <a:avLst/>
          </a:prstGeom>
        </p:spPr>
        <p:txBody>
          <a:bodyPr vert="horz" lIns="0" tIns="0" rIns="0" bIns="0" rtlCol="0" anchor="t">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lang="en-US" sz="2000" b="1" kern="1200" dirty="0" smtClean="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4"/>
              </a:buBlip>
              <a:tabLst/>
              <a:defRPr lang="en-US" sz="1700" kern="1200" dirty="0" smtClean="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lang="en-US" sz="1500" kern="1200" dirty="0" smtClean="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lang="en-US" sz="1300" kern="1200" dirty="0" smtClean="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lang="en-US" sz="1100" kern="1200" dirty="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5000"/>
              </a:lnSpc>
              <a:spcBef>
                <a:spcPts val="500"/>
              </a:spcBef>
              <a:spcAft>
                <a:spcPts val="0"/>
              </a:spcAft>
              <a:buClr>
                <a:srgbClr val="91C353"/>
              </a:buClr>
              <a:buSzPct val="95000"/>
              <a:buFontTx/>
              <a:buNone/>
              <a:tabLst/>
              <a:defRPr/>
            </a:pPr>
            <a:endParaRPr kumimoji="0" lang="en-US" sz="1700" b="0" i="0" u="none" strike="noStrike" kern="1200" cap="none" spc="0" normalizeH="0" baseline="0" noProof="0" dirty="0">
              <a:ln>
                <a:noFill/>
              </a:ln>
              <a:solidFill>
                <a:srgbClr val="5A5A5A">
                  <a:lumMod val="75000"/>
                </a:srgbClr>
              </a:solidFill>
              <a:effectLst/>
              <a:uLnTx/>
              <a:uFillTx/>
              <a:latin typeface="Calibri" panose="020F0502020204030204"/>
              <a:ea typeface="+mn-ea"/>
              <a:cs typeface="+mn-cs"/>
            </a:endParaRPr>
          </a:p>
          <a:p>
            <a:pPr marL="179070" marR="0" lvl="1" indent="-179070" algn="l" defTabSz="914400" rtl="0" eaLnBrk="1" fontAlgn="auto" latinLnBrk="0" hangingPunct="1">
              <a:lnSpc>
                <a:spcPct val="105000"/>
              </a:lnSpc>
              <a:spcBef>
                <a:spcPts val="500"/>
              </a:spcBef>
              <a:spcAft>
                <a:spcPts val="0"/>
              </a:spcAft>
              <a:buClr>
                <a:srgbClr val="91C353"/>
              </a:buClr>
              <a:buSzPct val="95000"/>
              <a:buFontTx/>
              <a:buBlip>
                <a:blip r:embed="rId4"/>
              </a:buBlip>
              <a:tabLst/>
              <a:defRPr/>
            </a:pPr>
            <a:r>
              <a:rPr kumimoji="0" lang="en-GB" sz="1400" b="0" i="0" u="none" strike="noStrike" kern="1200" cap="none" spc="0" normalizeH="0" baseline="0" noProof="0" dirty="0">
                <a:ln>
                  <a:noFill/>
                </a:ln>
                <a:solidFill>
                  <a:srgbClr val="5A5A5A"/>
                </a:solidFill>
                <a:effectLst/>
                <a:uLnTx/>
                <a:uFillTx/>
                <a:latin typeface="Calibri" panose="020F0502020204030204"/>
                <a:ea typeface="+mn-ea"/>
                <a:cs typeface="+mn-cs"/>
              </a:rPr>
              <a:t>Adults with a definite or probable clinical </a:t>
            </a:r>
            <a:br>
              <a:rPr kumimoji="0" lang="en-GB" sz="1400" b="0" i="0" u="none" strike="noStrike" kern="1200" cap="none" spc="0" normalizeH="0" baseline="0" noProof="0" dirty="0">
                <a:ln>
                  <a:noFill/>
                </a:ln>
                <a:solidFill>
                  <a:srgbClr val="5A5A5A"/>
                </a:solidFill>
                <a:effectLst/>
                <a:uLnTx/>
                <a:uFillTx/>
                <a:latin typeface="Calibri" panose="020F0502020204030204"/>
                <a:ea typeface="+mn-ea"/>
                <a:cs typeface="+mn-cs"/>
              </a:rPr>
            </a:br>
            <a:r>
              <a:rPr kumimoji="0" lang="en-GB" sz="1400" b="0" i="0" u="none" strike="noStrike" kern="1200" cap="none" spc="0" normalizeH="0" baseline="0" noProof="0" dirty="0">
                <a:ln>
                  <a:noFill/>
                </a:ln>
                <a:solidFill>
                  <a:srgbClr val="5A5A5A"/>
                </a:solidFill>
                <a:effectLst/>
                <a:uLnTx/>
                <a:uFillTx/>
                <a:latin typeface="Calibri" panose="020F0502020204030204"/>
                <a:ea typeface="+mn-ea"/>
                <a:cs typeface="+mn-cs"/>
              </a:rPr>
              <a:t>diagnosis of IIM (2017 ACR/ EULAR criteria)</a:t>
            </a:r>
            <a:r>
              <a:rPr kumimoji="0" lang="en-GB" sz="1400" b="0" i="0" u="none" strike="noStrike" kern="1200" cap="none" spc="0" normalizeH="0" baseline="30000" noProof="0" dirty="0">
                <a:ln>
                  <a:noFill/>
                </a:ln>
                <a:solidFill>
                  <a:srgbClr val="5A5A5A"/>
                </a:solidFill>
                <a:effectLst/>
                <a:uLnTx/>
                <a:uFillTx/>
                <a:latin typeface="Calibri" panose="020F0502020204030204"/>
                <a:ea typeface="+mn-ea"/>
                <a:cs typeface="+mn-cs"/>
              </a:rPr>
              <a:t>1</a:t>
            </a:r>
            <a:endParaRPr kumimoji="0" lang="en-GB" sz="1400" b="0" i="0" u="none" strike="noStrike" kern="1200" cap="none" spc="0" normalizeH="0" baseline="0" noProof="0" dirty="0">
              <a:ln>
                <a:noFill/>
              </a:ln>
              <a:solidFill>
                <a:srgbClr val="5A5A5A"/>
              </a:solidFill>
              <a:effectLst/>
              <a:uLnTx/>
              <a:uFillTx/>
              <a:latin typeface="Calibri" panose="020F0502020204030204"/>
              <a:ea typeface="Calibri"/>
              <a:cs typeface="Calibri"/>
            </a:endParaRPr>
          </a:p>
          <a:p>
            <a:pPr marL="179070" marR="0" lvl="1" indent="-179070" algn="l" defTabSz="914400" rtl="0" eaLnBrk="1" fontAlgn="auto" latinLnBrk="0" hangingPunct="1">
              <a:lnSpc>
                <a:spcPct val="105000"/>
              </a:lnSpc>
              <a:spcBef>
                <a:spcPts val="500"/>
              </a:spcBef>
              <a:spcAft>
                <a:spcPts val="0"/>
              </a:spcAft>
              <a:buClr>
                <a:srgbClr val="91C353"/>
              </a:buClr>
              <a:buSzPct val="95000"/>
              <a:buFontTx/>
              <a:buBlip>
                <a:blip r:embed="rId4"/>
              </a:buBlip>
              <a:tabLst/>
              <a:defRPr/>
            </a:pPr>
            <a:r>
              <a:rPr kumimoji="0" lang="en-GB" sz="1400" b="0" i="0" u="none" strike="noStrike" kern="1200" cap="none" spc="0" normalizeH="0" baseline="0" noProof="0" dirty="0">
                <a:ln>
                  <a:noFill/>
                </a:ln>
                <a:solidFill>
                  <a:srgbClr val="5A5A5A"/>
                </a:solidFill>
                <a:effectLst/>
                <a:uLnTx/>
                <a:uFillTx/>
                <a:latin typeface="Calibri" panose="020F0502020204030204"/>
                <a:ea typeface="+mn-ea"/>
                <a:cs typeface="+mn-cs"/>
              </a:rPr>
              <a:t>One of the following medical histories: </a:t>
            </a:r>
            <a:endParaRPr kumimoji="0" lang="en-GB" sz="1400" b="0" i="0" u="none" strike="noStrike" kern="1200" cap="none" spc="0" normalizeH="0" baseline="0" noProof="0" dirty="0">
              <a:ln>
                <a:noFill/>
              </a:ln>
              <a:solidFill>
                <a:srgbClr val="5A5A5A"/>
              </a:solidFill>
              <a:effectLst/>
              <a:uLnTx/>
              <a:uFillTx/>
              <a:latin typeface="Calibri" panose="020F0502020204030204"/>
              <a:ea typeface="Calibri" panose="020F0502020204030204"/>
              <a:cs typeface="Calibri" panose="020F0502020204030204"/>
            </a:endParaRPr>
          </a:p>
          <a:p>
            <a:pPr marL="342900" marR="0" lvl="2" indent="-114300" algn="l" defTabSz="914400" rtl="0" eaLnBrk="1" fontAlgn="auto" latinLnBrk="0" hangingPunct="1">
              <a:lnSpc>
                <a:spcPct val="105000"/>
              </a:lnSpc>
              <a:spcBef>
                <a:spcPts val="500"/>
              </a:spcBef>
              <a:spcAft>
                <a:spcPts val="0"/>
              </a:spcAft>
              <a:buClr>
                <a:srgbClr val="91C353"/>
              </a:buClr>
              <a:buSzTx/>
              <a:buFont typeface="Calibri" panose="020F0502020204030204" pitchFamily="34" charset="0"/>
              <a:buChar char="–"/>
              <a:tabLst/>
              <a:defRPr/>
            </a:pPr>
            <a:r>
              <a:rPr kumimoji="0" lang="en-GB" sz="1200" b="0" i="0" u="none" strike="noStrike" kern="1200" cap="none" spc="0" normalizeH="0" baseline="0" noProof="0" dirty="0">
                <a:ln>
                  <a:noFill/>
                </a:ln>
                <a:solidFill>
                  <a:srgbClr val="5A5A5A"/>
                </a:solidFill>
                <a:effectLst/>
                <a:uLnTx/>
                <a:uFillTx/>
                <a:latin typeface="Calibri" panose="020F0502020204030204"/>
                <a:ea typeface="+mn-ea"/>
                <a:cs typeface="+mn-cs"/>
              </a:rPr>
              <a:t>Diagnosis of DM or juvenile DM</a:t>
            </a:r>
            <a:r>
              <a:rPr kumimoji="0" lang="en-GB" sz="1200" b="0" i="0" u="none" strike="noStrike" kern="1200" cap="none" spc="0" normalizeH="0" noProof="0" dirty="0">
                <a:ln>
                  <a:noFill/>
                </a:ln>
                <a:solidFill>
                  <a:srgbClr val="5A5A5A"/>
                </a:solidFill>
                <a:effectLst/>
                <a:uLnTx/>
                <a:uFillTx/>
                <a:latin typeface="Calibri" panose="020F0502020204030204"/>
                <a:ea typeface="+mn-ea"/>
                <a:cs typeface="+mn-cs"/>
              </a:rPr>
              <a:t>*</a:t>
            </a:r>
            <a:r>
              <a:rPr kumimoji="0" lang="en-GB" sz="1200" b="0" i="0" u="none" strike="noStrike" kern="1200" cap="none" spc="0" normalizeH="0" baseline="0" noProof="0" dirty="0">
                <a:ln>
                  <a:noFill/>
                </a:ln>
                <a:solidFill>
                  <a:srgbClr val="5A5A5A"/>
                </a:solidFill>
                <a:effectLst/>
                <a:uLnTx/>
                <a:uFillTx/>
                <a:latin typeface="Calibri" panose="020F0502020204030204"/>
                <a:ea typeface="+mn-ea"/>
                <a:cs typeface="+mn-cs"/>
              </a:rPr>
              <a:t> </a:t>
            </a:r>
            <a:endParaRPr kumimoji="0" lang="en-GB" sz="1200" b="0" i="0" u="none" strike="noStrike" kern="1200" cap="none" spc="0" normalizeH="0" baseline="0" noProof="0" dirty="0">
              <a:ln>
                <a:noFill/>
              </a:ln>
              <a:solidFill>
                <a:srgbClr val="5A5A5A"/>
              </a:solidFill>
              <a:effectLst/>
              <a:uLnTx/>
              <a:uFillTx/>
              <a:latin typeface="Calibri" panose="020F0502020204030204"/>
              <a:ea typeface="Calibri"/>
              <a:cs typeface="Calibri"/>
            </a:endParaRPr>
          </a:p>
          <a:p>
            <a:pPr marL="342900" marR="0" lvl="2" indent="-114300" algn="l" defTabSz="914400" rtl="0" eaLnBrk="1" fontAlgn="auto" latinLnBrk="0" hangingPunct="1">
              <a:lnSpc>
                <a:spcPct val="105000"/>
              </a:lnSpc>
              <a:spcBef>
                <a:spcPts val="500"/>
              </a:spcBef>
              <a:spcAft>
                <a:spcPts val="0"/>
              </a:spcAft>
              <a:buClr>
                <a:srgbClr val="91C353"/>
              </a:buClr>
              <a:buSzTx/>
              <a:buFont typeface="Calibri" panose="020F0502020204030204" pitchFamily="34" charset="0"/>
              <a:buChar char="–"/>
              <a:tabLst/>
              <a:defRPr/>
            </a:pPr>
            <a:r>
              <a:rPr kumimoji="0" lang="en-GB" sz="1200" b="0" i="0" u="none" strike="noStrike" kern="1200" cap="none" spc="0" normalizeH="0" baseline="0" noProof="0" dirty="0">
                <a:ln>
                  <a:noFill/>
                </a:ln>
                <a:solidFill>
                  <a:srgbClr val="5A5A5A"/>
                </a:solidFill>
                <a:effectLst/>
                <a:uLnTx/>
                <a:uFillTx/>
                <a:latin typeface="Calibri" panose="020F0502020204030204"/>
                <a:ea typeface="+mn-ea"/>
                <a:cs typeface="+mn-cs"/>
              </a:rPr>
              <a:t>Diagnosis of PM (including </a:t>
            </a:r>
            <a:r>
              <a:rPr kumimoji="0" lang="en-GB" sz="1200" b="0" i="0" u="none" strike="noStrike" kern="1200" cap="none" spc="0" normalizeH="0" baseline="0" noProof="0" dirty="0" err="1">
                <a:ln>
                  <a:noFill/>
                </a:ln>
                <a:solidFill>
                  <a:srgbClr val="5A5A5A"/>
                </a:solidFill>
                <a:effectLst/>
                <a:uLnTx/>
                <a:uFillTx/>
                <a:latin typeface="Calibri" panose="020F0502020204030204"/>
                <a:ea typeface="+mn-ea"/>
                <a:cs typeface="+mn-cs"/>
              </a:rPr>
              <a:t>ASyS</a:t>
            </a:r>
            <a:r>
              <a:rPr kumimoji="0" lang="en-GB" sz="1200" b="0" i="0" u="none" strike="noStrike" kern="1200" cap="none" spc="0" normalizeH="0" baseline="0" noProof="0" dirty="0">
                <a:ln>
                  <a:noFill/>
                </a:ln>
                <a:solidFill>
                  <a:srgbClr val="5A5A5A"/>
                </a:solidFill>
                <a:effectLst/>
                <a:uLnTx/>
                <a:uFillTx/>
                <a:latin typeface="Calibri" panose="020F0502020204030204"/>
                <a:ea typeface="+mn-ea"/>
                <a:cs typeface="+mn-cs"/>
              </a:rPr>
              <a:t>)</a:t>
            </a:r>
          </a:p>
          <a:p>
            <a:pPr marL="342900" marR="0" lvl="2" indent="-114300" algn="l" defTabSz="914400" rtl="0" eaLnBrk="1" fontAlgn="auto" latinLnBrk="0" hangingPunct="1">
              <a:lnSpc>
                <a:spcPct val="105000"/>
              </a:lnSpc>
              <a:spcBef>
                <a:spcPts val="500"/>
              </a:spcBef>
              <a:spcAft>
                <a:spcPts val="0"/>
              </a:spcAft>
              <a:buClr>
                <a:srgbClr val="91C353"/>
              </a:buClr>
              <a:buSzTx/>
              <a:buFont typeface="Calibri" panose="020F0502020204030204" pitchFamily="34" charset="0"/>
              <a:buChar char="–"/>
              <a:tabLst/>
              <a:defRPr/>
            </a:pPr>
            <a:r>
              <a:rPr kumimoji="0" lang="en-GB" sz="1200" b="0" i="0" u="none" strike="noStrike" kern="1200" cap="none" spc="0" normalizeH="0" baseline="0" noProof="0" dirty="0">
                <a:ln>
                  <a:noFill/>
                </a:ln>
                <a:solidFill>
                  <a:srgbClr val="5A5A5A"/>
                </a:solidFill>
                <a:effectLst/>
                <a:uLnTx/>
                <a:uFillTx/>
                <a:latin typeface="Calibri" panose="020F0502020204030204"/>
                <a:ea typeface="+mn-ea"/>
                <a:cs typeface="+mn-cs"/>
              </a:rPr>
              <a:t>Diagnosis of IMNM</a:t>
            </a:r>
          </a:p>
          <a:p>
            <a:pPr marL="179070" marR="0" lvl="1" indent="-179070" algn="l" defTabSz="914400" rtl="0" eaLnBrk="1" fontAlgn="auto" latinLnBrk="0" hangingPunct="1">
              <a:lnSpc>
                <a:spcPct val="105000"/>
              </a:lnSpc>
              <a:spcBef>
                <a:spcPts val="500"/>
              </a:spcBef>
              <a:spcAft>
                <a:spcPts val="0"/>
              </a:spcAft>
              <a:buClr>
                <a:srgbClr val="91C353"/>
              </a:buClr>
              <a:buSzPct val="95000"/>
              <a:buFontTx/>
              <a:buBlip>
                <a:blip r:embed="rId4"/>
              </a:buBlip>
              <a:tabLst/>
              <a:defRPr/>
            </a:pPr>
            <a:r>
              <a:rPr kumimoji="0" lang="en-GB" sz="1400" b="0" i="0" u="none" strike="noStrike" kern="1200" cap="none" spc="0" normalizeH="0" baseline="0" noProof="0" dirty="0">
                <a:ln>
                  <a:noFill/>
                </a:ln>
                <a:solidFill>
                  <a:srgbClr val="5A5A5A"/>
                </a:solidFill>
                <a:effectLst/>
                <a:uLnTx/>
                <a:uFillTx/>
                <a:latin typeface="Calibri" panose="020F0502020204030204"/>
                <a:ea typeface="+mn-ea"/>
                <a:cs typeface="+mn-cs"/>
              </a:rPr>
              <a:t>Active disease as defined by the presence of at least 1 of the following criteria: </a:t>
            </a:r>
            <a:endParaRPr kumimoji="0" lang="en-GB" sz="1400" b="0" i="0" u="none" strike="noStrike" kern="1200" cap="none" spc="0" normalizeH="0" baseline="0" noProof="0" dirty="0">
              <a:ln>
                <a:noFill/>
              </a:ln>
              <a:solidFill>
                <a:srgbClr val="5A5A5A"/>
              </a:solidFill>
              <a:effectLst/>
              <a:uLnTx/>
              <a:uFillTx/>
              <a:latin typeface="Calibri" panose="020F0502020204030204"/>
              <a:ea typeface="Calibri" panose="020F0502020204030204"/>
              <a:cs typeface="Calibri" panose="020F0502020204030204"/>
            </a:endParaRPr>
          </a:p>
          <a:p>
            <a:pPr marL="342900" marR="0" lvl="2" indent="-114300" algn="l" defTabSz="914400" rtl="0" eaLnBrk="1" fontAlgn="auto" latinLnBrk="0" hangingPunct="1">
              <a:lnSpc>
                <a:spcPct val="105000"/>
              </a:lnSpc>
              <a:spcBef>
                <a:spcPts val="500"/>
              </a:spcBef>
              <a:spcAft>
                <a:spcPts val="0"/>
              </a:spcAft>
              <a:buClr>
                <a:srgbClr val="91C353"/>
              </a:buClr>
              <a:buSzTx/>
              <a:buFont typeface="Calibri" panose="020F0502020204030204" pitchFamily="34" charset="0"/>
              <a:buChar char="–"/>
              <a:tabLst/>
              <a:defRPr/>
            </a:pPr>
            <a:r>
              <a:rPr kumimoji="0" lang="en-GB" sz="1200" b="0" i="0" u="none" strike="noStrike" kern="1200" cap="none" spc="0" normalizeH="0" baseline="0" noProof="0" dirty="0">
                <a:ln>
                  <a:noFill/>
                </a:ln>
                <a:solidFill>
                  <a:srgbClr val="5A5A5A"/>
                </a:solidFill>
                <a:effectLst/>
                <a:uLnTx/>
                <a:uFillTx/>
                <a:latin typeface="Calibri" panose="020F0502020204030204"/>
                <a:ea typeface="+mn-ea"/>
                <a:cs typeface="+mn-cs"/>
              </a:rPr>
              <a:t>Abnormal levels of at least 1 muscle enzyme</a:t>
            </a:r>
            <a:endParaRPr kumimoji="0" lang="en-GB" sz="1200" b="0" i="0" u="none" strike="sngStrike" kern="1200" cap="none" spc="0" normalizeH="0" baseline="0" noProof="0" dirty="0">
              <a:ln>
                <a:noFill/>
              </a:ln>
              <a:solidFill>
                <a:srgbClr val="5A5A5A"/>
              </a:solidFill>
              <a:effectLst/>
              <a:uLnTx/>
              <a:uFillTx/>
              <a:latin typeface="Calibri" panose="020F0502020204030204"/>
              <a:ea typeface="+mn-ea"/>
              <a:cs typeface="+mn-cs"/>
            </a:endParaRPr>
          </a:p>
          <a:p>
            <a:pPr marL="342900" marR="0" lvl="2" indent="-114300" algn="l" defTabSz="914400" rtl="0" eaLnBrk="1" fontAlgn="auto" latinLnBrk="0" hangingPunct="1">
              <a:lnSpc>
                <a:spcPct val="105000"/>
              </a:lnSpc>
              <a:spcBef>
                <a:spcPts val="500"/>
              </a:spcBef>
              <a:spcAft>
                <a:spcPts val="0"/>
              </a:spcAft>
              <a:buClr>
                <a:srgbClr val="91C353"/>
              </a:buClr>
              <a:buSzTx/>
              <a:buFont typeface="Calibri" panose="020F0502020204030204" pitchFamily="34" charset="0"/>
              <a:buChar char="–"/>
              <a:tabLst/>
              <a:defRPr/>
            </a:pPr>
            <a:r>
              <a:rPr kumimoji="0" lang="en-GB" sz="1200" b="0" i="0" u="none" strike="noStrike" kern="1200" cap="none" spc="0" normalizeH="0" baseline="0" noProof="0" dirty="0">
                <a:ln>
                  <a:noFill/>
                </a:ln>
                <a:solidFill>
                  <a:srgbClr val="5A5A5A"/>
                </a:solidFill>
                <a:effectLst/>
                <a:uLnTx/>
                <a:uFillTx/>
                <a:latin typeface="Calibri" panose="020F0502020204030204"/>
                <a:ea typeface="+mn-ea"/>
                <a:cs typeface="+mn-cs"/>
              </a:rPr>
              <a:t>Activity confirmed in electromyography, muscle biopsy, or MRI</a:t>
            </a:r>
            <a:endParaRPr kumimoji="0" lang="en-GB" sz="1200" b="0" i="0" u="none" strike="sngStrike" kern="1200" cap="none" spc="0" normalizeH="0" baseline="0" noProof="0" dirty="0">
              <a:ln>
                <a:noFill/>
              </a:ln>
              <a:solidFill>
                <a:srgbClr val="5A5A5A"/>
              </a:solidFill>
              <a:effectLst/>
              <a:uLnTx/>
              <a:uFillTx/>
              <a:latin typeface="Calibri" panose="020F0502020204030204"/>
              <a:ea typeface="+mn-ea"/>
              <a:cs typeface="+mn-cs"/>
            </a:endParaRPr>
          </a:p>
          <a:p>
            <a:pPr marL="342900" marR="0" lvl="2" indent="-114300" algn="l" defTabSz="914400" rtl="0" eaLnBrk="1" fontAlgn="auto" latinLnBrk="0" hangingPunct="1">
              <a:lnSpc>
                <a:spcPct val="105000"/>
              </a:lnSpc>
              <a:spcBef>
                <a:spcPts val="500"/>
              </a:spcBef>
              <a:spcAft>
                <a:spcPts val="0"/>
              </a:spcAft>
              <a:buClr>
                <a:srgbClr val="91C353"/>
              </a:buClr>
              <a:buSzTx/>
              <a:buFont typeface="Calibri" panose="020F0502020204030204" pitchFamily="34" charset="0"/>
              <a:buChar char="–"/>
              <a:tabLst/>
              <a:defRPr/>
            </a:pPr>
            <a:r>
              <a:rPr kumimoji="0" lang="en-GB" sz="1200" b="0" i="0" u="none" strike="noStrike" kern="1200" cap="none" spc="0" normalizeH="0" baseline="0" noProof="0" dirty="0">
                <a:ln>
                  <a:noFill/>
                </a:ln>
                <a:solidFill>
                  <a:srgbClr val="5A5A5A"/>
                </a:solidFill>
                <a:effectLst/>
                <a:uLnTx/>
                <a:uFillTx/>
                <a:latin typeface="Calibri" panose="020F0502020204030204"/>
                <a:ea typeface="+mn-ea"/>
                <a:cs typeface="+mn-cs"/>
              </a:rPr>
              <a:t>Active DM skin rash</a:t>
            </a:r>
          </a:p>
          <a:p>
            <a:pPr marL="179070" lvl="1" indent="-179070">
              <a:spcBef>
                <a:spcPts val="500"/>
              </a:spcBef>
              <a:buClr>
                <a:srgbClr val="91C353"/>
              </a:buClr>
              <a:defRPr/>
            </a:pPr>
            <a:r>
              <a:rPr kumimoji="0" lang="en-GB" sz="1400" b="0" i="0" u="none" strike="noStrike" kern="1200" cap="none" spc="0" normalizeH="0" baseline="0" noProof="0" dirty="0">
                <a:ln>
                  <a:noFill/>
                </a:ln>
                <a:solidFill>
                  <a:srgbClr val="5A5A5A"/>
                </a:solidFill>
                <a:effectLst/>
                <a:uLnTx/>
                <a:uFillTx/>
                <a:latin typeface="Calibri" panose="020F0502020204030204"/>
                <a:ea typeface="+mn-ea"/>
                <a:cs typeface="+mn-cs"/>
              </a:rPr>
              <a:t>Muscle weakness </a:t>
            </a:r>
            <a:r>
              <a:rPr lang="en-GB" sz="1400" dirty="0">
                <a:solidFill>
                  <a:srgbClr val="5A5A5A"/>
                </a:solidFill>
              </a:rPr>
              <a:t>and </a:t>
            </a:r>
            <a:r>
              <a:rPr lang="en-US" sz="1400" dirty="0">
                <a:solidFill>
                  <a:srgbClr val="5A5A5A"/>
                </a:solidFill>
              </a:rPr>
              <a:t>abnormalities in any 2 of the other 5 CSMs</a:t>
            </a:r>
            <a:endParaRPr kumimoji="0" lang="en-GB" sz="1400" b="0" i="0" u="none" strike="noStrike" kern="1200" cap="none" spc="0" normalizeH="0" baseline="0" noProof="0" dirty="0">
              <a:ln>
                <a:noFill/>
              </a:ln>
              <a:solidFill>
                <a:srgbClr val="5A5A5A"/>
              </a:solidFill>
              <a:effectLst/>
              <a:uLnTx/>
              <a:uFillTx/>
              <a:latin typeface="Calibri" panose="020F0502020204030204"/>
              <a:ea typeface="+mn-ea"/>
              <a:cs typeface="+mn-cs"/>
            </a:endParaRPr>
          </a:p>
          <a:p>
            <a:pPr marL="179070" marR="0" lvl="1" indent="-179070" algn="l" defTabSz="914400" rtl="0" eaLnBrk="1" fontAlgn="auto" latinLnBrk="0" hangingPunct="1">
              <a:lnSpc>
                <a:spcPct val="105000"/>
              </a:lnSpc>
              <a:spcBef>
                <a:spcPts val="500"/>
              </a:spcBef>
              <a:spcAft>
                <a:spcPts val="0"/>
              </a:spcAft>
              <a:buClr>
                <a:srgbClr val="91C353"/>
              </a:buClr>
              <a:buSzPct val="95000"/>
              <a:buFontTx/>
              <a:buBlip>
                <a:blip r:embed="rId4"/>
              </a:buBlip>
              <a:tabLst/>
              <a:defRPr/>
            </a:pPr>
            <a:r>
              <a:rPr kumimoji="0" lang="en-GB" sz="1400" b="0" i="0" u="none" strike="noStrike" kern="1200" cap="none" spc="0" normalizeH="0" baseline="0" noProof="0" dirty="0">
                <a:ln>
                  <a:noFill/>
                </a:ln>
                <a:solidFill>
                  <a:srgbClr val="5A5A5A"/>
                </a:solidFill>
                <a:effectLst/>
                <a:uLnTx/>
                <a:uFillTx/>
                <a:latin typeface="Calibri" panose="020F0502020204030204"/>
                <a:ea typeface="+mn-ea"/>
                <a:cs typeface="+mn-cs"/>
              </a:rPr>
              <a:t>Receiving a permitted background treatment for IIM</a:t>
            </a:r>
            <a:endParaRPr kumimoji="0" lang="en-GB" sz="1400" b="0" i="0" u="none" strike="noStrike" kern="1200" cap="none" spc="0" normalizeH="0" baseline="0" noProof="0" dirty="0">
              <a:ln>
                <a:noFill/>
              </a:ln>
              <a:solidFill>
                <a:srgbClr val="5A5A5A"/>
              </a:solidFill>
              <a:effectLst/>
              <a:uLnTx/>
              <a:uFillTx/>
              <a:latin typeface="Calibri" panose="020F0502020204030204"/>
              <a:ea typeface="Calibri" panose="020F0502020204030204"/>
              <a:cs typeface="Calibri" panose="020F0502020204030204"/>
            </a:endParaRPr>
          </a:p>
        </p:txBody>
      </p:sp>
      <p:sp>
        <p:nvSpPr>
          <p:cNvPr id="5" name="object 136">
            <a:extLst>
              <a:ext uri="{FF2B5EF4-FFF2-40B4-BE49-F238E27FC236}">
                <a16:creationId xmlns:a16="http://schemas.microsoft.com/office/drawing/2014/main" id="{958B06E8-5D33-6CB5-D8B2-90E9DAC60145}"/>
              </a:ext>
            </a:extLst>
          </p:cNvPr>
          <p:cNvSpPr/>
          <p:nvPr/>
        </p:nvSpPr>
        <p:spPr>
          <a:xfrm>
            <a:off x="6458641" y="1678272"/>
            <a:ext cx="3166622" cy="328016"/>
          </a:xfrm>
          <a:prstGeom prst="rect">
            <a:avLst/>
          </a:prstGeom>
          <a:noFill/>
          <a:ln>
            <a:noFill/>
          </a:ln>
        </p:spPr>
        <p:txBody>
          <a:bodyPr wrap="square" lIns="0" tIns="0" rIns="0" bIns="0" numCol="1" spcCol="274320" rtlCol="0" anchor="t" anchorCtr="0"/>
          <a:lstStyle/>
          <a:p>
            <a:pPr marL="17894" marR="58509" lvl="0" indent="0" algn="l" defTabSz="914400" rtl="0" eaLnBrk="1" fontAlgn="auto" latinLnBrk="0" hangingPunct="1">
              <a:lnSpc>
                <a:spcPct val="95000"/>
              </a:lnSpc>
              <a:spcBef>
                <a:spcPts val="600"/>
              </a:spcBef>
              <a:spcAft>
                <a:spcPts val="0"/>
              </a:spcAft>
              <a:buClrTx/>
              <a:buSzTx/>
              <a:buFontTx/>
              <a:buNone/>
              <a:tabLst/>
              <a:defRPr/>
            </a:pPr>
            <a:r>
              <a:rPr kumimoji="0" lang="en-US" sz="2000" b="1" i="0" u="none" strike="noStrike" kern="0" cap="none" spc="0" normalizeH="0" baseline="0" noProof="0">
                <a:ln>
                  <a:noFill/>
                </a:ln>
                <a:solidFill>
                  <a:srgbClr val="0B436E"/>
                </a:solidFill>
                <a:effectLst/>
                <a:uLnTx/>
                <a:uFillTx/>
                <a:latin typeface="Calibri" panose="020F0502020204030204"/>
                <a:ea typeface="+mn-ea"/>
                <a:cs typeface="+mn-cs"/>
              </a:rPr>
              <a:t>Select Exclusion Criteria</a:t>
            </a:r>
          </a:p>
        </p:txBody>
      </p:sp>
      <p:cxnSp>
        <p:nvCxnSpPr>
          <p:cNvPr id="7" name="Straight Connector 6">
            <a:extLst>
              <a:ext uri="{FF2B5EF4-FFF2-40B4-BE49-F238E27FC236}">
                <a16:creationId xmlns:a16="http://schemas.microsoft.com/office/drawing/2014/main" id="{71134EEB-D7B3-7F47-AD0B-40A2ED3FBF6D}"/>
              </a:ext>
            </a:extLst>
          </p:cNvPr>
          <p:cNvCxnSpPr>
            <a:cxnSpLocks/>
          </p:cNvCxnSpPr>
          <p:nvPr/>
        </p:nvCxnSpPr>
        <p:spPr>
          <a:xfrm flipV="1">
            <a:off x="6482529" y="1921830"/>
            <a:ext cx="3960882" cy="2738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Content Placeholder 1">
            <a:extLst>
              <a:ext uri="{FF2B5EF4-FFF2-40B4-BE49-F238E27FC236}">
                <a16:creationId xmlns:a16="http://schemas.microsoft.com/office/drawing/2014/main" id="{320DC820-1A38-D018-A17D-4DD9719E48B7}"/>
              </a:ext>
            </a:extLst>
          </p:cNvPr>
          <p:cNvSpPr txBox="1">
            <a:spLocks/>
          </p:cNvSpPr>
          <p:nvPr/>
        </p:nvSpPr>
        <p:spPr>
          <a:xfrm>
            <a:off x="6458641" y="1842280"/>
            <a:ext cx="5219291" cy="4311353"/>
          </a:xfrm>
          <a:prstGeom prst="rect">
            <a:avLst/>
          </a:prstGeom>
        </p:spPr>
        <p:txBody>
          <a:bodyPr vert="horz" lIns="0" tIns="0" rIns="0" bIns="0" rtlCol="0" anchor="t">
            <a:noAutofit/>
          </a:bodyPr>
          <a:lstStyle>
            <a:lvl1pPr marL="0" indent="0" algn="l" defTabSz="914400" rtl="0" eaLnBrk="1" latinLnBrk="0" hangingPunct="1">
              <a:lnSpc>
                <a:spcPct val="105000"/>
              </a:lnSpc>
              <a:spcBef>
                <a:spcPts val="1800"/>
              </a:spcBef>
              <a:spcAft>
                <a:spcPts val="0"/>
              </a:spcAft>
              <a:buClr>
                <a:schemeClr val="accent1"/>
              </a:buClr>
              <a:buFont typeface="Arial" panose="020B0604020202020204" pitchFamily="34" charset="0"/>
              <a:buNone/>
              <a:defRPr lang="en-US" sz="2000" b="1" kern="1200" dirty="0" smtClean="0">
                <a:solidFill>
                  <a:schemeClr val="accent3"/>
                </a:solidFill>
                <a:latin typeface="+mn-lt"/>
                <a:ea typeface="+mn-ea"/>
                <a:cs typeface="+mn-cs"/>
              </a:defRPr>
            </a:lvl1pPr>
            <a:lvl2pPr marL="228600" indent="-228600" algn="l" defTabSz="914400" rtl="0" eaLnBrk="1" latinLnBrk="0" hangingPunct="1">
              <a:lnSpc>
                <a:spcPct val="105000"/>
              </a:lnSpc>
              <a:spcBef>
                <a:spcPts val="1000"/>
              </a:spcBef>
              <a:spcAft>
                <a:spcPts val="0"/>
              </a:spcAft>
              <a:buClr>
                <a:schemeClr val="accent1"/>
              </a:buClr>
              <a:buSzPct val="95000"/>
              <a:buFontTx/>
              <a:buBlip>
                <a:blip r:embed="rId4"/>
              </a:buBlip>
              <a:tabLst/>
              <a:defRPr lang="en-US" sz="1700" kern="1200" dirty="0" smtClean="0">
                <a:solidFill>
                  <a:schemeClr val="tx2">
                    <a:lumMod val="75000"/>
                  </a:schemeClr>
                </a:solidFill>
                <a:latin typeface="+mn-lt"/>
                <a:ea typeface="+mn-ea"/>
                <a:cs typeface="+mn-cs"/>
              </a:defRPr>
            </a:lvl2pPr>
            <a:lvl3pPr marL="457200" indent="-228600" algn="l" defTabSz="914400" rtl="0" eaLnBrk="1" latinLnBrk="0" hangingPunct="1">
              <a:lnSpc>
                <a:spcPct val="105000"/>
              </a:lnSpc>
              <a:spcBef>
                <a:spcPts val="1000"/>
              </a:spcBef>
              <a:spcAft>
                <a:spcPts val="0"/>
              </a:spcAft>
              <a:buClr>
                <a:schemeClr val="accent1"/>
              </a:buClr>
              <a:buFont typeface="Calibri" panose="020F0502020204030204" pitchFamily="34" charset="0"/>
              <a:buChar char="–"/>
              <a:tabLst/>
              <a:defRPr lang="en-US" sz="1500" kern="1200" dirty="0" smtClean="0">
                <a:solidFill>
                  <a:schemeClr val="tx2">
                    <a:lumMod val="75000"/>
                  </a:schemeClr>
                </a:solidFill>
                <a:latin typeface="+mn-lt"/>
                <a:ea typeface="+mn-ea"/>
                <a:cs typeface="+mn-cs"/>
              </a:defRPr>
            </a:lvl3pPr>
            <a:lvl4pPr marL="685800" indent="-228600" algn="l" defTabSz="914400" rtl="0" eaLnBrk="1" latinLnBrk="0" hangingPunct="1">
              <a:lnSpc>
                <a:spcPct val="105000"/>
              </a:lnSpc>
              <a:spcBef>
                <a:spcPts val="1000"/>
              </a:spcBef>
              <a:spcAft>
                <a:spcPts val="0"/>
              </a:spcAft>
              <a:buClr>
                <a:schemeClr val="accent1"/>
              </a:buClr>
              <a:buFont typeface="Arial" panose="020B0604020202020204" pitchFamily="34" charset="0"/>
              <a:buChar char="•"/>
              <a:tabLst/>
              <a:defRPr lang="en-US" sz="1300" kern="1200" dirty="0" smtClean="0">
                <a:solidFill>
                  <a:schemeClr val="tx2">
                    <a:lumMod val="75000"/>
                  </a:schemeClr>
                </a:solidFill>
                <a:latin typeface="+mn-lt"/>
                <a:ea typeface="+mn-ea"/>
                <a:cs typeface="+mn-cs"/>
              </a:defRPr>
            </a:lvl4pPr>
            <a:lvl5pPr marL="457200" indent="0" algn="l" defTabSz="914400" rtl="0" eaLnBrk="1" latinLnBrk="0" hangingPunct="1">
              <a:lnSpc>
                <a:spcPct val="105000"/>
              </a:lnSpc>
              <a:spcBef>
                <a:spcPts val="200"/>
              </a:spcBef>
              <a:spcAft>
                <a:spcPts val="0"/>
              </a:spcAft>
              <a:buClr>
                <a:schemeClr val="accent1"/>
              </a:buClr>
              <a:buFontTx/>
              <a:buNone/>
              <a:defRPr lang="en-US" sz="1100" kern="1200" dirty="0">
                <a:solidFill>
                  <a:srgbClr val="4140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5000"/>
              </a:lnSpc>
              <a:spcBef>
                <a:spcPts val="500"/>
              </a:spcBef>
              <a:spcAft>
                <a:spcPts val="0"/>
              </a:spcAft>
              <a:buClr>
                <a:srgbClr val="91C353"/>
              </a:buClr>
              <a:buSzPct val="95000"/>
              <a:buFontTx/>
              <a:buNone/>
              <a:tabLst/>
              <a:defRPr/>
            </a:pPr>
            <a:endParaRPr kumimoji="0" lang="en-US" sz="1700" b="0" i="0" u="none" strike="noStrike" kern="1200" cap="none" spc="0" normalizeH="0" baseline="0" noProof="0">
              <a:ln>
                <a:noFill/>
              </a:ln>
              <a:solidFill>
                <a:srgbClr val="5A5A5A">
                  <a:lumMod val="75000"/>
                </a:srgbClr>
              </a:solidFill>
              <a:effectLst/>
              <a:uLnTx/>
              <a:uFillTx/>
              <a:latin typeface="Calibri" panose="020F0502020204030204"/>
              <a:ea typeface="+mn-ea"/>
              <a:cs typeface="+mn-cs"/>
            </a:endParaRPr>
          </a:p>
          <a:p>
            <a:pPr marL="179070" marR="0" lvl="1" indent="-179070" algn="l" defTabSz="914400" rtl="0" eaLnBrk="1" fontAlgn="auto" latinLnBrk="0" hangingPunct="1">
              <a:lnSpc>
                <a:spcPct val="105000"/>
              </a:lnSpc>
              <a:spcBef>
                <a:spcPts val="500"/>
              </a:spcBef>
              <a:spcAft>
                <a:spcPts val="0"/>
              </a:spcAft>
              <a:buClr>
                <a:srgbClr val="91C353"/>
              </a:buClr>
              <a:buSzPct val="95000"/>
              <a:buFontTx/>
              <a:buBlip>
                <a:blip r:embed="rId4"/>
              </a:buBlip>
              <a:tabLst/>
              <a:defRPr/>
            </a:pPr>
            <a:r>
              <a:rPr lang="en-US" sz="1400">
                <a:solidFill>
                  <a:srgbClr val="5A5A5A">
                    <a:lumMod val="75000"/>
                  </a:srgbClr>
                </a:solidFill>
                <a:latin typeface="Calibri" panose="020F0502020204030204"/>
                <a:ea typeface="Calibri" panose="020F0502020204030204"/>
                <a:cs typeface="Calibri" panose="020F0502020204030204"/>
              </a:rPr>
              <a:t>Overlap with another autoimmune rheumatic disease, </a:t>
            </a:r>
            <a:br>
              <a:rPr lang="en-US" sz="1400">
                <a:solidFill>
                  <a:srgbClr val="5A5A5A">
                    <a:lumMod val="75000"/>
                  </a:srgbClr>
                </a:solidFill>
                <a:latin typeface="Calibri" panose="020F0502020204030204"/>
                <a:ea typeface="Calibri" panose="020F0502020204030204"/>
                <a:cs typeface="Calibri" panose="020F0502020204030204"/>
              </a:rPr>
            </a:br>
            <a:r>
              <a:rPr lang="en-US" sz="1400">
                <a:solidFill>
                  <a:srgbClr val="5A5A5A">
                    <a:lumMod val="75000"/>
                  </a:srgbClr>
                </a:solidFill>
                <a:latin typeface="Calibri" panose="020F0502020204030204"/>
                <a:ea typeface="Calibri" panose="020F0502020204030204"/>
                <a:cs typeface="Calibri" panose="020F0502020204030204"/>
              </a:rPr>
              <a:t>except for SjD</a:t>
            </a:r>
          </a:p>
          <a:p>
            <a:pPr marL="179070" marR="0" lvl="1" indent="-179070" algn="l" defTabSz="914400" rtl="0" eaLnBrk="1" fontAlgn="auto" latinLnBrk="0" hangingPunct="1">
              <a:lnSpc>
                <a:spcPct val="105000"/>
              </a:lnSpc>
              <a:spcBef>
                <a:spcPts val="500"/>
              </a:spcBef>
              <a:spcAft>
                <a:spcPts val="0"/>
              </a:spcAft>
              <a:buClr>
                <a:srgbClr val="91C353"/>
              </a:buClr>
              <a:buSzPct val="95000"/>
              <a:buFontTx/>
              <a:buBlip>
                <a:blip r:embed="rId4"/>
              </a:buBlip>
              <a:tabLst/>
              <a:defRPr/>
            </a:pPr>
            <a:r>
              <a:rPr kumimoji="0" lang="en-GB" sz="1400" b="0" i="0" u="none" strike="noStrike" kern="1200" cap="none" spc="0" normalizeH="0" baseline="0" noProof="0">
                <a:ln>
                  <a:noFill/>
                </a:ln>
                <a:solidFill>
                  <a:srgbClr val="5A5A5A">
                    <a:lumMod val="75000"/>
                  </a:srgbClr>
                </a:solidFill>
                <a:effectLst/>
                <a:uLnTx/>
                <a:uFillTx/>
                <a:latin typeface="Calibri" panose="020F0502020204030204"/>
                <a:ea typeface="Calibri" panose="020F0502020204030204"/>
                <a:cs typeface="Calibri" panose="020F0502020204030204"/>
              </a:rPr>
              <a:t>History of malignancy within 3 years</a:t>
            </a:r>
          </a:p>
          <a:p>
            <a:pPr marL="179070" marR="0" lvl="1" indent="-179070" algn="l" defTabSz="914400" rtl="0" eaLnBrk="1" fontAlgn="auto" latinLnBrk="0" hangingPunct="1">
              <a:lnSpc>
                <a:spcPct val="105000"/>
              </a:lnSpc>
              <a:spcBef>
                <a:spcPts val="500"/>
              </a:spcBef>
              <a:spcAft>
                <a:spcPts val="0"/>
              </a:spcAft>
              <a:buClr>
                <a:srgbClr val="91C353"/>
              </a:buClr>
              <a:buSzPct val="95000"/>
              <a:buFontTx/>
              <a:buBlip>
                <a:blip r:embed="rId4"/>
              </a:buBlip>
              <a:tabLst/>
              <a:defRPr/>
            </a:pPr>
            <a:r>
              <a:rPr kumimoji="0" lang="en-GB" sz="1400" b="0" i="0" u="none" strike="noStrike" kern="1200" cap="none" spc="0" normalizeH="0" baseline="0" noProof="0">
                <a:ln>
                  <a:noFill/>
                </a:ln>
                <a:solidFill>
                  <a:srgbClr val="5A5A5A">
                    <a:lumMod val="75000"/>
                  </a:srgbClr>
                </a:solidFill>
                <a:effectLst/>
                <a:uLnTx/>
                <a:uFillTx/>
                <a:latin typeface="Calibri" panose="020F0502020204030204"/>
                <a:ea typeface="Calibri" panose="020F0502020204030204"/>
                <a:cs typeface="Calibri" panose="020F0502020204030204"/>
              </a:rPr>
              <a:t>Active infection at baseline </a:t>
            </a:r>
          </a:p>
          <a:p>
            <a:pPr marL="179070" lvl="1" indent="-179070">
              <a:spcBef>
                <a:spcPts val="500"/>
              </a:spcBef>
              <a:buClr>
                <a:srgbClr val="91C353"/>
              </a:buClr>
              <a:defRPr/>
            </a:pPr>
            <a:r>
              <a:rPr lang="en-US" sz="1400"/>
              <a:t>Muscle weakness linked to a non-IIM cause</a:t>
            </a:r>
          </a:p>
        </p:txBody>
      </p:sp>
      <p:grpSp>
        <p:nvGrpSpPr>
          <p:cNvPr id="9" name="Graphic 2358">
            <a:extLst>
              <a:ext uri="{FF2B5EF4-FFF2-40B4-BE49-F238E27FC236}">
                <a16:creationId xmlns:a16="http://schemas.microsoft.com/office/drawing/2014/main" id="{7CFAB4E6-0F3B-244E-EE78-C1D89E1582BA}"/>
              </a:ext>
            </a:extLst>
          </p:cNvPr>
          <p:cNvGrpSpPr>
            <a:grpSpLocks noChangeAspect="1"/>
          </p:cNvGrpSpPr>
          <p:nvPr/>
        </p:nvGrpSpPr>
        <p:grpSpPr>
          <a:xfrm>
            <a:off x="10826937" y="1464796"/>
            <a:ext cx="850995" cy="712874"/>
            <a:chOff x="-2223214" y="2358437"/>
            <a:chExt cx="634621" cy="531621"/>
          </a:xfrm>
          <a:solidFill>
            <a:schemeClr val="accent1"/>
          </a:solidFill>
        </p:grpSpPr>
        <p:sp>
          <p:nvSpPr>
            <p:cNvPr id="10" name="Freeform 2364">
              <a:extLst>
                <a:ext uri="{FF2B5EF4-FFF2-40B4-BE49-F238E27FC236}">
                  <a16:creationId xmlns:a16="http://schemas.microsoft.com/office/drawing/2014/main" id="{E7D7AA36-D481-F11E-8F4A-3F0389CBD7D8}"/>
                </a:ext>
              </a:extLst>
            </p:cNvPr>
            <p:cNvSpPr/>
            <p:nvPr/>
          </p:nvSpPr>
          <p:spPr>
            <a:xfrm>
              <a:off x="-1729335" y="2645350"/>
              <a:ext cx="140742" cy="244615"/>
            </a:xfrm>
            <a:custGeom>
              <a:avLst/>
              <a:gdLst>
                <a:gd name="connsiteX0" fmla="*/ 49094 w 140742"/>
                <a:gd name="connsiteY0" fmla="*/ 94 h 244615"/>
                <a:gd name="connsiteX1" fmla="*/ 0 w 140742"/>
                <a:gd name="connsiteY1" fmla="*/ 94 h 244615"/>
                <a:gd name="connsiteX2" fmla="*/ 7772 w 140742"/>
                <a:gd name="connsiteY2" fmla="*/ 43421 h 244615"/>
                <a:gd name="connsiteX3" fmla="*/ 7772 w 140742"/>
                <a:gd name="connsiteY3" fmla="*/ 226555 h 244615"/>
                <a:gd name="connsiteX4" fmla="*/ 4644 w 140742"/>
                <a:gd name="connsiteY4" fmla="*/ 244615 h 244615"/>
                <a:gd name="connsiteX5" fmla="*/ 85772 w 140742"/>
                <a:gd name="connsiteY5" fmla="*/ 244615 h 244615"/>
                <a:gd name="connsiteX6" fmla="*/ 140743 w 140742"/>
                <a:gd name="connsiteY6" fmla="*/ 190340 h 244615"/>
                <a:gd name="connsiteX7" fmla="*/ 140743 w 140742"/>
                <a:gd name="connsiteY7" fmla="*/ 90491 h 244615"/>
                <a:gd name="connsiteX8" fmla="*/ 49094 w 140742"/>
                <a:gd name="connsiteY8" fmla="*/ 0 h 244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742" h="244615">
                  <a:moveTo>
                    <a:pt x="49094" y="94"/>
                  </a:moveTo>
                  <a:lnTo>
                    <a:pt x="0" y="94"/>
                  </a:lnTo>
                  <a:cubicBezTo>
                    <a:pt x="5023" y="13663"/>
                    <a:pt x="7772" y="28261"/>
                    <a:pt x="7772" y="43421"/>
                  </a:cubicBezTo>
                  <a:lnTo>
                    <a:pt x="7772" y="226555"/>
                  </a:lnTo>
                  <a:cubicBezTo>
                    <a:pt x="7772" y="232918"/>
                    <a:pt x="6634" y="239001"/>
                    <a:pt x="4644" y="244615"/>
                  </a:cubicBezTo>
                  <a:lnTo>
                    <a:pt x="85772" y="244615"/>
                  </a:lnTo>
                  <a:cubicBezTo>
                    <a:pt x="116101" y="244615"/>
                    <a:pt x="140743" y="220285"/>
                    <a:pt x="140743" y="190340"/>
                  </a:cubicBezTo>
                  <a:lnTo>
                    <a:pt x="140743" y="90491"/>
                  </a:lnTo>
                  <a:cubicBezTo>
                    <a:pt x="140743" y="40613"/>
                    <a:pt x="99610" y="0"/>
                    <a:pt x="49094" y="0"/>
                  </a:cubicBezTo>
                </a:path>
              </a:pathLst>
            </a:custGeom>
            <a:solidFill>
              <a:schemeClr val="bg2">
                <a:lumMod val="75000"/>
              </a:schemeClr>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Freeform 2365">
              <a:extLst>
                <a:ext uri="{FF2B5EF4-FFF2-40B4-BE49-F238E27FC236}">
                  <a16:creationId xmlns:a16="http://schemas.microsoft.com/office/drawing/2014/main" id="{0D317140-CEFC-EA08-C9F9-9B5CA9D50400}"/>
                </a:ext>
              </a:extLst>
            </p:cNvPr>
            <p:cNvSpPr/>
            <p:nvPr/>
          </p:nvSpPr>
          <p:spPr>
            <a:xfrm>
              <a:off x="-2223214" y="2645443"/>
              <a:ext cx="140742" cy="244615"/>
            </a:xfrm>
            <a:custGeom>
              <a:avLst/>
              <a:gdLst>
                <a:gd name="connsiteX0" fmla="*/ 132971 w 140742"/>
                <a:gd name="connsiteY0" fmla="*/ 43327 h 244615"/>
                <a:gd name="connsiteX1" fmla="*/ 140743 w 140742"/>
                <a:gd name="connsiteY1" fmla="*/ 0 h 244615"/>
                <a:gd name="connsiteX2" fmla="*/ 91649 w 140742"/>
                <a:gd name="connsiteY2" fmla="*/ 0 h 244615"/>
                <a:gd name="connsiteX3" fmla="*/ 0 w 140742"/>
                <a:gd name="connsiteY3" fmla="*/ 90491 h 244615"/>
                <a:gd name="connsiteX4" fmla="*/ 0 w 140742"/>
                <a:gd name="connsiteY4" fmla="*/ 190340 h 244615"/>
                <a:gd name="connsiteX5" fmla="*/ 54970 w 140742"/>
                <a:gd name="connsiteY5" fmla="*/ 244615 h 244615"/>
                <a:gd name="connsiteX6" fmla="*/ 136099 w 140742"/>
                <a:gd name="connsiteY6" fmla="*/ 244615 h 244615"/>
                <a:gd name="connsiteX7" fmla="*/ 132971 w 140742"/>
                <a:gd name="connsiteY7" fmla="*/ 226555 h 244615"/>
                <a:gd name="connsiteX8" fmla="*/ 132971 w 140742"/>
                <a:gd name="connsiteY8" fmla="*/ 43421 h 244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742" h="244615">
                  <a:moveTo>
                    <a:pt x="132971" y="43327"/>
                  </a:moveTo>
                  <a:cubicBezTo>
                    <a:pt x="132971" y="28074"/>
                    <a:pt x="135719" y="13569"/>
                    <a:pt x="140743" y="0"/>
                  </a:cubicBezTo>
                  <a:lnTo>
                    <a:pt x="91649" y="0"/>
                  </a:lnTo>
                  <a:cubicBezTo>
                    <a:pt x="41133" y="0"/>
                    <a:pt x="0" y="40613"/>
                    <a:pt x="0" y="90491"/>
                  </a:cubicBezTo>
                  <a:lnTo>
                    <a:pt x="0" y="190340"/>
                  </a:lnTo>
                  <a:cubicBezTo>
                    <a:pt x="0" y="220285"/>
                    <a:pt x="24642" y="244615"/>
                    <a:pt x="54970" y="244615"/>
                  </a:cubicBezTo>
                  <a:lnTo>
                    <a:pt x="136099" y="244615"/>
                  </a:lnTo>
                  <a:cubicBezTo>
                    <a:pt x="134013" y="238907"/>
                    <a:pt x="132971" y="232824"/>
                    <a:pt x="132971" y="226555"/>
                  </a:cubicBezTo>
                  <a:lnTo>
                    <a:pt x="132971" y="43421"/>
                  </a:lnTo>
                  <a:close/>
                </a:path>
              </a:pathLst>
            </a:custGeom>
            <a:solidFill>
              <a:schemeClr val="bg2">
                <a:lumMod val="75000"/>
              </a:schemeClr>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 name="Freeform 2366">
              <a:extLst>
                <a:ext uri="{FF2B5EF4-FFF2-40B4-BE49-F238E27FC236}">
                  <a16:creationId xmlns:a16="http://schemas.microsoft.com/office/drawing/2014/main" id="{E45BB863-240E-D433-7AF6-CB9102D1C742}"/>
                </a:ext>
              </a:extLst>
            </p:cNvPr>
            <p:cNvSpPr>
              <a:spLocks noChangeAspect="1"/>
            </p:cNvSpPr>
            <p:nvPr/>
          </p:nvSpPr>
          <p:spPr>
            <a:xfrm>
              <a:off x="-2053657" y="2598278"/>
              <a:ext cx="295322" cy="291684"/>
            </a:xfrm>
            <a:custGeom>
              <a:avLst/>
              <a:gdLst>
                <a:gd name="connsiteX0" fmla="*/ 203863 w 295322"/>
                <a:gd name="connsiteY0" fmla="*/ 0 h 291685"/>
                <a:gd name="connsiteX1" fmla="*/ 91649 w 295322"/>
                <a:gd name="connsiteY1" fmla="*/ 0 h 291685"/>
                <a:gd name="connsiteX2" fmla="*/ 0 w 295322"/>
                <a:gd name="connsiteY2" fmla="*/ 90491 h 291685"/>
                <a:gd name="connsiteX3" fmla="*/ 0 w 295322"/>
                <a:gd name="connsiteY3" fmla="*/ 273625 h 291685"/>
                <a:gd name="connsiteX4" fmla="*/ 18292 w 295322"/>
                <a:gd name="connsiteY4" fmla="*/ 291686 h 291685"/>
                <a:gd name="connsiteX5" fmla="*/ 277031 w 295322"/>
                <a:gd name="connsiteY5" fmla="*/ 291686 h 291685"/>
                <a:gd name="connsiteX6" fmla="*/ 295322 w 295322"/>
                <a:gd name="connsiteY6" fmla="*/ 273625 h 291685"/>
                <a:gd name="connsiteX7" fmla="*/ 295322 w 295322"/>
                <a:gd name="connsiteY7" fmla="*/ 90491 h 291685"/>
                <a:gd name="connsiteX8" fmla="*/ 203674 w 295322"/>
                <a:gd name="connsiteY8" fmla="*/ 0 h 2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322" h="291685">
                  <a:moveTo>
                    <a:pt x="203863" y="0"/>
                  </a:moveTo>
                  <a:lnTo>
                    <a:pt x="91649" y="0"/>
                  </a:lnTo>
                  <a:cubicBezTo>
                    <a:pt x="41133" y="0"/>
                    <a:pt x="0" y="40613"/>
                    <a:pt x="0" y="90491"/>
                  </a:cubicBezTo>
                  <a:lnTo>
                    <a:pt x="0" y="273625"/>
                  </a:lnTo>
                  <a:cubicBezTo>
                    <a:pt x="0" y="283638"/>
                    <a:pt x="8246" y="291686"/>
                    <a:pt x="18292" y="291686"/>
                  </a:cubicBezTo>
                  <a:lnTo>
                    <a:pt x="277031" y="291686"/>
                  </a:lnTo>
                  <a:cubicBezTo>
                    <a:pt x="287172" y="291686"/>
                    <a:pt x="295322" y="283544"/>
                    <a:pt x="295322" y="273625"/>
                  </a:cubicBezTo>
                  <a:lnTo>
                    <a:pt x="295322" y="90491"/>
                  </a:lnTo>
                  <a:cubicBezTo>
                    <a:pt x="295322" y="40613"/>
                    <a:pt x="254190" y="0"/>
                    <a:pt x="203674" y="0"/>
                  </a:cubicBezTo>
                </a:path>
              </a:pathLst>
            </a:custGeom>
            <a:solidFill>
              <a:srgbClr val="C00000"/>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Freeform 2367">
              <a:extLst>
                <a:ext uri="{FF2B5EF4-FFF2-40B4-BE49-F238E27FC236}">
                  <a16:creationId xmlns:a16="http://schemas.microsoft.com/office/drawing/2014/main" id="{23DBA643-8E66-C8A6-9293-0E05C95C7A26}"/>
                </a:ext>
              </a:extLst>
            </p:cNvPr>
            <p:cNvSpPr/>
            <p:nvPr/>
          </p:nvSpPr>
          <p:spPr>
            <a:xfrm>
              <a:off x="-2016033" y="2358437"/>
              <a:ext cx="220259" cy="217571"/>
            </a:xfrm>
            <a:custGeom>
              <a:avLst/>
              <a:gdLst>
                <a:gd name="connsiteX0" fmla="*/ 110130 w 220259"/>
                <a:gd name="connsiteY0" fmla="*/ 0 h 217571"/>
                <a:gd name="connsiteX1" fmla="*/ 0 w 220259"/>
                <a:gd name="connsiteY1" fmla="*/ 108739 h 217571"/>
                <a:gd name="connsiteX2" fmla="*/ 56297 w 220259"/>
                <a:gd name="connsiteY2" fmla="*/ 203628 h 217571"/>
                <a:gd name="connsiteX3" fmla="*/ 110130 w 220259"/>
                <a:gd name="connsiteY3" fmla="*/ 217571 h 217571"/>
                <a:gd name="connsiteX4" fmla="*/ 163963 w 220259"/>
                <a:gd name="connsiteY4" fmla="*/ 203628 h 217571"/>
                <a:gd name="connsiteX5" fmla="*/ 220260 w 220259"/>
                <a:gd name="connsiteY5" fmla="*/ 108739 h 217571"/>
                <a:gd name="connsiteX6" fmla="*/ 110130 w 220259"/>
                <a:gd name="connsiteY6" fmla="*/ 0 h 21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259" h="217571">
                  <a:moveTo>
                    <a:pt x="110130" y="0"/>
                  </a:moveTo>
                  <a:cubicBezTo>
                    <a:pt x="49378" y="0"/>
                    <a:pt x="0" y="48848"/>
                    <a:pt x="0" y="108739"/>
                  </a:cubicBezTo>
                  <a:cubicBezTo>
                    <a:pt x="0" y="149446"/>
                    <a:pt x="22746" y="185006"/>
                    <a:pt x="56297" y="203628"/>
                  </a:cubicBezTo>
                  <a:cubicBezTo>
                    <a:pt x="72219" y="212518"/>
                    <a:pt x="90606" y="217571"/>
                    <a:pt x="110130" y="217571"/>
                  </a:cubicBezTo>
                  <a:cubicBezTo>
                    <a:pt x="129654" y="217571"/>
                    <a:pt x="148040" y="212518"/>
                    <a:pt x="163963" y="203628"/>
                  </a:cubicBezTo>
                  <a:cubicBezTo>
                    <a:pt x="197513" y="185006"/>
                    <a:pt x="220260" y="149446"/>
                    <a:pt x="220260" y="108739"/>
                  </a:cubicBezTo>
                  <a:cubicBezTo>
                    <a:pt x="220260" y="48755"/>
                    <a:pt x="170881" y="0"/>
                    <a:pt x="110130" y="0"/>
                  </a:cubicBezTo>
                </a:path>
              </a:pathLst>
            </a:custGeom>
            <a:solidFill>
              <a:srgbClr val="C00000"/>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Freeform 2368">
              <a:extLst>
                <a:ext uri="{FF2B5EF4-FFF2-40B4-BE49-F238E27FC236}">
                  <a16:creationId xmlns:a16="http://schemas.microsoft.com/office/drawing/2014/main" id="{F83B3C76-FFC6-2F2A-7562-EFF06FF6B003}"/>
                </a:ext>
              </a:extLst>
            </p:cNvPr>
            <p:cNvSpPr/>
            <p:nvPr/>
          </p:nvSpPr>
          <p:spPr>
            <a:xfrm>
              <a:off x="-2181702" y="2459782"/>
              <a:ext cx="164815" cy="162640"/>
            </a:xfrm>
            <a:custGeom>
              <a:avLst/>
              <a:gdLst>
                <a:gd name="connsiteX0" fmla="*/ 82360 w 164815"/>
                <a:gd name="connsiteY0" fmla="*/ 0 h 162640"/>
                <a:gd name="connsiteX1" fmla="*/ 0 w 164815"/>
                <a:gd name="connsiteY1" fmla="*/ 81320 h 162640"/>
                <a:gd name="connsiteX2" fmla="*/ 82360 w 164815"/>
                <a:gd name="connsiteY2" fmla="*/ 162640 h 162640"/>
                <a:gd name="connsiteX3" fmla="*/ 114869 w 164815"/>
                <a:gd name="connsiteY3" fmla="*/ 156090 h 162640"/>
                <a:gd name="connsiteX4" fmla="*/ 155149 w 164815"/>
                <a:gd name="connsiteY4" fmla="*/ 119594 h 162640"/>
                <a:gd name="connsiteX5" fmla="*/ 164816 w 164815"/>
                <a:gd name="connsiteY5" fmla="*/ 81414 h 162640"/>
                <a:gd name="connsiteX6" fmla="*/ 82455 w 164815"/>
                <a:gd name="connsiteY6" fmla="*/ 94 h 16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5" h="162640">
                  <a:moveTo>
                    <a:pt x="82360" y="0"/>
                  </a:moveTo>
                  <a:cubicBezTo>
                    <a:pt x="36963" y="0"/>
                    <a:pt x="0" y="36496"/>
                    <a:pt x="0" y="81320"/>
                  </a:cubicBezTo>
                  <a:cubicBezTo>
                    <a:pt x="0" y="126144"/>
                    <a:pt x="36963" y="162640"/>
                    <a:pt x="82360" y="162640"/>
                  </a:cubicBezTo>
                  <a:cubicBezTo>
                    <a:pt x="93923" y="162640"/>
                    <a:pt x="104822" y="160301"/>
                    <a:pt x="114869" y="156090"/>
                  </a:cubicBezTo>
                  <a:cubicBezTo>
                    <a:pt x="132118" y="148791"/>
                    <a:pt x="146334" y="135783"/>
                    <a:pt x="155149" y="119594"/>
                  </a:cubicBezTo>
                  <a:cubicBezTo>
                    <a:pt x="161309" y="108177"/>
                    <a:pt x="164816" y="95170"/>
                    <a:pt x="164816" y="81414"/>
                  </a:cubicBezTo>
                  <a:cubicBezTo>
                    <a:pt x="164816" y="36589"/>
                    <a:pt x="127853" y="94"/>
                    <a:pt x="82455" y="94"/>
                  </a:cubicBezTo>
                </a:path>
              </a:pathLst>
            </a:custGeom>
            <a:solidFill>
              <a:schemeClr val="bg2">
                <a:lumMod val="75000"/>
              </a:schemeClr>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 name="Freeform 2369">
              <a:extLst>
                <a:ext uri="{FF2B5EF4-FFF2-40B4-BE49-F238E27FC236}">
                  <a16:creationId xmlns:a16="http://schemas.microsoft.com/office/drawing/2014/main" id="{A556DB57-8021-76D8-01E3-E50A01F38412}"/>
                </a:ext>
              </a:extLst>
            </p:cNvPr>
            <p:cNvSpPr/>
            <p:nvPr/>
          </p:nvSpPr>
          <p:spPr>
            <a:xfrm>
              <a:off x="-1794825" y="2459689"/>
              <a:ext cx="164815" cy="162640"/>
            </a:xfrm>
            <a:custGeom>
              <a:avLst/>
              <a:gdLst>
                <a:gd name="connsiteX0" fmla="*/ 82360 w 164815"/>
                <a:gd name="connsiteY0" fmla="*/ 94 h 162640"/>
                <a:gd name="connsiteX1" fmla="*/ 0 w 164815"/>
                <a:gd name="connsiteY1" fmla="*/ 81414 h 162640"/>
                <a:gd name="connsiteX2" fmla="*/ 9667 w 164815"/>
                <a:gd name="connsiteY2" fmla="*/ 119594 h 162640"/>
                <a:gd name="connsiteX3" fmla="*/ 49947 w 164815"/>
                <a:gd name="connsiteY3" fmla="*/ 156090 h 162640"/>
                <a:gd name="connsiteX4" fmla="*/ 82455 w 164815"/>
                <a:gd name="connsiteY4" fmla="*/ 162640 h 162640"/>
                <a:gd name="connsiteX5" fmla="*/ 164816 w 164815"/>
                <a:gd name="connsiteY5" fmla="*/ 81320 h 162640"/>
                <a:gd name="connsiteX6" fmla="*/ 82455 w 164815"/>
                <a:gd name="connsiteY6" fmla="*/ 0 h 16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5" h="162640">
                  <a:moveTo>
                    <a:pt x="82360" y="94"/>
                  </a:moveTo>
                  <a:cubicBezTo>
                    <a:pt x="36963" y="94"/>
                    <a:pt x="0" y="36589"/>
                    <a:pt x="0" y="81414"/>
                  </a:cubicBezTo>
                  <a:cubicBezTo>
                    <a:pt x="0" y="95263"/>
                    <a:pt x="3507" y="108271"/>
                    <a:pt x="9667" y="119594"/>
                  </a:cubicBezTo>
                  <a:cubicBezTo>
                    <a:pt x="18481" y="135877"/>
                    <a:pt x="32698" y="148791"/>
                    <a:pt x="49947" y="156090"/>
                  </a:cubicBezTo>
                  <a:cubicBezTo>
                    <a:pt x="59899" y="160301"/>
                    <a:pt x="70893" y="162640"/>
                    <a:pt x="82455" y="162640"/>
                  </a:cubicBezTo>
                  <a:cubicBezTo>
                    <a:pt x="127853" y="162640"/>
                    <a:pt x="164816" y="126144"/>
                    <a:pt x="164816" y="81320"/>
                  </a:cubicBezTo>
                  <a:cubicBezTo>
                    <a:pt x="164816" y="36496"/>
                    <a:pt x="127853" y="0"/>
                    <a:pt x="82455" y="0"/>
                  </a:cubicBezTo>
                </a:path>
              </a:pathLst>
            </a:custGeom>
            <a:solidFill>
              <a:schemeClr val="bg2">
                <a:lumMod val="75000"/>
              </a:schemeClr>
            </a:solidFill>
            <a:ln w="9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732FE760-C09D-0DDF-BB22-8D77F9670AAF}"/>
              </a:ext>
            </a:extLst>
          </p:cNvPr>
          <p:cNvGrpSpPr/>
          <p:nvPr/>
        </p:nvGrpSpPr>
        <p:grpSpPr>
          <a:xfrm>
            <a:off x="-1" y="506626"/>
            <a:ext cx="1740299" cy="457200"/>
            <a:chOff x="357504" y="506626"/>
            <a:chExt cx="1740299" cy="457200"/>
          </a:xfrm>
        </p:grpSpPr>
        <p:sp>
          <p:nvSpPr>
            <p:cNvPr id="4" name="Title 1">
              <a:extLst>
                <a:ext uri="{FF2B5EF4-FFF2-40B4-BE49-F238E27FC236}">
                  <a16:creationId xmlns:a16="http://schemas.microsoft.com/office/drawing/2014/main" id="{F1F0837F-782E-268F-0843-36BA674C07ED}"/>
                </a:ext>
              </a:extLst>
            </p:cNvPr>
            <p:cNvSpPr txBox="1">
              <a:spLocks/>
            </p:cNvSpPr>
            <p:nvPr userDrawn="1"/>
          </p:nvSpPr>
          <p:spPr>
            <a:xfrm rot="5400000">
              <a:off x="999054" y="-134923"/>
              <a:ext cx="457200" cy="1740298"/>
            </a:xfrm>
            <a:prstGeom prst="round2SameRect">
              <a:avLst>
                <a:gd name="adj1" fmla="val 50000"/>
                <a:gd name="adj2" fmla="val 0"/>
              </a:avLst>
            </a:prstGeom>
            <a:solidFill>
              <a:schemeClr val="accent3">
                <a:alpha val="25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6" name="Title 1">
              <a:extLst>
                <a:ext uri="{FF2B5EF4-FFF2-40B4-BE49-F238E27FC236}">
                  <a16:creationId xmlns:a16="http://schemas.microsoft.com/office/drawing/2014/main" id="{B067A4B5-EC69-40C4-D2BD-4F5F99AD353F}"/>
                </a:ext>
              </a:extLst>
            </p:cNvPr>
            <p:cNvSpPr txBox="1">
              <a:spLocks/>
            </p:cNvSpPr>
            <p:nvPr userDrawn="1"/>
          </p:nvSpPr>
          <p:spPr>
            <a:xfrm rot="5400000">
              <a:off x="929427" y="-65297"/>
              <a:ext cx="457200" cy="1601045"/>
            </a:xfrm>
            <a:prstGeom prst="round2SameRect">
              <a:avLst>
                <a:gd name="adj1" fmla="val 50000"/>
                <a:gd name="adj2" fmla="val 0"/>
              </a:avLst>
            </a:prstGeom>
            <a:solidFill>
              <a:schemeClr val="accent3">
                <a:alpha val="50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16" name="Title 1">
              <a:extLst>
                <a:ext uri="{FF2B5EF4-FFF2-40B4-BE49-F238E27FC236}">
                  <a16:creationId xmlns:a16="http://schemas.microsoft.com/office/drawing/2014/main" id="{C12A53F7-655D-ED9A-26FF-B4E8E7CD4F77}"/>
                </a:ext>
              </a:extLst>
            </p:cNvPr>
            <p:cNvSpPr txBox="1">
              <a:spLocks/>
            </p:cNvSpPr>
            <p:nvPr userDrawn="1"/>
          </p:nvSpPr>
          <p:spPr>
            <a:xfrm rot="5400000">
              <a:off x="859801" y="4330"/>
              <a:ext cx="457200" cy="1461792"/>
            </a:xfrm>
            <a:prstGeom prst="round2SameRect">
              <a:avLst>
                <a:gd name="adj1" fmla="val 50000"/>
                <a:gd name="adj2" fmla="val 0"/>
              </a:avLst>
            </a:prstGeom>
            <a:solidFill>
              <a:schemeClr val="accent3"/>
            </a:solidFill>
            <a:ln>
              <a:solidFill>
                <a:schemeClr val="accent3"/>
              </a:solidFill>
            </a:ln>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r>
                <a:rPr lang="en-US"/>
                <a:t>ALKIVIA</a:t>
              </a:r>
            </a:p>
          </p:txBody>
        </p:sp>
      </p:grpSp>
    </p:spTree>
    <p:extLst>
      <p:ext uri="{BB962C8B-B14F-4D97-AF65-F5344CB8AC3E}">
        <p14:creationId xmlns:p14="http://schemas.microsoft.com/office/powerpoint/2010/main" val="418443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97A6A3-826B-6153-864D-3A7D83A1941D}"/>
            </a:ext>
          </a:extLst>
        </p:cNvPr>
        <p:cNvGrpSpPr/>
        <p:nvPr/>
      </p:nvGrpSpPr>
      <p:grpSpPr>
        <a:xfrm>
          <a:off x="0" y="0"/>
          <a:ext cx="0" cy="0"/>
          <a:chOff x="0" y="0"/>
          <a:chExt cx="0" cy="0"/>
        </a:xfrm>
      </p:grpSpPr>
      <p:sp>
        <p:nvSpPr>
          <p:cNvPr id="20" name="Footer Placeholder 19">
            <a:extLst>
              <a:ext uri="{FF2B5EF4-FFF2-40B4-BE49-F238E27FC236}">
                <a16:creationId xmlns:a16="http://schemas.microsoft.com/office/drawing/2014/main" id="{6287B550-D158-A11C-A4A9-90DA7AEE3E20}"/>
              </a:ext>
            </a:extLst>
          </p:cNvPr>
          <p:cNvSpPr>
            <a:spLocks noGrp="1"/>
          </p:cNvSpPr>
          <p:nvPr>
            <p:ph type="ftr" sz="quarter" idx="11"/>
          </p:nvPr>
        </p:nvSpPr>
        <p:spPr>
          <a:xfrm>
            <a:off x="904875" y="6164744"/>
            <a:ext cx="10944226" cy="519116"/>
          </a:xfrm>
        </p:spPr>
        <p:txBody>
          <a:bodyPr/>
          <a:lstStyle/>
          <a:p>
            <a:r>
              <a:rPr lang="en-US" noProof="0">
                <a:solidFill>
                  <a:srgbClr val="5A5A5A"/>
                </a:solidFill>
              </a:rPr>
              <a:t>ACR/EULAR, American College of Rheumatology/European Alliance of Associations for Rheumatology; AESI, adverse event of special interest; CSM, Core Set Measures; HAQ-DI, Health Assessment Questionnaire-Disability Index; IIM, idiopathic inflammatory myopathy; MDGA, </a:t>
            </a:r>
            <a:r>
              <a:rPr lang="en-GB" noProof="0">
                <a:solidFill>
                  <a:srgbClr val="5A5A5A"/>
                </a:solidFill>
              </a:rPr>
              <a:t>Medical Doctor (Physician) Global Assessment</a:t>
            </a:r>
            <a:r>
              <a:rPr lang="en-US" noProof="0">
                <a:solidFill>
                  <a:srgbClr val="5A5A5A"/>
                </a:solidFill>
              </a:rPr>
              <a:t>; MMT8, Manual Muscle Testing 8; PGA, Patient Global Assessment; PH20, recombinant human hyaluronidase PH20; SAE, serious adverse event; </a:t>
            </a:r>
            <a:r>
              <a:rPr lang="en-US">
                <a:solidFill>
                  <a:srgbClr val="5A5A5A"/>
                </a:solidFill>
              </a:rPr>
              <a:t>SC, subcutaneous; </a:t>
            </a:r>
            <a:r>
              <a:rPr lang="en-US" noProof="0">
                <a:solidFill>
                  <a:srgbClr val="5A5A5A"/>
                </a:solidFill>
              </a:rPr>
              <a:t>TEAE, treatment-emergent </a:t>
            </a:r>
            <a:br>
              <a:rPr lang="en-US" noProof="0">
                <a:solidFill>
                  <a:srgbClr val="5A5A5A"/>
                </a:solidFill>
              </a:rPr>
            </a:br>
            <a:r>
              <a:rPr lang="en-US" noProof="0">
                <a:solidFill>
                  <a:srgbClr val="5A5A5A"/>
                </a:solidFill>
              </a:rPr>
              <a:t>adverse event; TIS, Total Improvement Score.</a:t>
            </a:r>
          </a:p>
          <a:p>
            <a:r>
              <a:rPr lang="en-US" noProof="0">
                <a:solidFill>
                  <a:srgbClr val="5A5A5A"/>
                </a:solidFill>
              </a:rPr>
              <a:t>*Worsening or no improvement .</a:t>
            </a:r>
          </a:p>
        </p:txBody>
      </p:sp>
      <p:sp>
        <p:nvSpPr>
          <p:cNvPr id="3" name="Slide Number Placeholder 2">
            <a:extLst>
              <a:ext uri="{FF2B5EF4-FFF2-40B4-BE49-F238E27FC236}">
                <a16:creationId xmlns:a16="http://schemas.microsoft.com/office/drawing/2014/main" id="{9E68A4B9-A804-F5EF-618E-6B1087B25837}"/>
              </a:ext>
            </a:extLst>
          </p:cNvPr>
          <p:cNvSpPr>
            <a:spLocks noGrp="1"/>
          </p:cNvSpPr>
          <p:nvPr>
            <p:ph type="sldNum" sz="quarter" idx="12"/>
          </p:nvPr>
        </p:nvSpPr>
        <p:spPr>
          <a:xfrm>
            <a:off x="361949" y="6409540"/>
            <a:ext cx="274320" cy="274320"/>
          </a:xfrm>
        </p:spPr>
        <p:txBody>
          <a:bodyPr/>
          <a:lstStyle/>
          <a:p>
            <a:fld id="{1916DDDD-2DB5-41B0-89CB-F50E795279FE}" type="slidenum">
              <a:rPr lang="en-US" noProof="0" smtClean="0"/>
              <a:pPr/>
              <a:t>7</a:t>
            </a:fld>
            <a:endParaRPr lang="en-US" noProof="0"/>
          </a:p>
        </p:txBody>
      </p:sp>
      <p:grpSp>
        <p:nvGrpSpPr>
          <p:cNvPr id="139" name="Group 138">
            <a:extLst>
              <a:ext uri="{FF2B5EF4-FFF2-40B4-BE49-F238E27FC236}">
                <a16:creationId xmlns:a16="http://schemas.microsoft.com/office/drawing/2014/main" id="{0CAF4DA7-E1DA-EBA7-497B-4DFF7A0CCF15}"/>
              </a:ext>
            </a:extLst>
          </p:cNvPr>
          <p:cNvGrpSpPr/>
          <p:nvPr/>
        </p:nvGrpSpPr>
        <p:grpSpPr>
          <a:xfrm>
            <a:off x="0" y="1925986"/>
            <a:ext cx="7315200" cy="729069"/>
            <a:chOff x="361948" y="1553003"/>
            <a:chExt cx="8263046" cy="729069"/>
          </a:xfrm>
        </p:grpSpPr>
        <p:sp>
          <p:nvSpPr>
            <p:cNvPr id="140" name="Rectangle: Rounded Corners 10">
              <a:extLst>
                <a:ext uri="{FF2B5EF4-FFF2-40B4-BE49-F238E27FC236}">
                  <a16:creationId xmlns:a16="http://schemas.microsoft.com/office/drawing/2014/main" id="{F6253A77-91C7-5D82-50D4-F36EC85D6977}"/>
                </a:ext>
              </a:extLst>
            </p:cNvPr>
            <p:cNvSpPr/>
            <p:nvPr/>
          </p:nvSpPr>
          <p:spPr>
            <a:xfrm>
              <a:off x="361948" y="1554872"/>
              <a:ext cx="8263046" cy="727200"/>
            </a:xfrm>
            <a:prstGeom prst="roundRect">
              <a:avLst>
                <a:gd name="adj" fmla="val 50000"/>
              </a:avLst>
            </a:prstGeom>
            <a:solidFill>
              <a:srgbClr val="CCDDEF"/>
            </a:solidFill>
            <a:ln w="8890" cap="flat" cmpd="sng" algn="ctr">
              <a:noFill/>
              <a:prstDash val="solid"/>
              <a:miter lim="800000"/>
            </a:ln>
            <a:effectLst/>
          </p:spPr>
          <p:txBody>
            <a:bodyPr wrap="square" lIns="1554480" rtlCol="0" anchor="ctr">
              <a:noAutofit/>
            </a:bodyPr>
            <a:lstStyle/>
            <a:p>
              <a:pPr marL="0" marR="0" lvl="0" indent="0" defTabSz="767623"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B436E"/>
                  </a:solidFill>
                  <a:effectLst/>
                  <a:uLnTx/>
                  <a:uFillTx/>
                </a:rPr>
                <a:t>To evaluate the safety and efficacy of efgartigimod PH20 SC compared with placebo in IIM, in addition to standard-of-care therapy</a:t>
              </a:r>
            </a:p>
          </p:txBody>
        </p:sp>
        <p:sp>
          <p:nvSpPr>
            <p:cNvPr id="141" name="Freeform: Shape 6">
              <a:extLst>
                <a:ext uri="{FF2B5EF4-FFF2-40B4-BE49-F238E27FC236}">
                  <a16:creationId xmlns:a16="http://schemas.microsoft.com/office/drawing/2014/main" id="{121085FC-9E09-FF76-F373-C5008ADAFBBA}"/>
                </a:ext>
              </a:extLst>
            </p:cNvPr>
            <p:cNvSpPr/>
            <p:nvPr/>
          </p:nvSpPr>
          <p:spPr>
            <a:xfrm rot="16200000">
              <a:off x="874447" y="1040505"/>
              <a:ext cx="729067" cy="1754063"/>
            </a:xfrm>
            <a:prstGeom prst="round2SameRect">
              <a:avLst>
                <a:gd name="adj1" fmla="val 0"/>
                <a:gd name="adj2" fmla="val 50000"/>
              </a:avLst>
            </a:prstGeom>
            <a:solidFill>
              <a:srgbClr val="1E72A6"/>
            </a:solidFill>
            <a:ln w="8890">
              <a:solidFill>
                <a:srgbClr val="0070C0"/>
              </a:solidFill>
            </a:ln>
          </p:spPr>
          <p:txBody>
            <a:bodyPr vert="vert" wrap="square" lIns="36000" tIns="360000" rIns="36000" bIns="0" rtlCol="0" anchor="ctr" anchorCtr="0">
              <a:noAutofit/>
            </a:bodyPr>
            <a:lstStyle/>
            <a:p>
              <a:pPr marL="0" marR="0" lvl="0" indent="0" defTabSz="767623" eaLnBrk="1" fontAlgn="auto" latinLnBrk="0" hangingPunct="1">
                <a:lnSpc>
                  <a:spcPct val="100000"/>
                </a:lnSpc>
                <a:spcBef>
                  <a:spcPts val="57"/>
                </a:spcBef>
                <a:spcAft>
                  <a:spcPts val="0"/>
                </a:spcAft>
                <a:buClrTx/>
                <a:buSzTx/>
                <a:buFontTx/>
                <a:buNone/>
                <a:tabLst>
                  <a:tab pos="9423400" algn="l"/>
                  <a:tab pos="9779000" algn="l"/>
                </a:tabLst>
                <a:defRPr/>
              </a:pPr>
              <a:r>
                <a:rPr kumimoji="0" lang="en-US" sz="1400" b="1" i="0" u="none" strike="noStrike" kern="0" cap="none" spc="0" normalizeH="0" baseline="0" noProof="0">
                  <a:ln>
                    <a:noFill/>
                  </a:ln>
                  <a:solidFill>
                    <a:srgbClr val="FFFFFF"/>
                  </a:solidFill>
                  <a:effectLst/>
                  <a:uLnTx/>
                  <a:uFillTx/>
                </a:rPr>
                <a:t>OBJECTIVE</a:t>
              </a:r>
              <a:endParaRPr kumimoji="0" lang="en-US" sz="1800" b="0" i="0" u="none" strike="noStrike" kern="0" cap="none" spc="0" normalizeH="0" baseline="0" noProof="0">
                <a:ln>
                  <a:noFill/>
                </a:ln>
                <a:solidFill>
                  <a:srgbClr val="FFFFFF"/>
                </a:solidFill>
                <a:effectLst/>
                <a:uLnTx/>
                <a:uFillTx/>
              </a:endParaRPr>
            </a:p>
          </p:txBody>
        </p:sp>
      </p:grpSp>
      <p:grpSp>
        <p:nvGrpSpPr>
          <p:cNvPr id="143" name="Group 142">
            <a:extLst>
              <a:ext uri="{FF2B5EF4-FFF2-40B4-BE49-F238E27FC236}">
                <a16:creationId xmlns:a16="http://schemas.microsoft.com/office/drawing/2014/main" id="{604C8D50-C8CD-4E9C-9F31-A94474BBDC54}"/>
              </a:ext>
            </a:extLst>
          </p:cNvPr>
          <p:cNvGrpSpPr/>
          <p:nvPr/>
        </p:nvGrpSpPr>
        <p:grpSpPr>
          <a:xfrm>
            <a:off x="-1" y="3131097"/>
            <a:ext cx="7315200" cy="725950"/>
            <a:chOff x="361947" y="2348445"/>
            <a:chExt cx="6908512" cy="801862"/>
          </a:xfrm>
        </p:grpSpPr>
        <p:sp>
          <p:nvSpPr>
            <p:cNvPr id="144" name="object 136">
              <a:extLst>
                <a:ext uri="{FF2B5EF4-FFF2-40B4-BE49-F238E27FC236}">
                  <a16:creationId xmlns:a16="http://schemas.microsoft.com/office/drawing/2014/main" id="{EFAE26CF-9C84-7691-B870-13719495013E}"/>
                </a:ext>
              </a:extLst>
            </p:cNvPr>
            <p:cNvSpPr/>
            <p:nvPr/>
          </p:nvSpPr>
          <p:spPr>
            <a:xfrm>
              <a:off x="361947" y="2348445"/>
              <a:ext cx="6908512" cy="801861"/>
            </a:xfrm>
            <a:prstGeom prst="roundRect">
              <a:avLst>
                <a:gd name="adj" fmla="val 50000"/>
              </a:avLst>
            </a:prstGeom>
            <a:solidFill>
              <a:srgbClr val="91C353">
                <a:lumMod val="20000"/>
                <a:lumOff val="80000"/>
              </a:srgbClr>
            </a:solidFill>
            <a:ln w="9525">
              <a:solidFill>
                <a:schemeClr val="accent5"/>
              </a:solidFill>
            </a:ln>
          </p:spPr>
          <p:txBody>
            <a:bodyPr wrap="square" lIns="1554480" tIns="46800" rIns="144000" bIns="46800" rtlCol="0" anchor="ctr" anchorCtr="0"/>
            <a:lstStyle/>
            <a:p>
              <a:pPr marL="0" marR="0" lvl="0" indent="0" defTabSz="767623" eaLnBrk="1" fontAlgn="auto" latinLnBrk="0" hangingPunct="1">
                <a:lnSpc>
                  <a:spcPct val="100000"/>
                </a:lnSpc>
                <a:spcBef>
                  <a:spcPts val="57"/>
                </a:spcBef>
                <a:spcAft>
                  <a:spcPts val="0"/>
                </a:spcAft>
                <a:buClrTx/>
                <a:buSzTx/>
                <a:buFontTx/>
                <a:buNone/>
                <a:tabLst>
                  <a:tab pos="9423400" algn="l"/>
                  <a:tab pos="9779000" algn="l"/>
                </a:tabLst>
                <a:defRPr/>
              </a:pPr>
              <a:r>
                <a:rPr kumimoji="0" lang="en-US" sz="1400" i="0" u="none" strike="noStrike" kern="0" cap="none" spc="0" normalizeH="0" baseline="0" noProof="0">
                  <a:ln>
                    <a:noFill/>
                  </a:ln>
                  <a:solidFill>
                    <a:schemeClr val="accent5"/>
                  </a:solidFill>
                  <a:effectLst/>
                  <a:uLnTx/>
                  <a:uFillTx/>
                </a:rPr>
                <a:t>Total Improvement Score (TIS), as defined by the 2016 ACR/EULAR myositis response criteria, at Week 24</a:t>
              </a:r>
            </a:p>
          </p:txBody>
        </p:sp>
        <p:sp>
          <p:nvSpPr>
            <p:cNvPr id="145" name="Freeform: Shape 5">
              <a:extLst>
                <a:ext uri="{FF2B5EF4-FFF2-40B4-BE49-F238E27FC236}">
                  <a16:creationId xmlns:a16="http://schemas.microsoft.com/office/drawing/2014/main" id="{E72896A9-DC48-5022-FB40-EFEF4E9A4455}"/>
                </a:ext>
              </a:extLst>
            </p:cNvPr>
            <p:cNvSpPr/>
            <p:nvPr/>
          </p:nvSpPr>
          <p:spPr>
            <a:xfrm rot="16200000">
              <a:off x="694284" y="2016114"/>
              <a:ext cx="801860" cy="1466526"/>
            </a:xfrm>
            <a:prstGeom prst="round2SameRect">
              <a:avLst>
                <a:gd name="adj1" fmla="val 0"/>
                <a:gd name="adj2" fmla="val 50000"/>
              </a:avLst>
            </a:prstGeom>
            <a:solidFill>
              <a:srgbClr val="086F3C"/>
            </a:solidFill>
            <a:ln w="8890">
              <a:solidFill>
                <a:srgbClr val="91C353">
                  <a:lumMod val="50000"/>
                </a:srgbClr>
              </a:solidFill>
            </a:ln>
          </p:spPr>
          <p:txBody>
            <a:bodyPr vert="vert" wrap="square" lIns="36000" tIns="360000" rIns="36000" bIns="0" rtlCol="0" anchor="ctr" anchorCtr="0">
              <a:noAutofit/>
            </a:bodyPr>
            <a:lstStyle/>
            <a:p>
              <a:pPr marL="0" marR="0" lvl="0" indent="0" defTabSz="767623" eaLnBrk="1" fontAlgn="auto" latinLnBrk="0" hangingPunct="1">
                <a:lnSpc>
                  <a:spcPct val="100000"/>
                </a:lnSpc>
                <a:spcBef>
                  <a:spcPts val="57"/>
                </a:spcBef>
                <a:spcAft>
                  <a:spcPts val="0"/>
                </a:spcAft>
                <a:buClrTx/>
                <a:buSzTx/>
                <a:buFontTx/>
                <a:buNone/>
                <a:tabLst>
                  <a:tab pos="9423400" algn="l"/>
                  <a:tab pos="9779000" algn="l"/>
                </a:tabLst>
                <a:defRPr/>
              </a:pPr>
              <a:r>
                <a:rPr kumimoji="0" lang="en-US" sz="1400" b="1" i="0" u="none" strike="noStrike" kern="0" cap="none" spc="0" normalizeH="0" baseline="0" noProof="0">
                  <a:ln>
                    <a:noFill/>
                  </a:ln>
                  <a:solidFill>
                    <a:srgbClr val="FFFFFF"/>
                  </a:solidFill>
                  <a:effectLst/>
                  <a:uLnTx/>
                  <a:uFillTx/>
                </a:rPr>
                <a:t>P</a:t>
              </a:r>
              <a:r>
                <a:rPr lang="en-US" sz="1400" b="1" kern="0">
                  <a:solidFill>
                    <a:srgbClr val="FFFFFF"/>
                  </a:solidFill>
                </a:rPr>
                <a:t>RIMARY</a:t>
              </a:r>
              <a:r>
                <a:rPr kumimoji="0" lang="en-US" sz="1400" b="1" i="0" u="none" strike="noStrike" kern="0" cap="none" spc="0" normalizeH="0" baseline="0" noProof="0">
                  <a:ln>
                    <a:noFill/>
                  </a:ln>
                  <a:solidFill>
                    <a:srgbClr val="FFFFFF"/>
                  </a:solidFill>
                  <a:effectLst/>
                  <a:uLnTx/>
                  <a:uFillTx/>
                </a:rPr>
                <a:t> Endpoint</a:t>
              </a:r>
              <a:endParaRPr kumimoji="0" lang="en-US" sz="1400" b="0" i="0" u="none" strike="noStrike" kern="0" cap="none" spc="0" normalizeH="0" baseline="0" noProof="0">
                <a:ln>
                  <a:noFill/>
                </a:ln>
                <a:solidFill>
                  <a:srgbClr val="FFFFFF"/>
                </a:solidFill>
                <a:effectLst/>
                <a:uLnTx/>
                <a:uFillTx/>
              </a:endParaRPr>
            </a:p>
          </p:txBody>
        </p:sp>
      </p:grpSp>
      <p:sp>
        <p:nvSpPr>
          <p:cNvPr id="8" name="Title 37">
            <a:extLst>
              <a:ext uri="{FF2B5EF4-FFF2-40B4-BE49-F238E27FC236}">
                <a16:creationId xmlns:a16="http://schemas.microsoft.com/office/drawing/2014/main" id="{75FECEF8-06B3-3821-D4BF-30BF921E693C}"/>
              </a:ext>
            </a:extLst>
          </p:cNvPr>
          <p:cNvSpPr>
            <a:spLocks noGrp="1"/>
          </p:cNvSpPr>
          <p:nvPr>
            <p:ph type="title"/>
          </p:nvPr>
        </p:nvSpPr>
        <p:spPr>
          <a:xfrm rot="5400000">
            <a:off x="5786162" y="-5276004"/>
            <a:ext cx="457200" cy="12029521"/>
          </a:xfrm>
        </p:spPr>
        <p:txBody>
          <a:bodyPr tIns="0" bIns="0"/>
          <a:lstStyle/>
          <a:p>
            <a:r>
              <a:rPr lang="en-US" sz="1900" noProof="0"/>
              <a:t>Phase 2 </a:t>
            </a:r>
            <a:r>
              <a:rPr lang="en-US" sz="1900" b="1" noProof="0"/>
              <a:t>Objectives</a:t>
            </a:r>
            <a:r>
              <a:rPr lang="en-US" sz="1900" noProof="0"/>
              <a:t> and </a:t>
            </a:r>
            <a:r>
              <a:rPr lang="en-US" sz="1900" b="1" noProof="0"/>
              <a:t>Endpoints</a:t>
            </a:r>
          </a:p>
        </p:txBody>
      </p:sp>
      <p:grpSp>
        <p:nvGrpSpPr>
          <p:cNvPr id="178" name="Group 177">
            <a:extLst>
              <a:ext uri="{FF2B5EF4-FFF2-40B4-BE49-F238E27FC236}">
                <a16:creationId xmlns:a16="http://schemas.microsoft.com/office/drawing/2014/main" id="{2E501568-6D4E-1153-E7F0-28313FF15FEF}"/>
              </a:ext>
            </a:extLst>
          </p:cNvPr>
          <p:cNvGrpSpPr/>
          <p:nvPr/>
        </p:nvGrpSpPr>
        <p:grpSpPr>
          <a:xfrm>
            <a:off x="-6" y="4333088"/>
            <a:ext cx="7315206" cy="1255655"/>
            <a:chOff x="-6" y="4127133"/>
            <a:chExt cx="7315206" cy="1255655"/>
          </a:xfrm>
        </p:grpSpPr>
        <p:sp>
          <p:nvSpPr>
            <p:cNvPr id="142" name="object 136">
              <a:extLst>
                <a:ext uri="{FF2B5EF4-FFF2-40B4-BE49-F238E27FC236}">
                  <a16:creationId xmlns:a16="http://schemas.microsoft.com/office/drawing/2014/main" id="{C2920C69-5889-CAAA-FCBA-E447797672EF}"/>
                </a:ext>
              </a:extLst>
            </p:cNvPr>
            <p:cNvSpPr/>
            <p:nvPr/>
          </p:nvSpPr>
          <p:spPr>
            <a:xfrm>
              <a:off x="0" y="4131918"/>
              <a:ext cx="7315200" cy="1250869"/>
            </a:xfrm>
            <a:prstGeom prst="roundRect">
              <a:avLst>
                <a:gd name="adj" fmla="val 50000"/>
              </a:avLst>
            </a:prstGeom>
            <a:solidFill>
              <a:srgbClr val="CCDDEF"/>
            </a:solidFill>
            <a:ln w="8890">
              <a:noFill/>
            </a:ln>
          </p:spPr>
          <p:txBody>
            <a:bodyPr wrap="square" lIns="1554480" tIns="46800" rIns="36000" bIns="46800" rtlCol="0" anchor="ctr" anchorCtr="0"/>
            <a:lstStyle/>
            <a:p>
              <a:pPr marL="137160" lvl="0" indent="-137160" defTabSz="1681490">
                <a:buFont typeface="Arial" panose="020B0604020202020204" pitchFamily="34" charset="0"/>
                <a:buChar char="•"/>
                <a:defRPr/>
              </a:pPr>
              <a:endParaRPr lang="en-US" sz="1400" kern="0" noProof="0">
                <a:solidFill>
                  <a:srgbClr val="5A5A5A"/>
                </a:solidFill>
              </a:endParaRPr>
            </a:p>
          </p:txBody>
        </p:sp>
        <p:cxnSp>
          <p:nvCxnSpPr>
            <p:cNvPr id="137" name="Straight Connector 136">
              <a:extLst>
                <a:ext uri="{FF2B5EF4-FFF2-40B4-BE49-F238E27FC236}">
                  <a16:creationId xmlns:a16="http://schemas.microsoft.com/office/drawing/2014/main" id="{E80146E0-A079-2B10-DEAF-A0F665BF525E}"/>
                </a:ext>
              </a:extLst>
            </p:cNvPr>
            <p:cNvCxnSpPr>
              <a:cxnSpLocks/>
            </p:cNvCxnSpPr>
            <p:nvPr/>
          </p:nvCxnSpPr>
          <p:spPr>
            <a:xfrm flipV="1">
              <a:off x="1552854" y="4757353"/>
              <a:ext cx="5762346" cy="1368"/>
            </a:xfrm>
            <a:prstGeom prst="line">
              <a:avLst/>
            </a:prstGeom>
            <a:ln w="9525" cap="rnd">
              <a:solidFill>
                <a:schemeClr val="accent3">
                  <a:lumMod val="60000"/>
                  <a:lumOff val="40000"/>
                </a:schemeClr>
              </a:solidFill>
              <a:round/>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A05B60BA-9296-41EF-9C76-70E34680C928}"/>
                </a:ext>
              </a:extLst>
            </p:cNvPr>
            <p:cNvSpPr txBox="1"/>
            <p:nvPr/>
          </p:nvSpPr>
          <p:spPr>
            <a:xfrm>
              <a:off x="1612037" y="4127133"/>
              <a:ext cx="4956032" cy="631587"/>
            </a:xfrm>
            <a:prstGeom prst="rect">
              <a:avLst/>
            </a:prstGeom>
            <a:noFill/>
          </p:spPr>
          <p:txBody>
            <a:bodyPr wrap="square" anchor="ctr">
              <a:noAutofit/>
            </a:bodyPr>
            <a:lstStyle/>
            <a:p>
              <a:pPr marL="137160" lvl="0" indent="-137160" defTabSz="1681490">
                <a:lnSpc>
                  <a:spcPct val="90000"/>
                </a:lnSpc>
                <a:buFont typeface="Arial" panose="020B0604020202020204" pitchFamily="34" charset="0"/>
                <a:buChar char="•"/>
                <a:defRPr/>
              </a:pPr>
              <a:r>
                <a:rPr lang="en-US" sz="1400" kern="0" noProof="0">
                  <a:solidFill>
                    <a:srgbClr val="5A5A5A"/>
                  </a:solidFill>
                </a:rPr>
                <a:t>Proportion of participants with TIS ≥20 and TIS ≥40 at Week 24</a:t>
              </a:r>
            </a:p>
            <a:p>
              <a:pPr marL="136525" lvl="0" indent="-137160" defTabSz="1681490">
                <a:lnSpc>
                  <a:spcPct val="90000"/>
                </a:lnSpc>
                <a:buFont typeface="Arial" panose="020B0604020202020204" pitchFamily="34" charset="0"/>
                <a:buChar char="•"/>
                <a:defRPr/>
              </a:pPr>
              <a:r>
                <a:rPr lang="en-US" sz="1400" kern="0" noProof="0">
                  <a:solidFill>
                    <a:srgbClr val="5A5A5A"/>
                  </a:solidFill>
                </a:rPr>
                <a:t>Time to reach TIS ≥20 and TIS ≥40</a:t>
              </a:r>
              <a:endParaRPr lang="en-US" sz="1400" strike="sngStrike" kern="0" noProof="0">
                <a:solidFill>
                  <a:srgbClr val="5A5A5A"/>
                </a:solidFill>
                <a:highlight>
                  <a:srgbClr val="00FFFF"/>
                </a:highlight>
              </a:endParaRPr>
            </a:p>
            <a:p>
              <a:pPr marL="136525" lvl="0" indent="-137160" defTabSz="1681490">
                <a:lnSpc>
                  <a:spcPct val="90000"/>
                </a:lnSpc>
                <a:buFont typeface="Arial" panose="020B0604020202020204" pitchFamily="34" charset="0"/>
                <a:buChar char="•"/>
                <a:defRPr/>
              </a:pPr>
              <a:r>
                <a:rPr lang="en-US" sz="1400" kern="0" noProof="0">
                  <a:solidFill>
                    <a:srgbClr val="5A5A5A"/>
                  </a:solidFill>
                </a:rPr>
                <a:t>Change in MMT8 score, PGA, MDGA</a:t>
              </a:r>
            </a:p>
          </p:txBody>
        </p:sp>
        <p:sp>
          <p:nvSpPr>
            <p:cNvPr id="166" name="TextBox 165">
              <a:extLst>
                <a:ext uri="{FF2B5EF4-FFF2-40B4-BE49-F238E27FC236}">
                  <a16:creationId xmlns:a16="http://schemas.microsoft.com/office/drawing/2014/main" id="{597F2AB0-903F-1E8C-B9F2-DA44D4FD5C92}"/>
                </a:ext>
              </a:extLst>
            </p:cNvPr>
            <p:cNvSpPr txBox="1"/>
            <p:nvPr/>
          </p:nvSpPr>
          <p:spPr>
            <a:xfrm>
              <a:off x="1612037" y="4758722"/>
              <a:ext cx="5163802" cy="624066"/>
            </a:xfrm>
            <a:prstGeom prst="rect">
              <a:avLst/>
            </a:prstGeom>
            <a:noFill/>
          </p:spPr>
          <p:txBody>
            <a:bodyPr wrap="square" anchor="ctr">
              <a:noAutofit/>
            </a:bodyPr>
            <a:lstStyle/>
            <a:p>
              <a:pPr marL="136525" lvl="0" indent="-136525" defTabSz="1681490">
                <a:lnSpc>
                  <a:spcPct val="90000"/>
                </a:lnSpc>
                <a:buFont typeface="Arial" panose="020B0604020202020204" pitchFamily="34" charset="0"/>
                <a:buChar char="•"/>
                <a:defRPr/>
              </a:pPr>
              <a:r>
                <a:rPr lang="en-US" sz="1400" kern="0" noProof="0">
                  <a:solidFill>
                    <a:srgbClr val="5A5A5A"/>
                  </a:solidFill>
                </a:rPr>
                <a:t>Safety: Incidence and severity of TEAEs, AESIs, and SAEs </a:t>
              </a:r>
            </a:p>
            <a:p>
              <a:pPr marL="136525" lvl="0" indent="-136525" defTabSz="1681490">
                <a:lnSpc>
                  <a:spcPct val="90000"/>
                </a:lnSpc>
                <a:buFont typeface="Arial" panose="020B0604020202020204" pitchFamily="34" charset="0"/>
                <a:buChar char="•"/>
                <a:defRPr/>
              </a:pPr>
              <a:r>
                <a:rPr lang="en-US" sz="1400" kern="0" noProof="0">
                  <a:solidFill>
                    <a:srgbClr val="5A5A5A"/>
                  </a:solidFill>
                </a:rPr>
                <a:t>Immunogenicity: Prevalence of antidrug antibodies</a:t>
              </a:r>
            </a:p>
          </p:txBody>
        </p:sp>
        <p:grpSp>
          <p:nvGrpSpPr>
            <p:cNvPr id="135" name="Group 134">
              <a:extLst>
                <a:ext uri="{FF2B5EF4-FFF2-40B4-BE49-F238E27FC236}">
                  <a16:creationId xmlns:a16="http://schemas.microsoft.com/office/drawing/2014/main" id="{A05278BD-8AAE-A805-65E3-69BA2EDBDBF2}"/>
                </a:ext>
              </a:extLst>
            </p:cNvPr>
            <p:cNvGrpSpPr/>
            <p:nvPr/>
          </p:nvGrpSpPr>
          <p:grpSpPr>
            <a:xfrm>
              <a:off x="-6" y="4131918"/>
              <a:ext cx="1552869" cy="1250869"/>
              <a:chOff x="-6" y="3489834"/>
              <a:chExt cx="1552869" cy="1250869"/>
            </a:xfrm>
          </p:grpSpPr>
          <p:sp>
            <p:nvSpPr>
              <p:cNvPr id="54" name="Freeform 53">
                <a:extLst>
                  <a:ext uri="{FF2B5EF4-FFF2-40B4-BE49-F238E27FC236}">
                    <a16:creationId xmlns:a16="http://schemas.microsoft.com/office/drawing/2014/main" id="{52F47CA4-B4D5-D4C4-AFF4-985898685D86}"/>
                  </a:ext>
                </a:extLst>
              </p:cNvPr>
              <p:cNvSpPr/>
              <p:nvPr/>
            </p:nvSpPr>
            <p:spPr>
              <a:xfrm rot="16200000">
                <a:off x="462167" y="3650008"/>
                <a:ext cx="628531" cy="1552860"/>
              </a:xfrm>
              <a:custGeom>
                <a:avLst/>
                <a:gdLst>
                  <a:gd name="connsiteX0" fmla="*/ 628531 w 628531"/>
                  <a:gd name="connsiteY0" fmla="*/ 0 h 1552860"/>
                  <a:gd name="connsiteX1" fmla="*/ 628531 w 628531"/>
                  <a:gd name="connsiteY1" fmla="*/ 1550960 h 1552860"/>
                  <a:gd name="connsiteX2" fmla="*/ 609685 w 628531"/>
                  <a:gd name="connsiteY2" fmla="*/ 1552860 h 1552860"/>
                  <a:gd name="connsiteX3" fmla="*/ 0 w 628531"/>
                  <a:gd name="connsiteY3" fmla="*/ 943175 h 1552860"/>
                  <a:gd name="connsiteX4" fmla="*/ 0 w 628531"/>
                  <a:gd name="connsiteY4" fmla="*/ 0 h 1552860"/>
                  <a:gd name="connsiteX5" fmla="*/ 628531 w 628531"/>
                  <a:gd name="connsiteY5" fmla="*/ 0 h 155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531" h="1552860">
                    <a:moveTo>
                      <a:pt x="628531" y="0"/>
                    </a:moveTo>
                    <a:lnTo>
                      <a:pt x="628531" y="1550960"/>
                    </a:lnTo>
                    <a:lnTo>
                      <a:pt x="609685" y="1552860"/>
                    </a:lnTo>
                    <a:cubicBezTo>
                      <a:pt x="272965" y="1552860"/>
                      <a:pt x="0" y="1279895"/>
                      <a:pt x="0" y="943175"/>
                    </a:cubicBezTo>
                    <a:lnTo>
                      <a:pt x="0" y="0"/>
                    </a:lnTo>
                    <a:lnTo>
                      <a:pt x="628531" y="0"/>
                    </a:lnTo>
                    <a:close/>
                  </a:path>
                </a:pathLst>
              </a:custGeom>
              <a:solidFill>
                <a:srgbClr val="2B97EA"/>
              </a:solidFill>
              <a:ln w="8890">
                <a:noFill/>
              </a:ln>
            </p:spPr>
            <p:txBody>
              <a:bodyPr vert="vert" wrap="square" lIns="0" tIns="360000" rIns="0" bIns="0" rtlCol="0" anchor="ctr" anchorCtr="0">
                <a:noAutofit/>
              </a:bodyPr>
              <a:lstStyle/>
              <a:p>
                <a:pPr lvl="0" defTabSz="767623">
                  <a:lnSpc>
                    <a:spcPct val="90000"/>
                  </a:lnSpc>
                  <a:spcBef>
                    <a:spcPts val="500"/>
                  </a:spcBef>
                  <a:tabLst>
                    <a:tab pos="9423400" algn="l"/>
                    <a:tab pos="9779000" algn="l"/>
                  </a:tabLst>
                  <a:defRPr/>
                </a:pPr>
                <a:r>
                  <a:rPr lang="en-US" sz="1400" b="1" kern="0" noProof="0">
                    <a:solidFill>
                      <a:srgbClr val="FFFFFF"/>
                    </a:solidFill>
                  </a:rPr>
                  <a:t>OTHER</a:t>
                </a:r>
                <a:br>
                  <a:rPr lang="en-US" sz="1400" b="1" kern="0" noProof="0">
                    <a:solidFill>
                      <a:srgbClr val="FFFFFF"/>
                    </a:solidFill>
                  </a:rPr>
                </a:br>
                <a:r>
                  <a:rPr lang="en-US" sz="1200" kern="0" noProof="0">
                    <a:solidFill>
                      <a:srgbClr val="FFFFFF"/>
                    </a:solidFill>
                  </a:rPr>
                  <a:t>Secondary</a:t>
                </a:r>
              </a:p>
              <a:p>
                <a:pPr lvl="0" defTabSz="767623">
                  <a:lnSpc>
                    <a:spcPct val="90000"/>
                  </a:lnSpc>
                  <a:spcBef>
                    <a:spcPts val="57"/>
                  </a:spcBef>
                  <a:tabLst>
                    <a:tab pos="9423400" algn="l"/>
                    <a:tab pos="9779000" algn="l"/>
                  </a:tabLst>
                  <a:defRPr/>
                </a:pPr>
                <a:r>
                  <a:rPr lang="en-US" sz="1200" kern="0" noProof="0">
                    <a:solidFill>
                      <a:srgbClr val="FFFFFF"/>
                    </a:solidFill>
                  </a:rPr>
                  <a:t>Endpoints</a:t>
                </a:r>
              </a:p>
            </p:txBody>
          </p:sp>
          <p:sp>
            <p:nvSpPr>
              <p:cNvPr id="134" name="Freeform 133">
                <a:extLst>
                  <a:ext uri="{FF2B5EF4-FFF2-40B4-BE49-F238E27FC236}">
                    <a16:creationId xmlns:a16="http://schemas.microsoft.com/office/drawing/2014/main" id="{F9114CB4-1374-CDC3-8AE5-E2DE4B1391DA}"/>
                  </a:ext>
                </a:extLst>
              </p:cNvPr>
              <p:cNvSpPr/>
              <p:nvPr/>
            </p:nvSpPr>
            <p:spPr>
              <a:xfrm rot="5400000" flipV="1">
                <a:off x="462158" y="3027670"/>
                <a:ext cx="628531" cy="1552860"/>
              </a:xfrm>
              <a:custGeom>
                <a:avLst/>
                <a:gdLst>
                  <a:gd name="connsiteX0" fmla="*/ 628531 w 628531"/>
                  <a:gd name="connsiteY0" fmla="*/ 0 h 1552860"/>
                  <a:gd name="connsiteX1" fmla="*/ 628531 w 628531"/>
                  <a:gd name="connsiteY1" fmla="*/ 1550960 h 1552860"/>
                  <a:gd name="connsiteX2" fmla="*/ 609685 w 628531"/>
                  <a:gd name="connsiteY2" fmla="*/ 1552860 h 1552860"/>
                  <a:gd name="connsiteX3" fmla="*/ 0 w 628531"/>
                  <a:gd name="connsiteY3" fmla="*/ 943175 h 1552860"/>
                  <a:gd name="connsiteX4" fmla="*/ 0 w 628531"/>
                  <a:gd name="connsiteY4" fmla="*/ 0 h 1552860"/>
                  <a:gd name="connsiteX5" fmla="*/ 628531 w 628531"/>
                  <a:gd name="connsiteY5" fmla="*/ 0 h 155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531" h="1552860">
                    <a:moveTo>
                      <a:pt x="628531" y="0"/>
                    </a:moveTo>
                    <a:lnTo>
                      <a:pt x="628531" y="1550960"/>
                    </a:lnTo>
                    <a:lnTo>
                      <a:pt x="609685" y="1552860"/>
                    </a:lnTo>
                    <a:cubicBezTo>
                      <a:pt x="272965" y="1552860"/>
                      <a:pt x="0" y="1279895"/>
                      <a:pt x="0" y="943175"/>
                    </a:cubicBezTo>
                    <a:lnTo>
                      <a:pt x="0" y="0"/>
                    </a:lnTo>
                    <a:lnTo>
                      <a:pt x="628531" y="0"/>
                    </a:lnTo>
                    <a:close/>
                  </a:path>
                </a:pathLst>
              </a:custGeom>
              <a:solidFill>
                <a:schemeClr val="accent3"/>
              </a:solidFill>
              <a:ln w="8890">
                <a:noFill/>
              </a:ln>
            </p:spPr>
            <p:txBody>
              <a:bodyPr vert="vert" wrap="square" lIns="0" tIns="360000" rIns="0" bIns="0" rtlCol="0" anchor="ctr" anchorCtr="0">
                <a:noAutofit/>
              </a:bodyPr>
              <a:lstStyle/>
              <a:p>
                <a:pPr lvl="0" defTabSz="767623">
                  <a:lnSpc>
                    <a:spcPct val="90000"/>
                  </a:lnSpc>
                  <a:spcBef>
                    <a:spcPts val="500"/>
                  </a:spcBef>
                  <a:tabLst>
                    <a:tab pos="9423400" algn="l"/>
                    <a:tab pos="9779000" algn="l"/>
                  </a:tabLst>
                  <a:defRPr/>
                </a:pPr>
                <a:r>
                  <a:rPr lang="en-US" sz="1400" b="1" kern="0" noProof="0">
                    <a:solidFill>
                      <a:srgbClr val="FFFFFF"/>
                    </a:solidFill>
                  </a:rPr>
                  <a:t>KEY</a:t>
                </a:r>
                <a:br>
                  <a:rPr lang="en-US" sz="1400" b="1" kern="0" noProof="0">
                    <a:solidFill>
                      <a:srgbClr val="FFFFFF"/>
                    </a:solidFill>
                  </a:rPr>
                </a:br>
                <a:r>
                  <a:rPr lang="en-US" sz="1200" kern="0" noProof="0">
                    <a:solidFill>
                      <a:srgbClr val="FFFFFF"/>
                    </a:solidFill>
                  </a:rPr>
                  <a:t>Secondary</a:t>
                </a:r>
              </a:p>
              <a:p>
                <a:pPr lvl="0" defTabSz="767623">
                  <a:lnSpc>
                    <a:spcPct val="90000"/>
                  </a:lnSpc>
                  <a:spcBef>
                    <a:spcPts val="57"/>
                  </a:spcBef>
                  <a:tabLst>
                    <a:tab pos="9423400" algn="l"/>
                    <a:tab pos="9779000" algn="l"/>
                  </a:tabLst>
                  <a:defRPr/>
                </a:pPr>
                <a:r>
                  <a:rPr lang="en-US" sz="1200" kern="0" noProof="0">
                    <a:solidFill>
                      <a:srgbClr val="FFFFFF"/>
                    </a:solidFill>
                  </a:rPr>
                  <a:t>Endpoints</a:t>
                </a:r>
              </a:p>
            </p:txBody>
          </p:sp>
        </p:grpSp>
      </p:grpSp>
      <p:grpSp>
        <p:nvGrpSpPr>
          <p:cNvPr id="2" name="Group 1">
            <a:extLst>
              <a:ext uri="{FF2B5EF4-FFF2-40B4-BE49-F238E27FC236}">
                <a16:creationId xmlns:a16="http://schemas.microsoft.com/office/drawing/2014/main" id="{C5F61B13-05A0-BE63-4041-DA0050B2E996}"/>
              </a:ext>
            </a:extLst>
          </p:cNvPr>
          <p:cNvGrpSpPr/>
          <p:nvPr/>
        </p:nvGrpSpPr>
        <p:grpSpPr>
          <a:xfrm>
            <a:off x="-1" y="506626"/>
            <a:ext cx="1740299" cy="457200"/>
            <a:chOff x="357504" y="506626"/>
            <a:chExt cx="1740299" cy="457200"/>
          </a:xfrm>
        </p:grpSpPr>
        <p:sp>
          <p:nvSpPr>
            <p:cNvPr id="4" name="Title 1">
              <a:extLst>
                <a:ext uri="{FF2B5EF4-FFF2-40B4-BE49-F238E27FC236}">
                  <a16:creationId xmlns:a16="http://schemas.microsoft.com/office/drawing/2014/main" id="{1532E809-4433-5E45-96FC-BC635BEC3B60}"/>
                </a:ext>
              </a:extLst>
            </p:cNvPr>
            <p:cNvSpPr txBox="1">
              <a:spLocks/>
            </p:cNvSpPr>
            <p:nvPr userDrawn="1"/>
          </p:nvSpPr>
          <p:spPr>
            <a:xfrm rot="5400000">
              <a:off x="999054" y="-134923"/>
              <a:ext cx="457200" cy="1740298"/>
            </a:xfrm>
            <a:prstGeom prst="round2SameRect">
              <a:avLst>
                <a:gd name="adj1" fmla="val 50000"/>
                <a:gd name="adj2" fmla="val 0"/>
              </a:avLst>
            </a:prstGeom>
            <a:solidFill>
              <a:schemeClr val="accent3">
                <a:alpha val="25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5" name="Title 1">
              <a:extLst>
                <a:ext uri="{FF2B5EF4-FFF2-40B4-BE49-F238E27FC236}">
                  <a16:creationId xmlns:a16="http://schemas.microsoft.com/office/drawing/2014/main" id="{38D51EB6-1657-48D9-FB88-57A4761818EA}"/>
                </a:ext>
              </a:extLst>
            </p:cNvPr>
            <p:cNvSpPr txBox="1">
              <a:spLocks/>
            </p:cNvSpPr>
            <p:nvPr userDrawn="1"/>
          </p:nvSpPr>
          <p:spPr>
            <a:xfrm rot="5400000">
              <a:off x="929427" y="-65297"/>
              <a:ext cx="457200" cy="1601045"/>
            </a:xfrm>
            <a:prstGeom prst="round2SameRect">
              <a:avLst>
                <a:gd name="adj1" fmla="val 50000"/>
                <a:gd name="adj2" fmla="val 0"/>
              </a:avLst>
            </a:prstGeom>
            <a:solidFill>
              <a:schemeClr val="accent3">
                <a:alpha val="50000"/>
              </a:schemeClr>
            </a:solidFill>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endParaRPr lang="en-US"/>
            </a:p>
          </p:txBody>
        </p:sp>
        <p:sp>
          <p:nvSpPr>
            <p:cNvPr id="6" name="Title 1">
              <a:extLst>
                <a:ext uri="{FF2B5EF4-FFF2-40B4-BE49-F238E27FC236}">
                  <a16:creationId xmlns:a16="http://schemas.microsoft.com/office/drawing/2014/main" id="{95B02A98-210A-8C7B-6C7F-9468215D13FE}"/>
                </a:ext>
              </a:extLst>
            </p:cNvPr>
            <p:cNvSpPr txBox="1">
              <a:spLocks/>
            </p:cNvSpPr>
            <p:nvPr userDrawn="1"/>
          </p:nvSpPr>
          <p:spPr>
            <a:xfrm rot="5400000">
              <a:off x="859801" y="4330"/>
              <a:ext cx="457200" cy="1461792"/>
            </a:xfrm>
            <a:prstGeom prst="round2SameRect">
              <a:avLst>
                <a:gd name="adj1" fmla="val 50000"/>
                <a:gd name="adj2" fmla="val 0"/>
              </a:avLst>
            </a:prstGeom>
            <a:solidFill>
              <a:schemeClr val="accent3"/>
            </a:solidFill>
            <a:ln>
              <a:solidFill>
                <a:schemeClr val="accent3"/>
              </a:solidFill>
            </a:ln>
          </p:spPr>
          <p:txBody>
            <a:bodyPr vert="vert270" bIns="365760" anchor="ctr" anchorCtr="0">
              <a:noAutofit/>
            </a:bodyPr>
            <a:lstStyle>
              <a:lvl1pPr algn="l" defTabSz="914400" rtl="0" eaLnBrk="1" latinLnBrk="0" hangingPunct="1">
                <a:lnSpc>
                  <a:spcPct val="100000"/>
                </a:lnSpc>
                <a:spcBef>
                  <a:spcPts val="0"/>
                </a:spcBef>
                <a:spcAft>
                  <a:spcPts val="600"/>
                </a:spcAft>
                <a:buNone/>
                <a:defRPr sz="2000" b="1" i="0" kern="1200">
                  <a:solidFill>
                    <a:schemeClr val="bg1"/>
                  </a:solidFill>
                  <a:latin typeface="Calibri" panose="020F0502020204030204" pitchFamily="34" charset="0"/>
                  <a:ea typeface="+mj-ea"/>
                  <a:cs typeface="Calibri" panose="020F0502020204030204" pitchFamily="34" charset="0"/>
                </a:defRPr>
              </a:lvl1pPr>
            </a:lstStyle>
            <a:p>
              <a:r>
                <a:rPr lang="en-US"/>
                <a:t>ALKIVIA</a:t>
              </a:r>
            </a:p>
          </p:txBody>
        </p:sp>
      </p:grpSp>
      <p:sp>
        <p:nvSpPr>
          <p:cNvPr id="18" name="Right Arrow 17">
            <a:extLst>
              <a:ext uri="{FF2B5EF4-FFF2-40B4-BE49-F238E27FC236}">
                <a16:creationId xmlns:a16="http://schemas.microsoft.com/office/drawing/2014/main" id="{A8FCBD07-F092-AFC4-3EA3-875D35A9C116}"/>
              </a:ext>
            </a:extLst>
          </p:cNvPr>
          <p:cNvSpPr/>
          <p:nvPr/>
        </p:nvSpPr>
        <p:spPr>
          <a:xfrm>
            <a:off x="6568069" y="3251841"/>
            <a:ext cx="1202998" cy="484463"/>
          </a:xfrm>
          <a:prstGeom prst="rightArrow">
            <a:avLst>
              <a:gd name="adj1" fmla="val 50000"/>
              <a:gd name="adj2" fmla="val 67681"/>
            </a:avLst>
          </a:prstGeom>
          <a:gradFill flip="none" rotWithShape="1">
            <a:gsLst>
              <a:gs pos="0">
                <a:schemeClr val="accent1">
                  <a:alpha val="0"/>
                </a:schemeClr>
              </a:gs>
              <a:gs pos="100000">
                <a:schemeClr val="accent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Freeform 6">
            <a:extLst>
              <a:ext uri="{FF2B5EF4-FFF2-40B4-BE49-F238E27FC236}">
                <a16:creationId xmlns:a16="http://schemas.microsoft.com/office/drawing/2014/main" id="{98A980C8-1ED6-7BD3-C94A-B3C39FC6E28D}"/>
              </a:ext>
            </a:extLst>
          </p:cNvPr>
          <p:cNvSpPr/>
          <p:nvPr/>
        </p:nvSpPr>
        <p:spPr>
          <a:xfrm>
            <a:off x="7421019" y="1357822"/>
            <a:ext cx="4666244" cy="4784055"/>
          </a:xfrm>
          <a:custGeom>
            <a:avLst/>
            <a:gdLst>
              <a:gd name="connsiteX0" fmla="*/ 1715042 w 1941941"/>
              <a:gd name="connsiteY0" fmla="*/ 243572 h 1990970"/>
              <a:gd name="connsiteX1" fmla="*/ 1617068 w 1941941"/>
              <a:gd name="connsiteY1" fmla="*/ 188056 h 1990970"/>
              <a:gd name="connsiteX2" fmla="*/ 1351580 w 1941941"/>
              <a:gd name="connsiteY2" fmla="*/ 80278 h 1990970"/>
              <a:gd name="connsiteX3" fmla="*/ 1214802 w 1941941"/>
              <a:gd name="connsiteY3" fmla="*/ 48117 h 1990970"/>
              <a:gd name="connsiteX4" fmla="*/ 854606 w 1941941"/>
              <a:gd name="connsiteY4" fmla="*/ 1024 h 1990970"/>
              <a:gd name="connsiteX5" fmla="*/ 682288 w 1941941"/>
              <a:gd name="connsiteY5" fmla="*/ 6001 h 1990970"/>
              <a:gd name="connsiteX6" fmla="*/ 589310 w 1941941"/>
              <a:gd name="connsiteY6" fmla="*/ 22847 h 1990970"/>
              <a:gd name="connsiteX7" fmla="*/ 435434 w 1941941"/>
              <a:gd name="connsiteY7" fmla="*/ 105547 h 1990970"/>
              <a:gd name="connsiteX8" fmla="*/ 420258 w 1941941"/>
              <a:gd name="connsiteY8" fmla="*/ 117225 h 1990970"/>
              <a:gd name="connsiteX9" fmla="*/ 244290 w 1941941"/>
              <a:gd name="connsiteY9" fmla="*/ 1598167 h 1990970"/>
              <a:gd name="connsiteX10" fmla="*/ 1405754 w 1941941"/>
              <a:gd name="connsiteY10" fmla="*/ 1950408 h 1990970"/>
              <a:gd name="connsiteX11" fmla="*/ 1600163 w 1941941"/>
              <a:gd name="connsiteY11" fmla="*/ 1759930 h 1990970"/>
              <a:gd name="connsiteX12" fmla="*/ 1617068 w 1941941"/>
              <a:gd name="connsiteY12" fmla="*/ 1719537 h 1990970"/>
              <a:gd name="connsiteX13" fmla="*/ 1650879 w 1941941"/>
              <a:gd name="connsiteY13" fmla="*/ 1643729 h 1990970"/>
              <a:gd name="connsiteX14" fmla="*/ 1666055 w 1941941"/>
              <a:gd name="connsiteY14" fmla="*/ 1594913 h 1990970"/>
              <a:gd name="connsiteX15" fmla="*/ 1845289 w 1941941"/>
              <a:gd name="connsiteY15" fmla="*/ 1043963 h 1990970"/>
              <a:gd name="connsiteX16" fmla="*/ 1872375 w 1941941"/>
              <a:gd name="connsiteY16" fmla="*/ 973323 h 1990970"/>
              <a:gd name="connsiteX17" fmla="*/ 1931543 w 1941941"/>
              <a:gd name="connsiteY17" fmla="*/ 774422 h 1990970"/>
              <a:gd name="connsiteX18" fmla="*/ 1939996 w 1941941"/>
              <a:gd name="connsiteY18" fmla="*/ 691913 h 1990970"/>
              <a:gd name="connsiteX19" fmla="*/ 1936538 w 1941941"/>
              <a:gd name="connsiteY19" fmla="*/ 565566 h 1990970"/>
              <a:gd name="connsiteX20" fmla="*/ 1912909 w 1941941"/>
              <a:gd name="connsiteY20" fmla="*/ 476357 h 1990970"/>
              <a:gd name="connsiteX21" fmla="*/ 1869110 w 1941941"/>
              <a:gd name="connsiteY21" fmla="*/ 393466 h 1990970"/>
              <a:gd name="connsiteX22" fmla="*/ 1804947 w 1941941"/>
              <a:gd name="connsiteY22" fmla="*/ 319380 h 1990970"/>
              <a:gd name="connsiteX23" fmla="*/ 1715234 w 1941941"/>
              <a:gd name="connsiteY23" fmla="*/ 243572 h 19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41941" h="1990970">
                <a:moveTo>
                  <a:pt x="1715042" y="243572"/>
                </a:moveTo>
                <a:cubicBezTo>
                  <a:pt x="1683537" y="223280"/>
                  <a:pt x="1650687" y="204711"/>
                  <a:pt x="1617068" y="188056"/>
                </a:cubicBezTo>
                <a:cubicBezTo>
                  <a:pt x="1532158" y="143834"/>
                  <a:pt x="1443214" y="107653"/>
                  <a:pt x="1351580" y="80278"/>
                </a:cubicBezTo>
                <a:cubicBezTo>
                  <a:pt x="1307588" y="68983"/>
                  <a:pt x="1262060" y="58263"/>
                  <a:pt x="1214802" y="48117"/>
                </a:cubicBezTo>
                <a:cubicBezTo>
                  <a:pt x="1095889" y="24379"/>
                  <a:pt x="975632" y="8681"/>
                  <a:pt x="854606" y="1024"/>
                </a:cubicBezTo>
                <a:cubicBezTo>
                  <a:pt x="797167" y="-1274"/>
                  <a:pt x="739535" y="258"/>
                  <a:pt x="682288" y="6001"/>
                </a:cubicBezTo>
                <a:cubicBezTo>
                  <a:pt x="648478" y="10595"/>
                  <a:pt x="617549" y="16147"/>
                  <a:pt x="589310" y="22847"/>
                </a:cubicBezTo>
                <a:cubicBezTo>
                  <a:pt x="532447" y="38353"/>
                  <a:pt x="479810" y="66686"/>
                  <a:pt x="435434" y="105547"/>
                </a:cubicBezTo>
                <a:cubicBezTo>
                  <a:pt x="431016" y="108802"/>
                  <a:pt x="425829" y="112822"/>
                  <a:pt x="420258" y="117225"/>
                </a:cubicBezTo>
                <a:cubicBezTo>
                  <a:pt x="-73450" y="758533"/>
                  <a:pt x="-132234" y="1252244"/>
                  <a:pt x="244290" y="1598167"/>
                </a:cubicBezTo>
                <a:cubicBezTo>
                  <a:pt x="619662" y="1944091"/>
                  <a:pt x="1006945" y="2061632"/>
                  <a:pt x="1405754" y="1950408"/>
                </a:cubicBezTo>
                <a:cubicBezTo>
                  <a:pt x="1481251" y="1918821"/>
                  <a:pt x="1546182" y="1855456"/>
                  <a:pt x="1600163" y="1759930"/>
                </a:cubicBezTo>
                <a:lnTo>
                  <a:pt x="1617068" y="1719537"/>
                </a:lnTo>
                <a:cubicBezTo>
                  <a:pt x="1627250" y="1694842"/>
                  <a:pt x="1638392" y="1669573"/>
                  <a:pt x="1650879" y="1643729"/>
                </a:cubicBezTo>
                <a:cubicBezTo>
                  <a:pt x="1655297" y="1628031"/>
                  <a:pt x="1660484" y="1611759"/>
                  <a:pt x="1666055" y="1594913"/>
                </a:cubicBezTo>
                <a:cubicBezTo>
                  <a:pt x="1717923" y="1407307"/>
                  <a:pt x="1777668" y="1223720"/>
                  <a:pt x="1845289" y="1043963"/>
                </a:cubicBezTo>
                <a:cubicBezTo>
                  <a:pt x="1854318" y="1020416"/>
                  <a:pt x="1863346" y="996870"/>
                  <a:pt x="1872375" y="973323"/>
                </a:cubicBezTo>
                <a:cubicBezTo>
                  <a:pt x="1895428" y="908044"/>
                  <a:pt x="1915215" y="841616"/>
                  <a:pt x="1931543" y="774422"/>
                </a:cubicBezTo>
                <a:cubicBezTo>
                  <a:pt x="1935962" y="744175"/>
                  <a:pt x="1938843" y="716608"/>
                  <a:pt x="1939996" y="691913"/>
                </a:cubicBezTo>
                <a:cubicBezTo>
                  <a:pt x="1943454" y="649798"/>
                  <a:pt x="1942301" y="607490"/>
                  <a:pt x="1936538" y="565566"/>
                </a:cubicBezTo>
                <a:cubicBezTo>
                  <a:pt x="1930583" y="535319"/>
                  <a:pt x="1922707" y="505455"/>
                  <a:pt x="1912909" y="476357"/>
                </a:cubicBezTo>
                <a:cubicBezTo>
                  <a:pt x="1900231" y="447642"/>
                  <a:pt x="1885631" y="419884"/>
                  <a:pt x="1869110" y="393466"/>
                </a:cubicBezTo>
                <a:cubicBezTo>
                  <a:pt x="1849707" y="367239"/>
                  <a:pt x="1828191" y="342353"/>
                  <a:pt x="1804947" y="319380"/>
                </a:cubicBezTo>
                <a:cubicBezTo>
                  <a:pt x="1776899" y="292005"/>
                  <a:pt x="1746931" y="266544"/>
                  <a:pt x="1715234" y="243572"/>
                </a:cubicBezTo>
              </a:path>
            </a:pathLst>
          </a:custGeom>
          <a:solidFill>
            <a:schemeClr val="accent1">
              <a:lumMod val="20000"/>
              <a:lumOff val="80000"/>
              <a:alpha val="5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731520" rIns="182880" bIns="0" rtlCol="0" anchor="t">
            <a:noAutofit/>
          </a:bodyPr>
          <a:lstStyle/>
          <a:p>
            <a:pPr algn="ctr"/>
            <a:r>
              <a:rPr lang="en-US" sz="1600" b="1" kern="0" noProof="0">
                <a:solidFill>
                  <a:srgbClr val="086F3C"/>
                </a:solidFill>
              </a:rPr>
              <a:t>TIS is a composite endpoint </a:t>
            </a:r>
            <a:br>
              <a:rPr lang="en-US" sz="1600" b="1" kern="0" noProof="0">
                <a:solidFill>
                  <a:srgbClr val="086F3C"/>
                </a:solidFill>
              </a:rPr>
            </a:br>
            <a:r>
              <a:rPr lang="en-US" sz="1600" b="1" kern="0" noProof="0">
                <a:solidFill>
                  <a:srgbClr val="086F3C"/>
                </a:solidFill>
              </a:rPr>
              <a:t>combining 6 Core Set Measures (CSM)</a:t>
            </a:r>
          </a:p>
          <a:p>
            <a:pPr marL="900113" lvl="0" indent="-342900">
              <a:buClr>
                <a:srgbClr val="086F3C"/>
              </a:buClr>
              <a:buFont typeface="+mj-lt"/>
              <a:buAutoNum type="arabicPeriod"/>
              <a:defRPr/>
            </a:pPr>
            <a:endParaRPr lang="en-US" sz="1400" kern="0" noProof="0">
              <a:solidFill>
                <a:srgbClr val="5A5A5A"/>
              </a:solidFill>
            </a:endParaRPr>
          </a:p>
          <a:p>
            <a:pPr marL="900113" lvl="0" indent="-342900">
              <a:buClr>
                <a:srgbClr val="086F3C"/>
              </a:buClr>
              <a:buFont typeface="+mj-lt"/>
              <a:buAutoNum type="arabicPeriod"/>
              <a:defRPr/>
            </a:pPr>
            <a:endParaRPr lang="en-US" sz="1400" kern="0">
              <a:solidFill>
                <a:srgbClr val="5A5A5A"/>
              </a:solidFill>
            </a:endParaRPr>
          </a:p>
          <a:p>
            <a:pPr marL="900113" lvl="0" indent="-342900">
              <a:buClr>
                <a:srgbClr val="086F3C"/>
              </a:buClr>
              <a:buFont typeface="+mj-lt"/>
              <a:buAutoNum type="arabicPeriod"/>
              <a:defRPr/>
            </a:pPr>
            <a:endParaRPr lang="en-US" sz="1400" kern="0" noProof="0">
              <a:solidFill>
                <a:srgbClr val="5A5A5A"/>
              </a:solidFill>
            </a:endParaRPr>
          </a:p>
          <a:p>
            <a:pPr marL="900113" lvl="0" indent="-342900">
              <a:buClr>
                <a:srgbClr val="086F3C"/>
              </a:buClr>
              <a:buFont typeface="+mj-lt"/>
              <a:buAutoNum type="arabicPeriod"/>
              <a:defRPr/>
            </a:pPr>
            <a:endParaRPr lang="en-US" sz="1400" kern="0">
              <a:solidFill>
                <a:srgbClr val="5A5A5A"/>
              </a:solidFill>
            </a:endParaRPr>
          </a:p>
          <a:p>
            <a:pPr marL="900113" lvl="0" indent="-342900">
              <a:buClr>
                <a:srgbClr val="086F3C"/>
              </a:buClr>
              <a:buFont typeface="+mj-lt"/>
              <a:buAutoNum type="arabicPeriod"/>
              <a:defRPr/>
            </a:pPr>
            <a:endParaRPr lang="en-US" sz="1400" kern="0" noProof="0">
              <a:solidFill>
                <a:srgbClr val="5A5A5A"/>
              </a:solidFill>
            </a:endParaRPr>
          </a:p>
          <a:p>
            <a:pPr marL="900113" lvl="0" indent="-342900">
              <a:buClr>
                <a:srgbClr val="086F3C"/>
              </a:buClr>
              <a:buFont typeface="+mj-lt"/>
              <a:buAutoNum type="arabicPeriod"/>
              <a:defRPr/>
            </a:pPr>
            <a:endParaRPr lang="en-US" sz="1400" kern="0">
              <a:solidFill>
                <a:srgbClr val="5A5A5A"/>
              </a:solidFill>
            </a:endParaRPr>
          </a:p>
          <a:p>
            <a:pPr marL="900113" lvl="0" indent="-342900">
              <a:buClr>
                <a:srgbClr val="086F3C"/>
              </a:buClr>
              <a:buFont typeface="+mj-lt"/>
              <a:buAutoNum type="arabicPeriod"/>
              <a:defRPr/>
            </a:pPr>
            <a:endParaRPr lang="en-US" sz="1400" kern="0" noProof="0">
              <a:solidFill>
                <a:srgbClr val="5A5A5A"/>
              </a:solidFill>
            </a:endParaRPr>
          </a:p>
          <a:p>
            <a:pPr marL="900113" lvl="0" indent="-342900">
              <a:buClr>
                <a:srgbClr val="086F3C"/>
              </a:buClr>
              <a:buFont typeface="+mj-lt"/>
              <a:buAutoNum type="arabicPeriod"/>
              <a:defRPr/>
            </a:pPr>
            <a:endParaRPr lang="en-US" sz="1400" kern="0" noProof="0">
              <a:solidFill>
                <a:srgbClr val="5A5A5A"/>
              </a:solidFill>
            </a:endParaRPr>
          </a:p>
          <a:p>
            <a:pPr lvl="0">
              <a:defRPr/>
            </a:pPr>
            <a:r>
              <a:rPr lang="en-US" sz="1400" b="1" kern="0" noProof="0">
                <a:solidFill>
                  <a:srgbClr val="5A5A5A"/>
                </a:solidFill>
              </a:rPr>
              <a:t>Ranges from 0</a:t>
            </a:r>
            <a:r>
              <a:rPr lang="en-US" sz="1400" b="1" kern="0">
                <a:solidFill>
                  <a:srgbClr val="5A5A5A"/>
                </a:solidFill>
              </a:rPr>
              <a:t>*</a:t>
            </a:r>
            <a:r>
              <a:rPr lang="en-US" sz="1400" b="1" kern="0" noProof="0">
                <a:solidFill>
                  <a:srgbClr val="5A5A5A"/>
                </a:solidFill>
              </a:rPr>
              <a:t> to 100</a:t>
            </a:r>
          </a:p>
          <a:p>
            <a:pPr marL="809625" lvl="1" indent="-228600">
              <a:buFont typeface="Courier New" panose="02070309020205020404" pitchFamily="49" charset="0"/>
              <a:buChar char="o"/>
              <a:defRPr/>
            </a:pPr>
            <a:r>
              <a:rPr lang="en-US" sz="1400" kern="0" noProof="0">
                <a:solidFill>
                  <a:srgbClr val="5A5A5A"/>
                </a:solidFill>
              </a:rPr>
              <a:t>TIS ≥20 = minimal improvement</a:t>
            </a:r>
          </a:p>
          <a:p>
            <a:pPr marL="809625" lvl="1" indent="-228600">
              <a:buFont typeface="Courier New" panose="02070309020205020404" pitchFamily="49" charset="0"/>
              <a:buChar char="o"/>
              <a:defRPr/>
            </a:pPr>
            <a:r>
              <a:rPr lang="en-US" sz="1400" kern="0" noProof="0">
                <a:solidFill>
                  <a:srgbClr val="5A5A5A"/>
                </a:solidFill>
              </a:rPr>
              <a:t>TIS ≥40 = moderate improvement</a:t>
            </a:r>
          </a:p>
          <a:p>
            <a:pPr marL="809625" lvl="1" indent="-228600">
              <a:buFont typeface="Courier New" panose="02070309020205020404" pitchFamily="49" charset="0"/>
              <a:buChar char="o"/>
              <a:defRPr/>
            </a:pPr>
            <a:r>
              <a:rPr lang="en-US" sz="1400" kern="0" noProof="0">
                <a:solidFill>
                  <a:srgbClr val="5A5A5A"/>
                </a:solidFill>
              </a:rPr>
              <a:t>TIS ≥60 = major improvement</a:t>
            </a:r>
          </a:p>
        </p:txBody>
      </p:sp>
      <p:sp>
        <p:nvSpPr>
          <p:cNvPr id="13" name="TextBox 12">
            <a:extLst>
              <a:ext uri="{FF2B5EF4-FFF2-40B4-BE49-F238E27FC236}">
                <a16:creationId xmlns:a16="http://schemas.microsoft.com/office/drawing/2014/main" id="{2D79E9C1-BB4C-C7D3-4A7A-99B180C4231A}"/>
              </a:ext>
            </a:extLst>
          </p:cNvPr>
          <p:cNvSpPr txBox="1"/>
          <p:nvPr/>
        </p:nvSpPr>
        <p:spPr>
          <a:xfrm>
            <a:off x="7169568" y="2655053"/>
            <a:ext cx="4801045" cy="1600438"/>
          </a:xfrm>
          <a:prstGeom prst="rect">
            <a:avLst/>
          </a:prstGeom>
          <a:noFill/>
        </p:spPr>
        <p:txBody>
          <a:bodyPr wrap="square">
            <a:spAutoFit/>
          </a:bodyPr>
          <a:lstStyle/>
          <a:p>
            <a:pPr marL="581025" lvl="0">
              <a:buClr>
                <a:srgbClr val="086F3C"/>
              </a:buClr>
              <a:defRPr/>
            </a:pPr>
            <a:r>
              <a:rPr lang="en-US" sz="1400" kern="0">
                <a:solidFill>
                  <a:srgbClr val="086F3C"/>
                </a:solidFill>
              </a:rPr>
              <a:t>Absolute percent change in:</a:t>
            </a:r>
            <a:endParaRPr lang="en-US" sz="1400" kern="0" noProof="0">
              <a:solidFill>
                <a:schemeClr val="accent5"/>
              </a:solidFill>
            </a:endParaRPr>
          </a:p>
          <a:p>
            <a:pPr marL="1076325" lvl="0" indent="-266700">
              <a:buClr>
                <a:srgbClr val="086F3C"/>
              </a:buClr>
              <a:buFont typeface="+mj-lt"/>
              <a:buAutoNum type="arabicPeriod"/>
              <a:defRPr/>
            </a:pPr>
            <a:r>
              <a:rPr lang="en-US" sz="1400" kern="0" noProof="0">
                <a:solidFill>
                  <a:schemeClr val="accent5"/>
                </a:solidFill>
              </a:rPr>
              <a:t>MDGA </a:t>
            </a:r>
            <a:r>
              <a:rPr lang="en-US" sz="1100" kern="0" noProof="0">
                <a:solidFill>
                  <a:schemeClr val="accent5"/>
                </a:solidFill>
              </a:rPr>
              <a:t>(Medical Doctor [Physician</a:t>
            </a:r>
            <a:r>
              <a:rPr lang="en-US" sz="1100" kern="0">
                <a:solidFill>
                  <a:schemeClr val="accent5"/>
                </a:solidFill>
              </a:rPr>
              <a:t>]</a:t>
            </a:r>
            <a:r>
              <a:rPr lang="en-US" sz="1100" kern="0" noProof="0">
                <a:solidFill>
                  <a:schemeClr val="accent5"/>
                </a:solidFill>
              </a:rPr>
              <a:t> Global Assessment)</a:t>
            </a:r>
          </a:p>
          <a:p>
            <a:pPr marL="1076325" lvl="0" indent="-266700">
              <a:buClr>
                <a:srgbClr val="086F3C"/>
              </a:buClr>
              <a:buFont typeface="+mj-lt"/>
              <a:buAutoNum type="arabicPeriod"/>
              <a:defRPr/>
            </a:pPr>
            <a:r>
              <a:rPr lang="en-US" sz="1400" kern="0" noProof="0">
                <a:solidFill>
                  <a:schemeClr val="accent5"/>
                </a:solidFill>
              </a:rPr>
              <a:t>PGA </a:t>
            </a:r>
            <a:r>
              <a:rPr lang="en-US" sz="1100" kern="0" noProof="0">
                <a:solidFill>
                  <a:schemeClr val="accent5"/>
                </a:solidFill>
              </a:rPr>
              <a:t>(Patient Global Assessment)</a:t>
            </a:r>
          </a:p>
          <a:p>
            <a:pPr marL="1076325" lvl="0" indent="-266700">
              <a:buClr>
                <a:srgbClr val="086F3C"/>
              </a:buClr>
              <a:buFont typeface="+mj-lt"/>
              <a:buAutoNum type="arabicPeriod"/>
              <a:defRPr/>
            </a:pPr>
            <a:r>
              <a:rPr lang="en-US" sz="1400" kern="0" noProof="0">
                <a:solidFill>
                  <a:schemeClr val="accent5"/>
                </a:solidFill>
              </a:rPr>
              <a:t>MMT8 </a:t>
            </a:r>
            <a:r>
              <a:rPr lang="en-US" sz="1100" kern="0" noProof="0">
                <a:solidFill>
                  <a:schemeClr val="accent5"/>
                </a:solidFill>
              </a:rPr>
              <a:t>(Manual Muscle Testing 8)</a:t>
            </a:r>
          </a:p>
          <a:p>
            <a:pPr marL="1076325" lvl="0" indent="-266700">
              <a:buClr>
                <a:srgbClr val="086F3C"/>
              </a:buClr>
              <a:buFont typeface="+mj-lt"/>
              <a:buAutoNum type="arabicPeriod"/>
              <a:defRPr/>
            </a:pPr>
            <a:r>
              <a:rPr lang="en-US" sz="1400" kern="0" noProof="0">
                <a:solidFill>
                  <a:schemeClr val="accent5"/>
                </a:solidFill>
              </a:rPr>
              <a:t>HAQ-DI </a:t>
            </a:r>
            <a:r>
              <a:rPr lang="en-US" sz="1100" kern="0" noProof="0">
                <a:solidFill>
                  <a:schemeClr val="accent5"/>
                </a:solidFill>
              </a:rPr>
              <a:t>(Health Assessment Questionnaire-Disability Index)</a:t>
            </a:r>
          </a:p>
          <a:p>
            <a:pPr marL="1076325" lvl="0" indent="-266700">
              <a:buClr>
                <a:srgbClr val="086F3C"/>
              </a:buClr>
              <a:buFont typeface="+mj-lt"/>
              <a:buAutoNum type="arabicPeriod"/>
              <a:defRPr/>
            </a:pPr>
            <a:r>
              <a:rPr lang="en-US" sz="1400" kern="0" noProof="0">
                <a:solidFill>
                  <a:schemeClr val="accent5"/>
                </a:solidFill>
              </a:rPr>
              <a:t>Most abnormal muscle enzyme </a:t>
            </a:r>
          </a:p>
          <a:p>
            <a:pPr marL="1076325" lvl="0" indent="-266700">
              <a:buClr>
                <a:srgbClr val="086F3C"/>
              </a:buClr>
              <a:buFont typeface="+mj-lt"/>
              <a:buAutoNum type="arabicPeriod"/>
              <a:defRPr/>
            </a:pPr>
            <a:r>
              <a:rPr lang="en-US" sz="1400" kern="0" noProof="0">
                <a:solidFill>
                  <a:schemeClr val="accent5"/>
                </a:solidFill>
              </a:rPr>
              <a:t>Extra-muscular Global Assessment</a:t>
            </a:r>
          </a:p>
        </p:txBody>
      </p:sp>
    </p:spTree>
    <p:extLst>
      <p:ext uri="{BB962C8B-B14F-4D97-AF65-F5344CB8AC3E}">
        <p14:creationId xmlns:p14="http://schemas.microsoft.com/office/powerpoint/2010/main" val="3777864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5AC522-58B8-7498-9CE2-D2555F599788}"/>
            </a:ext>
          </a:extLst>
        </p:cNvPr>
        <p:cNvGrpSpPr/>
        <p:nvPr/>
      </p:nvGrpSpPr>
      <p:grpSpPr>
        <a:xfrm>
          <a:off x="0" y="0"/>
          <a:ext cx="0" cy="0"/>
          <a:chOff x="0" y="0"/>
          <a:chExt cx="0" cy="0"/>
        </a:xfrm>
      </p:grpSpPr>
      <p:sp>
        <p:nvSpPr>
          <p:cNvPr id="21" name="Title 20">
            <a:extLst>
              <a:ext uri="{FF2B5EF4-FFF2-40B4-BE49-F238E27FC236}">
                <a16:creationId xmlns:a16="http://schemas.microsoft.com/office/drawing/2014/main" id="{CD4E5A5D-AB13-AC17-3C90-532A7EA31A26}"/>
              </a:ext>
            </a:extLst>
          </p:cNvPr>
          <p:cNvSpPr>
            <a:spLocks noGrp="1"/>
          </p:cNvSpPr>
          <p:nvPr>
            <p:ph type="title"/>
          </p:nvPr>
        </p:nvSpPr>
        <p:spPr/>
        <p:txBody>
          <a:bodyPr/>
          <a:lstStyle/>
          <a:p>
            <a:r>
              <a:rPr lang="en-US" noProof="0"/>
              <a:t>                       Participant </a:t>
            </a:r>
            <a:r>
              <a:rPr lang="en-US" b="1" noProof="0"/>
              <a:t>Demographics</a:t>
            </a:r>
            <a:r>
              <a:rPr lang="en-US" noProof="0"/>
              <a:t> and </a:t>
            </a:r>
            <a:r>
              <a:rPr lang="en-US" b="1" noProof="0"/>
              <a:t>Disease Characteristics</a:t>
            </a:r>
          </a:p>
        </p:txBody>
      </p:sp>
      <p:sp>
        <p:nvSpPr>
          <p:cNvPr id="5" name="Slide Number Placeholder 4">
            <a:extLst>
              <a:ext uri="{FF2B5EF4-FFF2-40B4-BE49-F238E27FC236}">
                <a16:creationId xmlns:a16="http://schemas.microsoft.com/office/drawing/2014/main" id="{9394B15C-C3B0-112E-512B-0959154C8900}"/>
              </a:ext>
            </a:extLst>
          </p:cNvPr>
          <p:cNvSpPr>
            <a:spLocks noGrp="1"/>
          </p:cNvSpPr>
          <p:nvPr>
            <p:ph type="sldNum" sz="quarter" idx="4"/>
          </p:nvPr>
        </p:nvSpPr>
        <p:spPr/>
        <p:txBody>
          <a:bodyPr/>
          <a:lstStyle/>
          <a:p>
            <a:fld id="{A366880C-2072-4A02-B747-1981AA856017}" type="slidenum">
              <a:rPr lang="en-US" noProof="0" smtClean="0"/>
              <a:pPr/>
              <a:t>8</a:t>
            </a:fld>
            <a:endParaRPr lang="en-US" noProof="0"/>
          </a:p>
        </p:txBody>
      </p:sp>
      <p:grpSp>
        <p:nvGrpSpPr>
          <p:cNvPr id="11" name="Group 10">
            <a:extLst>
              <a:ext uri="{FF2B5EF4-FFF2-40B4-BE49-F238E27FC236}">
                <a16:creationId xmlns:a16="http://schemas.microsoft.com/office/drawing/2014/main" id="{4C062682-9543-9649-380F-4CC317A58D30}"/>
              </a:ext>
            </a:extLst>
          </p:cNvPr>
          <p:cNvGrpSpPr/>
          <p:nvPr/>
        </p:nvGrpSpPr>
        <p:grpSpPr>
          <a:xfrm>
            <a:off x="1633288" y="1735491"/>
            <a:ext cx="9825287" cy="4176178"/>
            <a:chOff x="1599834" y="1902427"/>
            <a:chExt cx="9825287" cy="4176178"/>
          </a:xfrm>
          <a:solidFill>
            <a:srgbClr val="E7EDF1"/>
          </a:solidFill>
        </p:grpSpPr>
        <p:graphicFrame>
          <p:nvGraphicFramePr>
            <p:cNvPr id="4" name="Content Placeholder 5">
              <a:extLst>
                <a:ext uri="{FF2B5EF4-FFF2-40B4-BE49-F238E27FC236}">
                  <a16:creationId xmlns:a16="http://schemas.microsoft.com/office/drawing/2014/main" id="{28332737-D1BA-1304-BB17-18349486B807}"/>
                </a:ext>
              </a:extLst>
            </p:cNvPr>
            <p:cNvGraphicFramePr>
              <a:graphicFrameLocks/>
            </p:cNvGraphicFramePr>
            <p:nvPr>
              <p:extLst>
                <p:ext uri="{D42A27DB-BD31-4B8C-83A1-F6EECF244321}">
                  <p14:modId xmlns:p14="http://schemas.microsoft.com/office/powerpoint/2010/main" val="3130098888"/>
                </p:ext>
              </p:extLst>
            </p:nvPr>
          </p:nvGraphicFramePr>
          <p:xfrm>
            <a:off x="1599834" y="1918573"/>
            <a:ext cx="4389120" cy="4160032"/>
          </p:xfrm>
          <a:graphic>
            <a:graphicData uri="http://schemas.openxmlformats.org/drawingml/2006/table">
              <a:tbl>
                <a:tblPr firstRow="1" bandRow="1"/>
                <a:tblGrid>
                  <a:gridCol w="2194560">
                    <a:extLst>
                      <a:ext uri="{9D8B030D-6E8A-4147-A177-3AD203B41FA5}">
                        <a16:colId xmlns:a16="http://schemas.microsoft.com/office/drawing/2014/main" val="512067602"/>
                      </a:ext>
                    </a:extLst>
                  </a:gridCol>
                  <a:gridCol w="1097280">
                    <a:extLst>
                      <a:ext uri="{9D8B030D-6E8A-4147-A177-3AD203B41FA5}">
                        <a16:colId xmlns:a16="http://schemas.microsoft.com/office/drawing/2014/main" val="174101951"/>
                      </a:ext>
                    </a:extLst>
                  </a:gridCol>
                  <a:gridCol w="1097280">
                    <a:extLst>
                      <a:ext uri="{9D8B030D-6E8A-4147-A177-3AD203B41FA5}">
                        <a16:colId xmlns:a16="http://schemas.microsoft.com/office/drawing/2014/main" val="637731394"/>
                      </a:ext>
                    </a:extLst>
                  </a:gridCol>
                </a:tblGrid>
                <a:tr h="600694">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lvl="0" indent="0" algn="l" defTabSz="914400" rtl="0" eaLnBrk="1" fontAlgn="auto" latinLnBrk="0" hangingPunct="1">
                          <a:lnSpc>
                            <a:spcPct val="90000"/>
                          </a:lnSpc>
                          <a:spcBef>
                            <a:spcPts val="200"/>
                          </a:spcBef>
                          <a:spcAft>
                            <a:spcPts val="0"/>
                          </a:spcAft>
                          <a:buClrTx/>
                          <a:buSzTx/>
                          <a:buFontTx/>
                          <a:buNone/>
                          <a:tabLst/>
                          <a:defRPr/>
                        </a:pPr>
                        <a:br>
                          <a:rPr kumimoji="0" lang="en-US" sz="1200" b="1" i="0" u="none" strike="noStrike" kern="1200" cap="none" spc="0" normalizeH="0" baseline="0" noProof="0">
                            <a:ln>
                              <a:noFill/>
                            </a:ln>
                            <a:solidFill>
                              <a:schemeClr val="tx2"/>
                            </a:solidFill>
                            <a:effectLst/>
                            <a:uLnTx/>
                            <a:uFillTx/>
                            <a:latin typeface="+mj-lt"/>
                            <a:ea typeface="+mn-ea"/>
                            <a:cs typeface="+mn-cs"/>
                          </a:rPr>
                        </a:br>
                        <a:br>
                          <a:rPr kumimoji="0" lang="en-US" sz="1200" b="1" i="0" u="none" strike="noStrike" kern="1200" cap="none" spc="0" normalizeH="0" baseline="0" noProof="0">
                            <a:ln>
                              <a:noFill/>
                            </a:ln>
                            <a:solidFill>
                              <a:schemeClr val="tx2"/>
                            </a:solidFill>
                            <a:effectLst/>
                            <a:uLnTx/>
                            <a:uFillTx/>
                            <a:latin typeface="+mj-lt"/>
                            <a:ea typeface="+mn-ea"/>
                            <a:cs typeface="+mn-cs"/>
                          </a:rPr>
                        </a:br>
                        <a:r>
                          <a:rPr kumimoji="0" lang="en-US" sz="1200" b="1" i="0" u="none" strike="noStrike" kern="1200" cap="none" spc="0" normalizeH="0" baseline="0" noProof="0">
                            <a:ln>
                              <a:noFill/>
                            </a:ln>
                            <a:solidFill>
                              <a:schemeClr val="tx2"/>
                            </a:solidFill>
                            <a:effectLst/>
                            <a:uLnTx/>
                            <a:uFillTx/>
                            <a:latin typeface="+mj-lt"/>
                            <a:ea typeface="+mn-ea"/>
                            <a:cs typeface="+mn-cs"/>
                          </a:rPr>
                          <a:t>Demographics</a:t>
                        </a:r>
                      </a:p>
                    </a:txBody>
                    <a:tcPr marL="0" marR="0" marT="0" marB="0" anchor="ctr">
                      <a:lnL w="127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mj-lt"/>
                            <a:ea typeface="+mn-ea"/>
                            <a:cs typeface="+mn-cs"/>
                          </a:rPr>
                          <a:t>Efgartigimod PH20 SC </a:t>
                        </a:r>
                        <a:br>
                          <a:rPr kumimoji="0" lang="en-US" sz="1200" b="1" i="0" u="none" strike="noStrike" kern="1200" cap="none" spc="0" normalizeH="0" baseline="0" noProof="0">
                            <a:ln>
                              <a:noFill/>
                            </a:ln>
                            <a:solidFill>
                              <a:schemeClr val="bg1"/>
                            </a:solidFill>
                            <a:effectLst/>
                            <a:uLnTx/>
                            <a:uFillTx/>
                            <a:latin typeface="+mj-lt"/>
                            <a:ea typeface="+mn-ea"/>
                            <a:cs typeface="+mn-cs"/>
                          </a:rPr>
                        </a:br>
                        <a:r>
                          <a:rPr kumimoji="0" lang="en-US" sz="1200" b="0" i="0" u="none" strike="noStrike" kern="1200" cap="none" spc="0" normalizeH="0" baseline="0" noProof="0">
                            <a:ln>
                              <a:noFill/>
                            </a:ln>
                            <a:solidFill>
                              <a:schemeClr val="bg1"/>
                            </a:solidFill>
                            <a:effectLst/>
                            <a:uLnTx/>
                            <a:uFillTx/>
                            <a:latin typeface="+mj-lt"/>
                            <a:ea typeface="+mn-ea"/>
                            <a:cs typeface="+mn-cs"/>
                          </a:rPr>
                          <a:t>(N=47)</a:t>
                        </a:r>
                      </a:p>
                    </a:txBody>
                    <a:tcPr marL="0" marR="0" marT="0" marB="0" anchor="ctr">
                      <a:lnL>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0B436E"/>
                      </a:solidFill>
                    </a:tcP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algn="ctr"/>
                        <a:r>
                          <a:rPr kumimoji="0" lang="en-US" sz="1200" b="1" i="0" u="none" strike="noStrike" kern="1200" cap="none" spc="0" normalizeH="0" baseline="0" noProof="0" dirty="0">
                            <a:ln>
                              <a:noFill/>
                            </a:ln>
                            <a:solidFill>
                              <a:schemeClr val="bg1"/>
                            </a:solidFill>
                            <a:effectLst/>
                            <a:uLnTx/>
                            <a:uFillTx/>
                            <a:latin typeface="+mj-lt"/>
                            <a:ea typeface="+mn-ea"/>
                            <a:cs typeface="+mn-cs"/>
                          </a:rPr>
                          <a:t>Placebo </a:t>
                        </a:r>
                        <a:br>
                          <a:rPr kumimoji="0" lang="en-US" sz="1200" b="1" i="0" u="none" strike="noStrike" kern="1200" cap="none" spc="0" normalizeH="0" baseline="0" noProof="0" dirty="0">
                            <a:ln>
                              <a:noFill/>
                            </a:ln>
                            <a:solidFill>
                              <a:schemeClr val="bg1"/>
                            </a:solidFill>
                            <a:effectLst/>
                            <a:uLnTx/>
                            <a:uFillTx/>
                            <a:latin typeface="+mj-lt"/>
                            <a:ea typeface="+mn-ea"/>
                            <a:cs typeface="+mn-cs"/>
                          </a:rPr>
                        </a:br>
                        <a:r>
                          <a:rPr kumimoji="0" lang="en-US" sz="1200" b="1" i="0" u="none" strike="noStrike" kern="1200" cap="none" spc="0" normalizeH="0" baseline="0" noProof="0" dirty="0">
                            <a:ln>
                              <a:noFill/>
                            </a:ln>
                            <a:solidFill>
                              <a:schemeClr val="bg1"/>
                            </a:solidFill>
                            <a:effectLst/>
                            <a:uLnTx/>
                            <a:uFillTx/>
                            <a:latin typeface="+mj-lt"/>
                            <a:ea typeface="+mn-ea"/>
                            <a:cs typeface="+mn-cs"/>
                          </a:rPr>
                          <a:t>PH20 SC </a:t>
                        </a:r>
                      </a:p>
                      <a:p>
                        <a:pPr algn="ctr"/>
                        <a:r>
                          <a:rPr kumimoji="0" lang="en-US" sz="1200" b="0" i="0" u="none" strike="noStrike" kern="1200" cap="none" spc="0" normalizeH="0" baseline="0" noProof="0" dirty="0">
                            <a:ln>
                              <a:noFill/>
                            </a:ln>
                            <a:solidFill>
                              <a:schemeClr val="bg1"/>
                            </a:solidFill>
                            <a:effectLst/>
                            <a:uLnTx/>
                            <a:uFillTx/>
                            <a:latin typeface="+mj-lt"/>
                            <a:ea typeface="+mn-ea"/>
                            <a:cs typeface="+mn-cs"/>
                          </a:rPr>
                          <a:t>(N=4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solidFill>
                    </a:tcPr>
                  </a:tc>
                  <a:extLst>
                    <a:ext uri="{0D108BD9-81ED-4DB2-BD59-A6C34878D82A}">
                      <a16:rowId xmlns:a16="http://schemas.microsoft.com/office/drawing/2014/main" val="906852513"/>
                    </a:ext>
                  </a:extLst>
                </a:tr>
                <a:tr h="23875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2"/>
                            </a:solidFill>
                            <a:effectLst/>
                            <a:uLnTx/>
                            <a:uFillTx/>
                            <a:latin typeface="+mj-lt"/>
                            <a:ea typeface="+mn-ea"/>
                            <a:cs typeface="+mn-cs"/>
                          </a:rPr>
                          <a:t>Age, </a:t>
                        </a:r>
                        <a:r>
                          <a:rPr kumimoji="0" lang="en-US" sz="1200" b="0" i="0" u="none" strike="noStrike" kern="1200" cap="none" spc="0" normalizeH="0" baseline="0" noProof="0">
                            <a:ln>
                              <a:noFill/>
                            </a:ln>
                            <a:solidFill>
                              <a:schemeClr val="tx2"/>
                            </a:solidFill>
                            <a:effectLst/>
                            <a:uLnTx/>
                            <a:uFillTx/>
                            <a:latin typeface="+mj-lt"/>
                            <a:ea typeface="+mn-ea"/>
                            <a:cs typeface="+mn-cs"/>
                          </a:rPr>
                          <a:t>years, mean (SD)</a:t>
                        </a:r>
                        <a:endParaRPr kumimoji="0" lang="en-US" sz="1200" b="0" i="0" u="none" strike="noStrike" kern="1200" cap="none" spc="0" normalizeH="0" baseline="30000" noProof="0">
                          <a:ln>
                            <a:noFill/>
                          </a:ln>
                          <a:solidFill>
                            <a:schemeClr val="tx2"/>
                          </a:solidFill>
                          <a:effectLst/>
                          <a:uLnTx/>
                          <a:uFillTx/>
                          <a:latin typeface="+mj-lt"/>
                          <a:ea typeface="+mn-ea"/>
                          <a:cs typeface="+mn-cs"/>
                        </a:endParaRP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a:solidFill>
                              <a:srgbClr val="0B436E"/>
                            </a:solidFill>
                            <a:effectLst/>
                            <a:latin typeface="+mj-lt"/>
                            <a:ea typeface="+mn-ea"/>
                            <a:cs typeface="+mn-cs"/>
                          </a:rPr>
                          <a:t>58.2 (13.9)</a:t>
                        </a:r>
                        <a:endParaRPr kumimoji="0" lang="en-US" sz="1200" b="1" i="0" u="none" strike="noStrike" kern="1200" cap="none" spc="0" normalizeH="0" baseline="30000" noProof="0">
                          <a:ln>
                            <a:noFill/>
                          </a:ln>
                          <a:solidFill>
                            <a:srgbClr val="0B436E"/>
                          </a:solidFill>
                          <a:effectLst/>
                          <a:uLnTx/>
                          <a:uFillTx/>
                          <a:latin typeface="+mj-lt"/>
                          <a:ea typeface="+mn-ea"/>
                          <a:cs typeface="+mn-cs"/>
                        </a:endParaRP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base" latinLnBrk="0" hangingPunct="1"/>
                        <a:r>
                          <a:rPr lang="en-US" sz="1200" b="0" i="0" u="none" strike="noStrike" kern="1200" noProof="0" dirty="0">
                            <a:solidFill>
                              <a:schemeClr val="tx2"/>
                            </a:solidFill>
                            <a:effectLst/>
                            <a:latin typeface="+mj-lt"/>
                            <a:ea typeface="+mn-ea"/>
                            <a:cs typeface="+mn-cs"/>
                          </a:rPr>
                          <a:t>54.7 (12.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20000"/>
                        </a:srgbClr>
                      </a:solidFill>
                    </a:tcPr>
                  </a:tc>
                  <a:extLst>
                    <a:ext uri="{0D108BD9-81ED-4DB2-BD59-A6C34878D82A}">
                      <a16:rowId xmlns:a16="http://schemas.microsoft.com/office/drawing/2014/main" val="2602533043"/>
                    </a:ext>
                  </a:extLst>
                </a:tr>
                <a:tr h="23875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rtl="0" eaLnBrk="1" fontAlgn="auto" latinLnBrk="0" hangingPunct="1">
                          <a:lnSpc>
                            <a:spcPct val="100000"/>
                          </a:lnSpc>
                          <a:spcBef>
                            <a:spcPts val="0"/>
                          </a:spcBef>
                          <a:spcAft>
                            <a:spcPts val="0"/>
                          </a:spcAft>
                          <a:buClrTx/>
                          <a:buSzTx/>
                          <a:buFontTx/>
                          <a:buNone/>
                        </a:pPr>
                        <a:r>
                          <a:rPr kumimoji="0" lang="en-US" sz="1200" b="1" i="0" u="none" strike="noStrike" kern="1200" cap="none" spc="0" normalizeH="0" baseline="0" noProof="0">
                            <a:ln>
                              <a:noFill/>
                            </a:ln>
                            <a:solidFill>
                              <a:schemeClr val="tx2"/>
                            </a:solidFill>
                            <a:effectLst/>
                            <a:uLnTx/>
                            <a:uFillTx/>
                            <a:latin typeface="+mj-lt"/>
                            <a:ea typeface="+mn-ea"/>
                            <a:cs typeface="+mn-cs"/>
                          </a:rPr>
                          <a:t>Sex, </a:t>
                        </a:r>
                        <a:r>
                          <a:rPr kumimoji="0" lang="en-US" sz="1200" b="0" i="0" u="none" strike="noStrike" kern="1200" cap="none" spc="0" normalizeH="0" baseline="0" noProof="0">
                            <a:ln>
                              <a:noFill/>
                            </a:ln>
                            <a:solidFill>
                              <a:schemeClr val="tx2"/>
                            </a:solidFill>
                            <a:effectLst/>
                            <a:uLnTx/>
                            <a:uFillTx/>
                            <a:latin typeface="+mj-lt"/>
                            <a:ea typeface="+mn-ea"/>
                            <a:cs typeface="+mn-cs"/>
                          </a:rPr>
                          <a:t>female, n (%)</a:t>
                        </a:r>
                        <a:endParaRPr kumimoji="0" lang="en-US" sz="1200" b="0" i="0" u="none" strike="noStrike" kern="1200" cap="none" spc="0" normalizeH="0" baseline="30000" noProof="0">
                          <a:ln>
                            <a:noFill/>
                          </a:ln>
                          <a:solidFill>
                            <a:schemeClr val="tx2"/>
                          </a:solidFill>
                          <a:effectLst/>
                          <a:uLnTx/>
                          <a:uFillTx/>
                          <a:latin typeface="+mj-lt"/>
                          <a:ea typeface="+mn-ea"/>
                          <a:cs typeface="+mn-cs"/>
                        </a:endParaRP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rtl="0" eaLnBrk="1" fontAlgn="auto" latinLnBrk="0" hangingPunct="1">
                          <a:lnSpc>
                            <a:spcPct val="100000"/>
                          </a:lnSpc>
                          <a:spcBef>
                            <a:spcPts val="0"/>
                          </a:spcBef>
                          <a:spcAft>
                            <a:spcPts val="0"/>
                          </a:spcAft>
                          <a:buClrTx/>
                          <a:buSzTx/>
                          <a:buFontTx/>
                          <a:buNone/>
                        </a:pPr>
                        <a:r>
                          <a:rPr lang="en-US" sz="1200" b="0" i="0" u="none" strike="noStrike" kern="1200" noProof="0">
                            <a:solidFill>
                              <a:srgbClr val="0B436E"/>
                            </a:solidFill>
                            <a:effectLst/>
                            <a:latin typeface="+mj-lt"/>
                            <a:ea typeface="+mn-ea"/>
                            <a:cs typeface="+mn-cs"/>
                          </a:rPr>
                          <a:t>35 (74.5)</a:t>
                        </a:r>
                        <a:endParaRPr kumimoji="0" lang="en-US" sz="1200" b="1" i="0" u="none" strike="noStrike" kern="1200" cap="none" spc="0" normalizeH="0" baseline="30000" noProof="0">
                          <a:ln>
                            <a:noFill/>
                          </a:ln>
                          <a:solidFill>
                            <a:srgbClr val="0B436E"/>
                          </a:solidFill>
                          <a:effectLst/>
                          <a:uLnTx/>
                          <a:uFillTx/>
                          <a:latin typeface="+mj-lt"/>
                          <a:ea typeface="+mn-ea"/>
                          <a:cs typeface="+mn-cs"/>
                        </a:endParaRP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base" latinLnBrk="0" hangingPunct="1"/>
                        <a:r>
                          <a:rPr lang="en-US" sz="1200" b="0" i="0" u="none" strike="noStrike" kern="1200" noProof="0" dirty="0">
                            <a:solidFill>
                              <a:schemeClr val="tx2"/>
                            </a:solidFill>
                            <a:effectLst/>
                            <a:latin typeface="+mj-lt"/>
                            <a:ea typeface="+mn-ea"/>
                            <a:cs typeface="+mn-cs"/>
                          </a:rPr>
                          <a:t>33 (78.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20000"/>
                        </a:srgbClr>
                      </a:solidFill>
                    </a:tcPr>
                  </a:tc>
                  <a:extLst>
                    <a:ext uri="{0D108BD9-81ED-4DB2-BD59-A6C34878D82A}">
                      <a16:rowId xmlns:a16="http://schemas.microsoft.com/office/drawing/2014/main" val="2518734633"/>
                    </a:ext>
                  </a:extLst>
                </a:tr>
                <a:tr h="2423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ts val="0"/>
                          </a:spcBef>
                          <a:spcAft>
                            <a:spcPts val="0"/>
                          </a:spcAft>
                          <a:buClrTx/>
                          <a:buSzTx/>
                          <a:buFontTx/>
                          <a:buNone/>
                        </a:pPr>
                        <a:r>
                          <a:rPr lang="en-US" sz="1200" b="1" i="0" u="none" strike="noStrike" kern="1200" noProof="0">
                            <a:solidFill>
                              <a:schemeClr val="tx2"/>
                            </a:solidFill>
                            <a:effectLst/>
                            <a:latin typeface="+mj-lt"/>
                            <a:ea typeface="+mn-ea"/>
                            <a:cs typeface="+mn-cs"/>
                          </a:rPr>
                          <a:t>BMI, </a:t>
                        </a:r>
                        <a:r>
                          <a:rPr lang="en-US" sz="1200" b="0" i="0" u="none" strike="noStrike" kern="1200" noProof="0">
                            <a:solidFill>
                              <a:schemeClr val="tx2"/>
                            </a:solidFill>
                            <a:effectLst/>
                            <a:latin typeface="+mj-lt"/>
                            <a:ea typeface="+mn-ea"/>
                            <a:cs typeface="+mn-cs"/>
                          </a:rPr>
                          <a:t>kg/m</a:t>
                        </a:r>
                        <a:r>
                          <a:rPr lang="en-US" sz="1200" b="0" i="0" u="none" strike="noStrike" kern="1200" baseline="30000" noProof="0">
                            <a:solidFill>
                              <a:schemeClr val="tx2"/>
                            </a:solidFill>
                            <a:effectLst/>
                            <a:latin typeface="+mj-lt"/>
                            <a:ea typeface="+mn-ea"/>
                            <a:cs typeface="+mn-cs"/>
                          </a:rPr>
                          <a:t>2</a:t>
                        </a:r>
                        <a:r>
                          <a:rPr lang="en-US" sz="1200" b="0" i="0" u="none" strike="noStrike" kern="1200" baseline="0" noProof="0">
                            <a:solidFill>
                              <a:schemeClr val="tx2"/>
                            </a:solidFill>
                            <a:effectLst/>
                            <a:latin typeface="+mj-lt"/>
                            <a:ea typeface="+mn-ea"/>
                            <a:cs typeface="+mn-cs"/>
                          </a:rPr>
                          <a:t>, mean (SD)</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ts val="0"/>
                          </a:spcBef>
                          <a:spcAft>
                            <a:spcPts val="0"/>
                          </a:spcAft>
                          <a:buClrTx/>
                          <a:buSzTx/>
                          <a:buFontTx/>
                          <a:buNone/>
                        </a:pPr>
                        <a:r>
                          <a:rPr lang="en-US" sz="1200" b="0" i="0" u="none" strike="noStrike" kern="1200" noProof="0">
                            <a:solidFill>
                              <a:srgbClr val="0B436E"/>
                            </a:solidFill>
                            <a:effectLst/>
                            <a:latin typeface="+mj-lt"/>
                            <a:ea typeface="+mn-ea"/>
                            <a:cs typeface="+mn-cs"/>
                          </a:rPr>
                          <a:t>27.3 (6.3)</a:t>
                        </a:r>
                        <a:endParaRPr lang="en-US" sz="1200" b="1" i="0" u="none" strike="noStrike" kern="1200" baseline="0" noProof="0">
                          <a:solidFill>
                            <a:srgbClr val="0B436E"/>
                          </a:solidFill>
                          <a:effectLst/>
                          <a:latin typeface="+mj-lt"/>
                          <a:ea typeface="+mn-ea"/>
                          <a:cs typeface="+mn-cs"/>
                        </a:endParaRP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200" b="0" i="0" u="none" strike="noStrike" kern="1200" noProof="0" dirty="0">
                            <a:solidFill>
                              <a:schemeClr val="tx2"/>
                            </a:solidFill>
                            <a:effectLst/>
                            <a:latin typeface="+mj-lt"/>
                            <a:ea typeface="+mn-ea"/>
                            <a:cs typeface="+mn-cs"/>
                          </a:rPr>
                          <a:t>27.3 (6.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alpha val="20000"/>
                        </a:srgbClr>
                      </a:solidFill>
                    </a:tcPr>
                  </a:tc>
                  <a:extLst>
                    <a:ext uri="{0D108BD9-81ED-4DB2-BD59-A6C34878D82A}">
                      <a16:rowId xmlns:a16="http://schemas.microsoft.com/office/drawing/2014/main" val="1051354421"/>
                    </a:ext>
                  </a:extLst>
                </a:tr>
                <a:tr h="23875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ts val="0"/>
                          </a:spcBef>
                          <a:spcAft>
                            <a:spcPts val="0"/>
                          </a:spcAft>
                          <a:buClrTx/>
                          <a:buSzTx/>
                          <a:buFontTx/>
                          <a:buNone/>
                        </a:pPr>
                        <a:r>
                          <a:rPr lang="en-US" sz="1200" b="1" i="0" u="none" strike="noStrike" kern="1200" noProof="0">
                            <a:solidFill>
                              <a:schemeClr val="tx2"/>
                            </a:solidFill>
                            <a:effectLst/>
                            <a:latin typeface="+mj-lt"/>
                            <a:ea typeface="+mn-ea"/>
                            <a:cs typeface="+mn-cs"/>
                          </a:rPr>
                          <a:t>Race, </a:t>
                        </a:r>
                        <a:r>
                          <a:rPr lang="en-US" sz="1200" b="0" i="0" u="none" strike="noStrike" kern="1200" noProof="0">
                            <a:solidFill>
                              <a:schemeClr val="tx2"/>
                            </a:solidFill>
                            <a:effectLst/>
                            <a:latin typeface="+mj-lt"/>
                            <a:ea typeface="+mn-ea"/>
                            <a:cs typeface="+mn-cs"/>
                          </a:rPr>
                          <a:t>n (%)</a:t>
                        </a: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noProof="0">
                          <a:solidFill>
                            <a:srgbClr val="0B436E"/>
                          </a:solidFill>
                        </a:endParaRP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endParaRPr lang="en-US" sz="1200" b="0" i="0" noProof="0">
                          <a:solidFill>
                            <a:srgbClr val="414042"/>
                          </a:solidFill>
                          <a:effectLst/>
                          <a:latin typeface="+mj-lt"/>
                        </a:endParaRP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4260633"/>
                    </a:ext>
                  </a:extLst>
                </a:tr>
                <a:tr h="2423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30400" marR="38100" lvl="1" indent="0" algn="l" defTabSz="914400" rtl="0" eaLnBrk="1" fontAlgn="base" latinLnBrk="0" hangingPunct="1">
                          <a:lnSpc>
                            <a:spcPct val="107000"/>
                          </a:lnSpc>
                          <a:spcBef>
                            <a:spcPts val="300"/>
                          </a:spcBef>
                          <a:spcAft>
                            <a:spcPts val="300"/>
                          </a:spcAft>
                        </a:pPr>
                        <a:r>
                          <a:rPr lang="en-US" sz="1200" b="0" i="0" u="none" strike="noStrike" kern="1200" noProof="0">
                            <a:solidFill>
                              <a:schemeClr val="tx2"/>
                            </a:solidFill>
                            <a:effectLst/>
                            <a:latin typeface="+mj-lt"/>
                            <a:ea typeface="+mn-ea"/>
                            <a:cs typeface="+mn-cs"/>
                          </a:rPr>
                          <a:t>White</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lvl="1" algn="ctr" defTabSz="914400" rtl="0" eaLnBrk="1" fontAlgn="base" latinLnBrk="0" hangingPunct="1">
                          <a:lnSpc>
                            <a:spcPct val="107000"/>
                          </a:lnSpc>
                          <a:spcBef>
                            <a:spcPts val="300"/>
                          </a:spcBef>
                          <a:spcAft>
                            <a:spcPts val="300"/>
                          </a:spcAft>
                        </a:pPr>
                        <a:r>
                          <a:rPr lang="en-US" sz="1200" b="0" i="0" u="none" strike="noStrike" kern="1200" noProof="0">
                            <a:solidFill>
                              <a:srgbClr val="0B436E"/>
                            </a:solidFill>
                            <a:effectLst/>
                            <a:latin typeface="+mj-lt"/>
                            <a:ea typeface="+mn-ea"/>
                            <a:cs typeface="+mn-cs"/>
                          </a:rPr>
                          <a:t>32 (71.1)</a:t>
                        </a: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200" b="0" i="0" u="none" strike="noStrike" kern="1200" noProof="0" dirty="0">
                            <a:solidFill>
                              <a:schemeClr val="tx2"/>
                            </a:solidFill>
                            <a:effectLst/>
                            <a:latin typeface="+mj-lt"/>
                            <a:ea typeface="+mn-ea"/>
                            <a:cs typeface="+mn-cs"/>
                          </a:rPr>
                          <a:t>29 (72.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3996430050"/>
                    </a:ext>
                  </a:extLst>
                </a:tr>
                <a:tr h="2423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lvl="0" indent="0" algn="l" defTabSz="914400" rtl="0" eaLnBrk="1" fontAlgn="base" latinLnBrk="0" hangingPunct="1">
                          <a:lnSpc>
                            <a:spcPct val="107000"/>
                          </a:lnSpc>
                          <a:spcBef>
                            <a:spcPts val="300"/>
                          </a:spcBef>
                          <a:spcAft>
                            <a:spcPts val="300"/>
                          </a:spcAft>
                          <a:tabLst/>
                        </a:pPr>
                        <a:r>
                          <a:rPr lang="en-US" sz="1200" b="1" i="0" u="none" strike="noStrike" kern="1200" noProof="0">
                            <a:solidFill>
                              <a:schemeClr val="tx2"/>
                            </a:solidFill>
                            <a:effectLst/>
                            <a:latin typeface="+mj-lt"/>
                            <a:ea typeface="+mn-ea"/>
                            <a:cs typeface="+mn-cs"/>
                          </a:rPr>
                          <a:t>Geographical region, </a:t>
                        </a:r>
                        <a:r>
                          <a:rPr lang="en-US" sz="1200" b="0" i="0" u="none" strike="noStrike" kern="1200" noProof="0">
                            <a:solidFill>
                              <a:schemeClr val="tx2"/>
                            </a:solidFill>
                            <a:effectLst/>
                            <a:latin typeface="+mj-lt"/>
                            <a:ea typeface="+mn-ea"/>
                            <a:cs typeface="+mn-cs"/>
                          </a:rPr>
                          <a:t>n (%)</a:t>
                        </a: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noProof="0">
                          <a:solidFill>
                            <a:srgbClr val="0B436E"/>
                          </a:solidFill>
                        </a:endParaRP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38100" algn="ctr" defTabSz="914400" rtl="0" eaLnBrk="1" fontAlgn="base" latinLnBrk="0" hangingPunct="1">
                          <a:lnSpc>
                            <a:spcPct val="107000"/>
                          </a:lnSpc>
                          <a:spcBef>
                            <a:spcPts val="300"/>
                          </a:spcBef>
                          <a:spcAft>
                            <a:spcPts val="300"/>
                          </a:spcAft>
                        </a:pPr>
                        <a:endParaRPr lang="en-US" sz="1200" b="0" i="0" u="none" strike="noStrike" kern="1200" noProof="0">
                          <a:solidFill>
                            <a:srgbClr val="414042"/>
                          </a:solidFill>
                          <a:effectLst/>
                          <a:latin typeface="+mj-lt"/>
                          <a:ea typeface="+mn-ea"/>
                          <a:cs typeface="+mn-cs"/>
                        </a:endParaRP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7435368"/>
                    </a:ext>
                  </a:extLst>
                </a:tr>
                <a:tr h="2423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30400" marR="38100" lvl="1" indent="0" algn="l" defTabSz="914400" rtl="0" eaLnBrk="1" fontAlgn="base" latinLnBrk="0" hangingPunct="1">
                          <a:lnSpc>
                            <a:spcPct val="107000"/>
                          </a:lnSpc>
                          <a:spcBef>
                            <a:spcPts val="300"/>
                          </a:spcBef>
                          <a:spcAft>
                            <a:spcPts val="300"/>
                          </a:spcAft>
                        </a:pPr>
                        <a:r>
                          <a:rPr lang="en-US" sz="1200" b="0" i="0" u="none" strike="noStrike" kern="1200" noProof="0">
                            <a:solidFill>
                              <a:schemeClr val="tx2"/>
                            </a:solidFill>
                            <a:effectLst/>
                            <a:latin typeface="+mj-lt"/>
                            <a:ea typeface="+mn-ea"/>
                            <a:cs typeface="+mn-cs"/>
                          </a:rPr>
                          <a:t>Asia</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lvl="1" algn="ctr" defTabSz="914400" rtl="0" eaLnBrk="1" fontAlgn="base" latinLnBrk="0" hangingPunct="1">
                          <a:lnSpc>
                            <a:spcPct val="107000"/>
                          </a:lnSpc>
                          <a:spcBef>
                            <a:spcPts val="300"/>
                          </a:spcBef>
                          <a:spcAft>
                            <a:spcPts val="300"/>
                          </a:spcAft>
                        </a:pPr>
                        <a:r>
                          <a:rPr lang="en-US" sz="1200" b="0" i="0" u="none" strike="noStrike" kern="1200" noProof="0">
                            <a:solidFill>
                              <a:srgbClr val="0B436E"/>
                            </a:solidFill>
                            <a:effectLst/>
                            <a:latin typeface="+mj-lt"/>
                            <a:ea typeface="+mn-ea"/>
                            <a:cs typeface="+mn-cs"/>
                          </a:rPr>
                          <a:t>11 (23.4)</a:t>
                        </a: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base" latinLnBrk="0" hangingPunct="1"/>
                        <a:r>
                          <a:rPr lang="en-US" sz="1200" b="0" i="0" u="none" strike="noStrike" kern="1200" noProof="0" dirty="0">
                            <a:solidFill>
                              <a:schemeClr val="tx2"/>
                            </a:solidFill>
                            <a:effectLst/>
                            <a:latin typeface="+mj-lt"/>
                            <a:ea typeface="+mn-ea"/>
                            <a:cs typeface="+mn-cs"/>
                          </a:rPr>
                          <a:t>5 (11.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3856823843"/>
                    </a:ext>
                  </a:extLst>
                </a:tr>
                <a:tr h="2423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30400" marR="38100" lvl="1" indent="0" algn="l" defTabSz="914400" rtl="0" eaLnBrk="1" fontAlgn="base" latinLnBrk="0" hangingPunct="1">
                          <a:lnSpc>
                            <a:spcPct val="107000"/>
                          </a:lnSpc>
                          <a:spcBef>
                            <a:spcPts val="300"/>
                          </a:spcBef>
                          <a:spcAft>
                            <a:spcPts val="300"/>
                          </a:spcAft>
                        </a:pPr>
                        <a:r>
                          <a:rPr lang="en-US" sz="1200" b="0" i="0" u="none" strike="noStrike" kern="1200" noProof="0">
                            <a:solidFill>
                              <a:schemeClr val="tx2"/>
                            </a:solidFill>
                            <a:effectLst/>
                            <a:latin typeface="+mj-lt"/>
                            <a:ea typeface="+mn-ea"/>
                            <a:cs typeface="+mn-cs"/>
                          </a:rPr>
                          <a:t>Europe</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lvl="1" algn="ctr" defTabSz="914400" rtl="0" eaLnBrk="1" fontAlgn="base" latinLnBrk="0" hangingPunct="1">
                          <a:lnSpc>
                            <a:spcPct val="107000"/>
                          </a:lnSpc>
                          <a:spcBef>
                            <a:spcPts val="300"/>
                          </a:spcBef>
                          <a:spcAft>
                            <a:spcPts val="300"/>
                          </a:spcAft>
                        </a:pPr>
                        <a:r>
                          <a:rPr lang="en-US" sz="1200" b="0" i="0" u="none" strike="noStrike" kern="1200" noProof="0">
                            <a:solidFill>
                              <a:srgbClr val="0B436E"/>
                            </a:solidFill>
                            <a:effectLst/>
                            <a:latin typeface="+mj-lt"/>
                            <a:ea typeface="+mn-ea"/>
                            <a:cs typeface="+mn-cs"/>
                          </a:rPr>
                          <a:t>20 (42.6)</a:t>
                        </a: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base" latinLnBrk="0" hangingPunct="1"/>
                        <a:r>
                          <a:rPr lang="en-US" sz="1200" b="0" i="0" u="none" strike="noStrike" kern="1200" noProof="0" dirty="0">
                            <a:solidFill>
                              <a:schemeClr val="tx2"/>
                            </a:solidFill>
                            <a:effectLst/>
                            <a:latin typeface="+mj-lt"/>
                            <a:ea typeface="+mn-ea"/>
                            <a:cs typeface="+mn-cs"/>
                          </a:rPr>
                          <a:t>23 (54.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3974426380"/>
                    </a:ext>
                  </a:extLst>
                </a:tr>
                <a:tr h="41909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30400" marR="38100" lvl="1" indent="0" algn="l" defTabSz="914400" rtl="0" eaLnBrk="1" fontAlgn="base" latinLnBrk="0" hangingPunct="1">
                          <a:lnSpc>
                            <a:spcPct val="107000"/>
                          </a:lnSpc>
                          <a:spcBef>
                            <a:spcPts val="300"/>
                          </a:spcBef>
                          <a:spcAft>
                            <a:spcPts val="300"/>
                          </a:spcAft>
                        </a:pPr>
                        <a:r>
                          <a:rPr lang="en-US" sz="1200" b="0" i="0" u="none" strike="noStrike" kern="1200" noProof="0">
                            <a:solidFill>
                              <a:schemeClr val="tx2"/>
                            </a:solidFill>
                            <a:effectLst/>
                            <a:latin typeface="+mj-lt"/>
                            <a:ea typeface="+mn-ea"/>
                            <a:cs typeface="+mn-cs"/>
                          </a:rPr>
                          <a:t>North America </a:t>
                        </a:r>
                        <a:br>
                          <a:rPr lang="en-US" sz="1200" b="0" i="0" u="none" strike="noStrike" kern="1200" noProof="0">
                            <a:solidFill>
                              <a:schemeClr val="tx2"/>
                            </a:solidFill>
                            <a:effectLst/>
                            <a:latin typeface="+mj-lt"/>
                            <a:ea typeface="+mn-ea"/>
                            <a:cs typeface="+mn-cs"/>
                          </a:rPr>
                        </a:br>
                        <a:r>
                          <a:rPr lang="en-US" sz="1200" b="0" i="0" u="none" strike="noStrike" kern="1200" noProof="0">
                            <a:solidFill>
                              <a:schemeClr val="tx2"/>
                            </a:solidFill>
                            <a:effectLst/>
                            <a:latin typeface="+mj-lt"/>
                            <a:ea typeface="+mn-ea"/>
                            <a:cs typeface="+mn-cs"/>
                          </a:rPr>
                          <a:t>(United States and Canada)</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lvl="1" algn="ctr" defTabSz="914400" rtl="0" eaLnBrk="1" fontAlgn="base" latinLnBrk="0" hangingPunct="1">
                          <a:lnSpc>
                            <a:spcPct val="107000"/>
                          </a:lnSpc>
                          <a:spcBef>
                            <a:spcPts val="300"/>
                          </a:spcBef>
                          <a:spcAft>
                            <a:spcPts val="300"/>
                          </a:spcAft>
                        </a:pPr>
                        <a:r>
                          <a:rPr lang="en-US" sz="1200" b="0" i="0" u="none" strike="noStrike" kern="1200" noProof="0">
                            <a:solidFill>
                              <a:srgbClr val="0B436E"/>
                            </a:solidFill>
                            <a:effectLst/>
                            <a:latin typeface="+mj-lt"/>
                            <a:ea typeface="+mn-ea"/>
                            <a:cs typeface="+mn-cs"/>
                          </a:rPr>
                          <a:t>16 (34.0)</a:t>
                        </a: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base" latinLnBrk="0" hangingPunct="1"/>
                        <a:r>
                          <a:rPr lang="en-US" sz="1200" b="0" i="0" u="none" strike="noStrike" kern="1200" noProof="0" dirty="0">
                            <a:solidFill>
                              <a:schemeClr val="tx2"/>
                            </a:solidFill>
                            <a:effectLst/>
                            <a:latin typeface="+mj-lt"/>
                            <a:ea typeface="+mn-ea"/>
                            <a:cs typeface="+mn-cs"/>
                          </a:rPr>
                          <a:t>11 (26.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3827561292"/>
                    </a:ext>
                  </a:extLst>
                </a:tr>
                <a:tr h="2423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30400" marR="38100" lvl="1" indent="0" algn="l" defTabSz="914400" rtl="0" eaLnBrk="1" fontAlgn="base" latinLnBrk="0" hangingPunct="1">
                          <a:lnSpc>
                            <a:spcPct val="107000"/>
                          </a:lnSpc>
                          <a:spcBef>
                            <a:spcPts val="300"/>
                          </a:spcBef>
                          <a:spcAft>
                            <a:spcPts val="300"/>
                          </a:spcAft>
                        </a:pPr>
                        <a:r>
                          <a:rPr lang="en-US" sz="1200" b="0" i="0" u="none" strike="noStrike" kern="1200" noProof="0">
                            <a:solidFill>
                              <a:schemeClr val="tx2"/>
                            </a:solidFill>
                            <a:effectLst/>
                            <a:latin typeface="+mj-lt"/>
                            <a:ea typeface="+mn-ea"/>
                            <a:cs typeface="+mn-cs"/>
                          </a:rPr>
                          <a:t>Rest of world</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lvl="1" algn="ctr" defTabSz="914400" rtl="0" eaLnBrk="1" fontAlgn="base" latinLnBrk="0" hangingPunct="1">
                          <a:lnSpc>
                            <a:spcPct val="107000"/>
                          </a:lnSpc>
                          <a:spcBef>
                            <a:spcPts val="300"/>
                          </a:spcBef>
                          <a:spcAft>
                            <a:spcPts val="300"/>
                          </a:spcAft>
                        </a:pPr>
                        <a:r>
                          <a:rPr lang="en-US" sz="1200" b="0" i="0" u="none" strike="noStrike" kern="1200" noProof="0">
                            <a:solidFill>
                              <a:srgbClr val="0B436E"/>
                            </a:solidFill>
                            <a:effectLst/>
                            <a:latin typeface="+mj-lt"/>
                            <a:ea typeface="+mn-ea"/>
                            <a:cs typeface="+mn-cs"/>
                          </a:rPr>
                          <a:t>0</a:t>
                        </a: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base" latinLnBrk="0" hangingPunct="1"/>
                        <a:r>
                          <a:rPr lang="en-US" sz="1200" b="0" i="0" u="none" strike="noStrike" kern="1200" noProof="0" dirty="0">
                            <a:solidFill>
                              <a:schemeClr val="tx2"/>
                            </a:solidFill>
                            <a:effectLst/>
                            <a:latin typeface="+mj-lt"/>
                            <a:ea typeface="+mn-ea"/>
                            <a:cs typeface="+mn-cs"/>
                          </a:rPr>
                          <a:t>3 (7.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2445777117"/>
                    </a:ext>
                  </a:extLst>
                </a:tr>
                <a:tr h="2423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lvl="0" indent="0" algn="l" defTabSz="914400" rtl="0" eaLnBrk="1" fontAlgn="base" latinLnBrk="0" hangingPunct="1">
                          <a:lnSpc>
                            <a:spcPct val="100000"/>
                          </a:lnSpc>
                          <a:spcBef>
                            <a:spcPts val="0"/>
                          </a:spcBef>
                          <a:spcAft>
                            <a:spcPts val="0"/>
                          </a:spcAft>
                        </a:pPr>
                        <a:r>
                          <a:rPr lang="en-GB" sz="1200" b="1" i="0" u="none" strike="noStrike" kern="1200" noProof="0">
                            <a:solidFill>
                              <a:schemeClr val="tx2"/>
                            </a:solidFill>
                            <a:effectLst/>
                            <a:latin typeface="+mj-lt"/>
                            <a:ea typeface="+mn-ea"/>
                            <a:cs typeface="+mn-cs"/>
                          </a:rPr>
                          <a:t>Baseline CSM results, </a:t>
                        </a:r>
                        <a:r>
                          <a:rPr lang="en-GB" sz="1200" b="0" i="0" u="none" strike="noStrike" kern="1200" noProof="0">
                            <a:solidFill>
                              <a:schemeClr val="tx2"/>
                            </a:solidFill>
                            <a:effectLst/>
                            <a:latin typeface="+mj-lt"/>
                            <a:ea typeface="+mn-ea"/>
                            <a:cs typeface="+mn-cs"/>
                          </a:rPr>
                          <a:t>mean (SD)</a:t>
                        </a:r>
                        <a:endParaRPr lang="en-US" sz="1200" b="0" i="0" u="none" strike="noStrike" kern="1200" noProof="0">
                          <a:solidFill>
                            <a:schemeClr val="tx2"/>
                          </a:solidFill>
                          <a:effectLst/>
                          <a:latin typeface="+mj-lt"/>
                          <a:ea typeface="+mn-ea"/>
                          <a:cs typeface="+mn-cs"/>
                        </a:endParaRP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1200" noProof="0">
                          <a:solidFill>
                            <a:srgbClr val="0B436E"/>
                          </a:solidFill>
                        </a:endParaRP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38100" algn="ctr" defTabSz="914400" rtl="0" eaLnBrk="1" fontAlgn="base" latinLnBrk="0" hangingPunct="1">
                          <a:lnSpc>
                            <a:spcPct val="100000"/>
                          </a:lnSpc>
                          <a:spcBef>
                            <a:spcPts val="0"/>
                          </a:spcBef>
                          <a:spcAft>
                            <a:spcPts val="0"/>
                          </a:spcAft>
                        </a:pPr>
                        <a:endParaRPr lang="en-US" sz="1200" b="0" i="0" u="none" strike="noStrike" kern="1200" noProof="0">
                          <a:solidFill>
                            <a:srgbClr val="414042"/>
                          </a:solidFill>
                          <a:effectLst/>
                          <a:latin typeface="+mj-lt"/>
                          <a:ea typeface="+mn-ea"/>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1412195"/>
                    </a:ext>
                  </a:extLst>
                </a:tr>
                <a:tr h="2423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30400" marR="38100" lvl="1" indent="0" algn="l" defTabSz="914400" rtl="0" eaLnBrk="1" fontAlgn="base" latinLnBrk="0" hangingPunct="1">
                          <a:lnSpc>
                            <a:spcPct val="100000"/>
                          </a:lnSpc>
                          <a:spcBef>
                            <a:spcPts val="0"/>
                          </a:spcBef>
                          <a:spcAft>
                            <a:spcPts val="0"/>
                          </a:spcAft>
                        </a:pPr>
                        <a:r>
                          <a:rPr lang="en-US" sz="1200" b="0" i="0" u="none" strike="noStrike" kern="1200" noProof="0">
                            <a:solidFill>
                              <a:schemeClr val="tx2"/>
                            </a:solidFill>
                            <a:effectLst/>
                            <a:latin typeface="+mj-lt"/>
                            <a:ea typeface="+mn-ea"/>
                            <a:cs typeface="+mn-cs"/>
                          </a:rPr>
                          <a:t>MMT8</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lvl="1" algn="ctr" defTabSz="914400" rtl="0" eaLnBrk="1" fontAlgn="base" latinLnBrk="0" hangingPunct="1">
                          <a:lnSpc>
                            <a:spcPct val="100000"/>
                          </a:lnSpc>
                          <a:spcBef>
                            <a:spcPts val="0"/>
                          </a:spcBef>
                          <a:spcAft>
                            <a:spcPts val="0"/>
                          </a:spcAft>
                        </a:pPr>
                        <a:r>
                          <a:rPr lang="en-US" sz="1200" b="0" i="0" u="none" strike="noStrike" kern="1200" noProof="0">
                            <a:solidFill>
                              <a:srgbClr val="0B436E"/>
                            </a:solidFill>
                            <a:effectLst/>
                            <a:latin typeface="+mj-lt"/>
                            <a:ea typeface="+mn-ea"/>
                            <a:cs typeface="+mn-cs"/>
                          </a:rPr>
                          <a:t>121.5 (15.5)</a:t>
                        </a: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base" latinLnBrk="0" hangingPunct="1">
                          <a:lnSpc>
                            <a:spcPct val="100000"/>
                          </a:lnSpc>
                          <a:spcBef>
                            <a:spcPts val="0"/>
                          </a:spcBef>
                          <a:spcAft>
                            <a:spcPts val="0"/>
                          </a:spcAft>
                        </a:pPr>
                        <a:r>
                          <a:rPr lang="en-US" sz="1200" b="0" i="0" u="none" strike="noStrike" kern="1200" noProof="0" dirty="0">
                            <a:solidFill>
                              <a:schemeClr val="tx2"/>
                            </a:solidFill>
                            <a:effectLst/>
                            <a:latin typeface="+mj-lt"/>
                            <a:ea typeface="+mn-ea"/>
                            <a:cs typeface="+mn-cs"/>
                          </a:rPr>
                          <a:t>118.2 (18.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426227271"/>
                    </a:ext>
                  </a:extLst>
                </a:tr>
                <a:tr h="2423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30400" marR="38100" lvl="1" indent="0" algn="l" defTabSz="914400" rtl="0" eaLnBrk="1" fontAlgn="base" latinLnBrk="0" hangingPunct="1">
                          <a:lnSpc>
                            <a:spcPct val="100000"/>
                          </a:lnSpc>
                          <a:spcBef>
                            <a:spcPts val="0"/>
                          </a:spcBef>
                          <a:spcAft>
                            <a:spcPts val="0"/>
                          </a:spcAft>
                        </a:pPr>
                        <a:r>
                          <a:rPr lang="en-US" sz="1200" b="0" i="0" u="none" strike="noStrike" kern="1200" noProof="0">
                            <a:solidFill>
                              <a:schemeClr val="tx2"/>
                            </a:solidFill>
                            <a:effectLst/>
                            <a:latin typeface="+mj-lt"/>
                            <a:ea typeface="+mn-ea"/>
                            <a:cs typeface="+mn-cs"/>
                          </a:rPr>
                          <a:t>PGA</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lvl="1" algn="ctr" defTabSz="914400" rtl="0" eaLnBrk="1" fontAlgn="base" latinLnBrk="0" hangingPunct="1">
                          <a:lnSpc>
                            <a:spcPct val="100000"/>
                          </a:lnSpc>
                          <a:spcBef>
                            <a:spcPts val="0"/>
                          </a:spcBef>
                          <a:spcAft>
                            <a:spcPts val="0"/>
                          </a:spcAft>
                        </a:pPr>
                        <a:r>
                          <a:rPr lang="en-US" sz="1200" b="0" i="0" u="none" strike="noStrike" kern="1200" noProof="0">
                            <a:solidFill>
                              <a:srgbClr val="0B436E"/>
                            </a:solidFill>
                            <a:effectLst/>
                            <a:latin typeface="+mj-lt"/>
                            <a:ea typeface="+mn-ea"/>
                            <a:cs typeface="+mn-cs"/>
                          </a:rPr>
                          <a:t>6.1 (1.9)</a:t>
                        </a: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fontAlgn="base" latinLnBrk="0" hangingPunct="1">
                          <a:lnSpc>
                            <a:spcPct val="100000"/>
                          </a:lnSpc>
                          <a:spcBef>
                            <a:spcPts val="0"/>
                          </a:spcBef>
                          <a:spcAft>
                            <a:spcPts val="0"/>
                          </a:spcAft>
                        </a:pPr>
                        <a:r>
                          <a:rPr lang="en-US" sz="1200" b="0" i="0" u="none" strike="noStrike" kern="1200" noProof="0" dirty="0">
                            <a:solidFill>
                              <a:schemeClr val="tx2"/>
                            </a:solidFill>
                            <a:effectLst/>
                            <a:latin typeface="+mj-lt"/>
                            <a:ea typeface="+mn-ea"/>
                            <a:cs typeface="+mn-cs"/>
                          </a:rPr>
                          <a:t>5.8 (2.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3189153529"/>
                    </a:ext>
                  </a:extLst>
                </a:tr>
                <a:tr h="242399">
                  <a:tc>
                    <a:txBody>
                      <a:bodyPr/>
                      <a:lstStyle/>
                      <a:p>
                        <a:pPr marL="230400" marR="38100" lvl="1" indent="0" algn="l" defTabSz="914400" rtl="0" eaLnBrk="1" fontAlgn="base" latinLnBrk="0" hangingPunct="1">
                          <a:lnSpc>
                            <a:spcPct val="100000"/>
                          </a:lnSpc>
                          <a:spcBef>
                            <a:spcPts val="0"/>
                          </a:spcBef>
                          <a:spcAft>
                            <a:spcPts val="0"/>
                          </a:spcAft>
                        </a:pPr>
                        <a:r>
                          <a:rPr lang="en-US" sz="1200" b="0" i="0" u="none" strike="noStrike" kern="1200" noProof="0">
                            <a:solidFill>
                              <a:schemeClr val="tx2"/>
                            </a:solidFill>
                            <a:effectLst/>
                            <a:latin typeface="+mj-lt"/>
                            <a:ea typeface="+mn-ea"/>
                            <a:cs typeface="+mn-cs"/>
                          </a:rPr>
                          <a:t>MDGA</a:t>
                        </a:r>
                      </a:p>
                    </a:txBody>
                    <a:tcPr marL="0" marR="0" marT="0" marB="0" anchor="ctr">
                      <a:lnL>
                        <a:noFill/>
                      </a:lnL>
                      <a:lnR>
                        <a:noFill/>
                      </a:lnR>
                      <a:lnT w="635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38100" lvl="1" algn="ctr" defTabSz="914400" rtl="0" eaLnBrk="1" fontAlgn="base" latinLnBrk="0" hangingPunct="1">
                          <a:lnSpc>
                            <a:spcPct val="100000"/>
                          </a:lnSpc>
                          <a:spcBef>
                            <a:spcPts val="0"/>
                          </a:spcBef>
                          <a:spcAft>
                            <a:spcPts val="0"/>
                          </a:spcAft>
                        </a:pPr>
                        <a:r>
                          <a:rPr lang="en-US" sz="1200" b="0" i="0" u="none" strike="noStrike" kern="1200" noProof="0">
                            <a:solidFill>
                              <a:srgbClr val="0B436E"/>
                            </a:solidFill>
                            <a:effectLst/>
                            <a:latin typeface="+mj-lt"/>
                            <a:ea typeface="+mn-ea"/>
                            <a:cs typeface="+mn-cs"/>
                          </a:rPr>
                          <a:t>5.3 (2.0)</a:t>
                        </a:r>
                      </a:p>
                    </a:txBody>
                    <a:tcPr marL="0" marR="0" marT="0" marB="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p>
                        <a:pPr marL="0" algn="ctr" defTabSz="914400" rtl="0" eaLnBrk="1" fontAlgn="base" latinLnBrk="0" hangingPunct="1">
                          <a:lnSpc>
                            <a:spcPct val="100000"/>
                          </a:lnSpc>
                          <a:spcBef>
                            <a:spcPts val="0"/>
                          </a:spcBef>
                          <a:spcAft>
                            <a:spcPts val="0"/>
                          </a:spcAft>
                        </a:pPr>
                        <a:r>
                          <a:rPr lang="en-US" sz="1200" b="0" i="0" u="none" strike="noStrike" kern="1200" noProof="0" dirty="0">
                            <a:solidFill>
                              <a:schemeClr val="tx2"/>
                            </a:solidFill>
                            <a:effectLst/>
                            <a:latin typeface="+mj-lt"/>
                            <a:ea typeface="+mn-ea"/>
                            <a:cs typeface="+mn-cs"/>
                          </a:rPr>
                          <a:t>5.0 (2.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2196216077"/>
                    </a:ext>
                  </a:extLst>
                </a:tr>
              </a:tbl>
            </a:graphicData>
          </a:graphic>
        </p:graphicFrame>
        <p:graphicFrame>
          <p:nvGraphicFramePr>
            <p:cNvPr id="7" name="Content Placeholder 5">
              <a:extLst>
                <a:ext uri="{FF2B5EF4-FFF2-40B4-BE49-F238E27FC236}">
                  <a16:creationId xmlns:a16="http://schemas.microsoft.com/office/drawing/2014/main" id="{85FADB45-27B3-E163-8EAF-253E804F3C41}"/>
                </a:ext>
              </a:extLst>
            </p:cNvPr>
            <p:cNvGraphicFramePr>
              <a:graphicFrameLocks/>
            </p:cNvGraphicFramePr>
            <p:nvPr>
              <p:extLst>
                <p:ext uri="{D42A27DB-BD31-4B8C-83A1-F6EECF244321}">
                  <p14:modId xmlns:p14="http://schemas.microsoft.com/office/powerpoint/2010/main" val="975170405"/>
                </p:ext>
              </p:extLst>
            </p:nvPr>
          </p:nvGraphicFramePr>
          <p:xfrm>
            <a:off x="6254224" y="1902427"/>
            <a:ext cx="5170897" cy="3921633"/>
          </p:xfrm>
          <a:graphic>
            <a:graphicData uri="http://schemas.openxmlformats.org/drawingml/2006/table">
              <a:tbl>
                <a:tblPr firstRow="1" bandRow="1"/>
                <a:tblGrid>
                  <a:gridCol w="2968035">
                    <a:extLst>
                      <a:ext uri="{9D8B030D-6E8A-4147-A177-3AD203B41FA5}">
                        <a16:colId xmlns:a16="http://schemas.microsoft.com/office/drawing/2014/main" val="512067602"/>
                      </a:ext>
                    </a:extLst>
                  </a:gridCol>
                  <a:gridCol w="1101431">
                    <a:extLst>
                      <a:ext uri="{9D8B030D-6E8A-4147-A177-3AD203B41FA5}">
                        <a16:colId xmlns:a16="http://schemas.microsoft.com/office/drawing/2014/main" val="2646948270"/>
                      </a:ext>
                    </a:extLst>
                  </a:gridCol>
                  <a:gridCol w="1101431">
                    <a:extLst>
                      <a:ext uri="{9D8B030D-6E8A-4147-A177-3AD203B41FA5}">
                        <a16:colId xmlns:a16="http://schemas.microsoft.com/office/drawing/2014/main" val="637731394"/>
                      </a:ext>
                    </a:extLst>
                  </a:gridCol>
                </a:tblGrid>
                <a:tr h="588320">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lvl="0" indent="0" algn="l" defTabSz="914400" rtl="0" eaLnBrk="1" fontAlgn="auto" latinLnBrk="0" hangingPunct="1">
                          <a:lnSpc>
                            <a:spcPct val="90000"/>
                          </a:lnSpc>
                          <a:spcBef>
                            <a:spcPts val="200"/>
                          </a:spcBef>
                          <a:spcAft>
                            <a:spcPts val="0"/>
                          </a:spcAft>
                          <a:buClrTx/>
                          <a:buSzTx/>
                          <a:buFontTx/>
                          <a:buNone/>
                          <a:tabLst/>
                          <a:defRPr/>
                        </a:pPr>
                        <a:br>
                          <a:rPr kumimoji="0" lang="en-US" sz="1200" b="1" i="0" u="none" strike="noStrike" kern="1200" cap="none" spc="0" normalizeH="0" baseline="0" noProof="0">
                            <a:ln>
                              <a:noFill/>
                            </a:ln>
                            <a:solidFill>
                              <a:schemeClr val="tx2"/>
                            </a:solidFill>
                            <a:effectLst/>
                            <a:uLnTx/>
                            <a:uFillTx/>
                            <a:latin typeface="+mj-lt"/>
                            <a:ea typeface="+mn-ea"/>
                            <a:cs typeface="+mn-cs"/>
                          </a:rPr>
                        </a:br>
                        <a:br>
                          <a:rPr kumimoji="0" lang="en-US" sz="1200" b="1" i="0" u="none" strike="noStrike" kern="1200" cap="none" spc="0" normalizeH="0" baseline="0" noProof="0">
                            <a:ln>
                              <a:noFill/>
                            </a:ln>
                            <a:solidFill>
                              <a:schemeClr val="tx2"/>
                            </a:solidFill>
                            <a:effectLst/>
                            <a:uLnTx/>
                            <a:uFillTx/>
                            <a:latin typeface="+mj-lt"/>
                            <a:ea typeface="+mn-ea"/>
                            <a:cs typeface="+mn-cs"/>
                          </a:rPr>
                        </a:br>
                        <a:r>
                          <a:rPr kumimoji="0" lang="en-US" sz="1200" b="1" i="0" u="none" strike="noStrike" kern="1200" cap="none" spc="0" normalizeH="0" baseline="0" noProof="0">
                            <a:ln>
                              <a:noFill/>
                            </a:ln>
                            <a:solidFill>
                              <a:schemeClr val="tx2"/>
                            </a:solidFill>
                            <a:effectLst/>
                            <a:uLnTx/>
                            <a:uFillTx/>
                            <a:latin typeface="+mj-lt"/>
                            <a:ea typeface="+mn-ea"/>
                            <a:cs typeface="+mn-cs"/>
                          </a:rPr>
                          <a:t>Disease Characteristics</a:t>
                        </a:r>
                      </a:p>
                    </a:txBody>
                    <a:tcPr marL="0" marB="0" anchor="ctr">
                      <a:lnL w="127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algn="ctr"/>
                        <a:r>
                          <a:rPr kumimoji="0" lang="en-US" sz="1200" b="1" i="0" u="none" strike="noStrike" kern="1200" cap="none" spc="0" normalizeH="0" baseline="0" noProof="0">
                            <a:ln>
                              <a:noFill/>
                            </a:ln>
                            <a:solidFill>
                              <a:schemeClr val="bg1"/>
                            </a:solidFill>
                            <a:effectLst/>
                            <a:uLnTx/>
                            <a:uFillTx/>
                            <a:latin typeface="+mj-lt"/>
                            <a:ea typeface="+mn-ea"/>
                            <a:cs typeface="+mn-cs"/>
                          </a:rPr>
                          <a:t>Efgartigimod </a:t>
                        </a:r>
                      </a:p>
                      <a:p>
                        <a:pPr algn="ctr"/>
                        <a:r>
                          <a:rPr kumimoji="0" lang="en-US" sz="1200" b="1" i="0" u="none" strike="noStrike" kern="1200" cap="none" spc="0" normalizeH="0" baseline="0" noProof="0">
                            <a:ln>
                              <a:noFill/>
                            </a:ln>
                            <a:solidFill>
                              <a:schemeClr val="bg1"/>
                            </a:solidFill>
                            <a:effectLst/>
                            <a:uLnTx/>
                            <a:uFillTx/>
                            <a:latin typeface="+mj-lt"/>
                            <a:ea typeface="+mn-ea"/>
                            <a:cs typeface="+mn-cs"/>
                          </a:rPr>
                          <a:t>PH20 SC </a:t>
                        </a:r>
                        <a:br>
                          <a:rPr kumimoji="0" lang="en-US" sz="1200" b="1" i="0" u="none" strike="noStrike" kern="1200" cap="none" spc="0" normalizeH="0" baseline="0" noProof="0">
                            <a:ln>
                              <a:noFill/>
                            </a:ln>
                            <a:solidFill>
                              <a:schemeClr val="bg1"/>
                            </a:solidFill>
                            <a:effectLst/>
                            <a:uLnTx/>
                            <a:uFillTx/>
                            <a:latin typeface="+mj-lt"/>
                            <a:ea typeface="+mn-ea"/>
                            <a:cs typeface="+mn-cs"/>
                          </a:rPr>
                        </a:br>
                        <a:r>
                          <a:rPr kumimoji="0" lang="en-US" sz="1200" b="0" i="0" u="none" strike="noStrike" kern="1200" cap="none" spc="0" normalizeH="0" baseline="0" noProof="0">
                            <a:ln>
                              <a:noFill/>
                            </a:ln>
                            <a:solidFill>
                              <a:schemeClr val="bg1"/>
                            </a:solidFill>
                            <a:effectLst/>
                            <a:uLnTx/>
                            <a:uFillTx/>
                            <a:latin typeface="+mj-lt"/>
                            <a:ea typeface="+mn-ea"/>
                            <a:cs typeface="+mn-cs"/>
                          </a:rPr>
                          <a:t>(N=47)</a:t>
                        </a:r>
                      </a:p>
                    </a:txBody>
                    <a:tcPr marB="0" anchor="ctr">
                      <a:lnL>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0B436E"/>
                      </a:solidFill>
                    </a:tcP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algn="ctr"/>
                        <a:r>
                          <a:rPr kumimoji="0" lang="en-US" sz="1200" b="1" i="0" u="none" strike="noStrike" kern="1200" cap="none" spc="0" normalizeH="0" baseline="0" noProof="0" dirty="0">
                            <a:ln>
                              <a:noFill/>
                            </a:ln>
                            <a:solidFill>
                              <a:schemeClr val="bg1"/>
                            </a:solidFill>
                            <a:effectLst/>
                            <a:uLnTx/>
                            <a:uFillTx/>
                            <a:latin typeface="+mj-lt"/>
                            <a:ea typeface="+mn-ea"/>
                            <a:cs typeface="+mn-cs"/>
                          </a:rPr>
                          <a:t>Placebo </a:t>
                        </a:r>
                        <a:br>
                          <a:rPr kumimoji="0" lang="en-US" sz="1200" b="1" i="0" u="none" strike="noStrike" kern="1200" cap="none" spc="0" normalizeH="0" baseline="0" noProof="0" dirty="0">
                            <a:ln>
                              <a:noFill/>
                            </a:ln>
                            <a:solidFill>
                              <a:schemeClr val="bg1"/>
                            </a:solidFill>
                            <a:effectLst/>
                            <a:uLnTx/>
                            <a:uFillTx/>
                            <a:latin typeface="+mj-lt"/>
                            <a:ea typeface="+mn-ea"/>
                            <a:cs typeface="+mn-cs"/>
                          </a:rPr>
                        </a:br>
                        <a:r>
                          <a:rPr kumimoji="0" lang="en-US" sz="1200" b="1" i="0" u="none" strike="noStrike" kern="1200" cap="none" spc="0" normalizeH="0" baseline="0" noProof="0" dirty="0">
                            <a:ln>
                              <a:noFill/>
                            </a:ln>
                            <a:solidFill>
                              <a:schemeClr val="bg1"/>
                            </a:solidFill>
                            <a:effectLst/>
                            <a:uLnTx/>
                            <a:uFillTx/>
                            <a:latin typeface="+mj-lt"/>
                            <a:ea typeface="+mn-ea"/>
                            <a:cs typeface="+mn-cs"/>
                          </a:rPr>
                          <a:t>PH20 SC </a:t>
                        </a:r>
                      </a:p>
                      <a:p>
                        <a:pPr algn="ctr"/>
                        <a:r>
                          <a:rPr kumimoji="0" lang="en-US" sz="1200" b="0" i="0" u="none" strike="noStrike" kern="1200" cap="none" spc="0" normalizeH="0" baseline="0" noProof="0" dirty="0">
                            <a:ln>
                              <a:noFill/>
                            </a:ln>
                            <a:solidFill>
                              <a:schemeClr val="bg1"/>
                            </a:solidFill>
                            <a:effectLst/>
                            <a:uLnTx/>
                            <a:uFillTx/>
                            <a:latin typeface="+mj-lt"/>
                            <a:ea typeface="+mn-ea"/>
                            <a:cs typeface="+mn-cs"/>
                          </a:rPr>
                          <a:t>(N=42)</a:t>
                        </a:r>
                      </a:p>
                    </a:txBody>
                    <a:tcPr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7CA744"/>
                      </a:solidFill>
                    </a:tcPr>
                  </a:tc>
                  <a:extLst>
                    <a:ext uri="{0D108BD9-81ED-4DB2-BD59-A6C34878D82A}">
                      <a16:rowId xmlns:a16="http://schemas.microsoft.com/office/drawing/2014/main" val="906852513"/>
                    </a:ext>
                  </a:extLst>
                </a:tr>
                <a:tr h="27561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rtl="0" eaLnBrk="1" fontAlgn="auto" latinLnBrk="0" hangingPunct="1">
                          <a:lnSpc>
                            <a:spcPct val="100000"/>
                          </a:lnSpc>
                          <a:spcBef>
                            <a:spcPts val="0"/>
                          </a:spcBef>
                          <a:spcAft>
                            <a:spcPts val="0"/>
                          </a:spcAft>
                          <a:buClrTx/>
                          <a:buSzTx/>
                          <a:buFontTx/>
                          <a:buNone/>
                        </a:pPr>
                        <a:r>
                          <a:rPr lang="en-US" sz="1200" b="1" i="0" u="none" strike="noStrike" kern="1200" baseline="0" noProof="0" dirty="0">
                            <a:solidFill>
                              <a:schemeClr val="tx2"/>
                            </a:solidFill>
                            <a:effectLst/>
                            <a:latin typeface="+mn-lt"/>
                            <a:ea typeface="+mn-ea"/>
                            <a:cs typeface="+mn-cs"/>
                          </a:rPr>
                          <a:t>Time since diagnosis, </a:t>
                        </a:r>
                        <a:r>
                          <a:rPr lang="en-US" sz="1200" b="0" i="0" u="none" strike="noStrike" kern="1200" baseline="0" noProof="0" dirty="0">
                            <a:solidFill>
                              <a:schemeClr val="tx2"/>
                            </a:solidFill>
                            <a:effectLst/>
                            <a:latin typeface="+mn-lt"/>
                            <a:ea typeface="+mn-ea"/>
                            <a:cs typeface="+mn-cs"/>
                          </a:rPr>
                          <a:t>years, median (Q1, Q3)</a:t>
                        </a:r>
                      </a:p>
                    </a:txBody>
                    <a:tcPr marL="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200" b="0" i="0" u="none" strike="noStrike" kern="1200" noProof="0">
                            <a:solidFill>
                              <a:srgbClr val="0B436E"/>
                            </a:solidFill>
                            <a:effectLst/>
                            <a:latin typeface="+mn-lt"/>
                            <a:ea typeface="+mn-ea"/>
                            <a:cs typeface="+mn-cs"/>
                          </a:rPr>
                          <a:t>4.4 (1.8, 7.8)</a:t>
                        </a: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4.3 (2.0, 7.8)</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3449218760"/>
                    </a:ext>
                  </a:extLst>
                </a:tr>
                <a:tr h="27561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rtl="0" eaLnBrk="1" fontAlgn="auto" latinLnBrk="0" hangingPunct="1">
                          <a:lnSpc>
                            <a:spcPct val="100000"/>
                          </a:lnSpc>
                          <a:spcBef>
                            <a:spcPts val="0"/>
                          </a:spcBef>
                          <a:spcAft>
                            <a:spcPts val="0"/>
                          </a:spcAft>
                          <a:buClrTx/>
                          <a:buSzTx/>
                          <a:buFontTx/>
                          <a:buNone/>
                        </a:pPr>
                        <a:r>
                          <a:rPr lang="en-US" sz="1200" b="1" i="0" u="none" strike="noStrike" kern="1200" baseline="0" noProof="0">
                            <a:solidFill>
                              <a:schemeClr val="tx2"/>
                            </a:solidFill>
                            <a:effectLst/>
                            <a:latin typeface="+mn-lt"/>
                            <a:ea typeface="+mn-ea"/>
                            <a:cs typeface="+mn-cs"/>
                          </a:rPr>
                          <a:t>MDGA category </a:t>
                        </a:r>
                        <a:r>
                          <a:rPr lang="en-US" sz="1200" b="0" i="0" u="none" strike="noStrike" kern="1200" baseline="0" noProof="0">
                            <a:solidFill>
                              <a:schemeClr val="tx2"/>
                            </a:solidFill>
                            <a:effectLst/>
                            <a:latin typeface="+mn-lt"/>
                            <a:ea typeface="+mn-ea"/>
                            <a:cs typeface="+mn-cs"/>
                          </a:rPr>
                          <a:t>(CRF source), n (%)</a:t>
                        </a:r>
                      </a:p>
                    </a:txBody>
                    <a:tcPr marL="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38100" algn="ctr" defTabSz="914400" rtl="0" eaLnBrk="1" fontAlgn="base" latinLnBrk="0" hangingPunct="1">
                          <a:lnSpc>
                            <a:spcPct val="107000"/>
                          </a:lnSpc>
                          <a:spcBef>
                            <a:spcPts val="300"/>
                          </a:spcBef>
                          <a:spcAft>
                            <a:spcPts val="300"/>
                          </a:spcAft>
                        </a:pPr>
                        <a:endParaRPr lang="en-US" sz="1200" b="0" i="0" u="none" strike="noStrike" kern="1200" noProof="0">
                          <a:solidFill>
                            <a:srgbClr val="0B436E"/>
                          </a:solidFill>
                          <a:effectLst/>
                          <a:latin typeface="+mn-lt"/>
                          <a:ea typeface="+mn-ea"/>
                          <a:cs typeface="+mn-cs"/>
                        </a:endParaRP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38100" algn="ctr" defTabSz="914400" rtl="0" eaLnBrk="1" fontAlgn="base" latinLnBrk="0" hangingPunct="1">
                          <a:lnSpc>
                            <a:spcPct val="107000"/>
                          </a:lnSpc>
                          <a:spcBef>
                            <a:spcPts val="300"/>
                          </a:spcBef>
                          <a:spcAft>
                            <a:spcPts val="300"/>
                          </a:spcAft>
                        </a:pPr>
                        <a:endParaRPr lang="en-US" sz="1200" b="0" i="0" u="none" strike="noStrike" kern="1200" noProof="0">
                          <a:solidFill>
                            <a:srgbClr val="414042"/>
                          </a:solidFill>
                          <a:effectLst/>
                          <a:latin typeface="+mn-lt"/>
                          <a:ea typeface="+mn-ea"/>
                          <a:cs typeface="+mn-cs"/>
                        </a:endParaRP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6725789"/>
                    </a:ext>
                  </a:extLst>
                </a:tr>
                <a:tr h="27561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marR="0" lvl="1" indent="0" algn="l" rtl="0" eaLnBrk="1" fontAlgn="auto" latinLnBrk="0" hangingPunct="1">
                          <a:lnSpc>
                            <a:spcPct val="100000"/>
                          </a:lnSpc>
                          <a:spcBef>
                            <a:spcPts val="0"/>
                          </a:spcBef>
                          <a:spcAft>
                            <a:spcPts val="0"/>
                          </a:spcAft>
                          <a:buClrTx/>
                          <a:buSzTx/>
                          <a:buFontTx/>
                          <a:buNone/>
                          <a:tabLst/>
                        </a:pPr>
                        <a:r>
                          <a:rPr lang="en-US" sz="1200" b="0" i="0" u="none" strike="noStrike" kern="1200" baseline="0" noProof="0">
                            <a:solidFill>
                              <a:schemeClr val="tx2"/>
                            </a:solidFill>
                            <a:effectLst/>
                            <a:latin typeface="+mn-lt"/>
                            <a:ea typeface="+mn-ea"/>
                            <a:cs typeface="+mn-cs"/>
                          </a:rPr>
                          <a:t>Nonsevere (MDGA &lt;5)</a:t>
                        </a:r>
                      </a:p>
                    </a:txBody>
                    <a:tcPr marL="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200" b="0" i="0" u="none" strike="noStrike" kern="1200" noProof="0">
                            <a:solidFill>
                              <a:srgbClr val="0B436E"/>
                            </a:solidFill>
                            <a:effectLst/>
                            <a:latin typeface="+mn-lt"/>
                            <a:ea typeface="+mn-ea"/>
                            <a:cs typeface="+mn-cs"/>
                          </a:rPr>
                          <a:t>17 (36.2)</a:t>
                        </a: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15 (35.7)</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3024459746"/>
                    </a:ext>
                  </a:extLst>
                </a:tr>
                <a:tr h="27561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marR="0" lvl="1" indent="0" algn="l" rtl="0" eaLnBrk="1" fontAlgn="auto" latinLnBrk="0" hangingPunct="1">
                          <a:lnSpc>
                            <a:spcPct val="100000"/>
                          </a:lnSpc>
                          <a:spcBef>
                            <a:spcPts val="0"/>
                          </a:spcBef>
                          <a:spcAft>
                            <a:spcPts val="0"/>
                          </a:spcAft>
                          <a:buClrTx/>
                          <a:buSzTx/>
                          <a:buFontTx/>
                          <a:buNone/>
                          <a:tabLst/>
                        </a:pPr>
                        <a:r>
                          <a:rPr lang="en-US" sz="1200" b="0" i="0" u="none" strike="noStrike" kern="1200" baseline="0" noProof="0">
                            <a:solidFill>
                              <a:schemeClr val="tx2"/>
                            </a:solidFill>
                            <a:effectLst/>
                            <a:latin typeface="+mn-lt"/>
                            <a:ea typeface="+mn-ea"/>
                            <a:cs typeface="+mn-cs"/>
                          </a:rPr>
                          <a:t>Severe (MDGA ≥5)</a:t>
                        </a:r>
                      </a:p>
                    </a:txBody>
                    <a:tcPr marL="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200" b="0" i="0" u="none" strike="noStrike" kern="1200" noProof="0">
                            <a:solidFill>
                              <a:srgbClr val="0B436E"/>
                            </a:solidFill>
                            <a:effectLst/>
                            <a:latin typeface="+mn-lt"/>
                            <a:ea typeface="+mn-ea"/>
                            <a:cs typeface="+mn-cs"/>
                          </a:rPr>
                          <a:t>30 (63.8)</a:t>
                        </a: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27 (64.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3996430050"/>
                    </a:ext>
                  </a:extLst>
                </a:tr>
                <a:tr h="27561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rtl="0" eaLnBrk="1" fontAlgn="auto" latinLnBrk="0" hangingPunct="1">
                          <a:lnSpc>
                            <a:spcPct val="100000"/>
                          </a:lnSpc>
                          <a:spcBef>
                            <a:spcPts val="0"/>
                          </a:spcBef>
                          <a:spcAft>
                            <a:spcPts val="0"/>
                          </a:spcAft>
                          <a:buClrTx/>
                          <a:buSzTx/>
                          <a:buFontTx/>
                          <a:buNone/>
                        </a:pPr>
                        <a:r>
                          <a:rPr lang="en-US" sz="1200" b="1" i="0" u="none" strike="noStrike" kern="1200" baseline="0" noProof="0">
                            <a:solidFill>
                              <a:schemeClr val="tx2"/>
                            </a:solidFill>
                            <a:effectLst/>
                            <a:latin typeface="+mn-lt"/>
                            <a:ea typeface="+mn-ea"/>
                            <a:cs typeface="+mn-cs"/>
                          </a:rPr>
                          <a:t>Positive MSA determination, </a:t>
                        </a:r>
                        <a:r>
                          <a:rPr lang="en-US" sz="1200" b="0" i="0" u="none" strike="noStrike" kern="1200" baseline="0" noProof="0">
                            <a:solidFill>
                              <a:schemeClr val="tx2"/>
                            </a:solidFill>
                            <a:effectLst/>
                            <a:latin typeface="+mn-lt"/>
                            <a:ea typeface="+mn-ea"/>
                            <a:cs typeface="+mn-cs"/>
                          </a:rPr>
                          <a:t>n (%)</a:t>
                        </a:r>
                      </a:p>
                    </a:txBody>
                    <a:tcPr marL="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200" b="0" i="0" u="none" strike="noStrike" kern="1200" noProof="0">
                            <a:solidFill>
                              <a:srgbClr val="0B436E"/>
                            </a:solidFill>
                            <a:effectLst/>
                            <a:latin typeface="+mn-lt"/>
                            <a:ea typeface="+mn-ea"/>
                            <a:cs typeface="+mn-cs"/>
                          </a:rPr>
                          <a:t>40 (85.1)</a:t>
                        </a: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38100" algn="ctr" defTabSz="914400" rtl="0" eaLnBrk="1" fontAlgn="base" latinLnBrk="0" hangingPunct="1">
                          <a:lnSpc>
                            <a:spcPct val="107000"/>
                          </a:lnSpc>
                          <a:spcBef>
                            <a:spcPts val="300"/>
                          </a:spcBef>
                          <a:spcAft>
                            <a:spcPts val="300"/>
                          </a:spcAft>
                        </a:pPr>
                        <a:r>
                          <a:rPr lang="en-US" sz="1200" b="0" i="0" u="none" strike="noStrike" kern="1200" noProof="0" dirty="0">
                            <a:solidFill>
                              <a:schemeClr val="tx2"/>
                            </a:solidFill>
                            <a:effectLst/>
                            <a:latin typeface="+mn-lt"/>
                            <a:ea typeface="+mn-ea"/>
                            <a:cs typeface="+mn-cs"/>
                          </a:rPr>
                          <a:t>36 (85.7)</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176954459"/>
                    </a:ext>
                  </a:extLst>
                </a:tr>
                <a:tr h="23400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base">
                          <a:lnSpc>
                            <a:spcPts val="1125"/>
                          </a:lnSpc>
                          <a:buNone/>
                        </a:pPr>
                        <a:r>
                          <a:rPr lang="en-US" sz="1200" b="1" i="0" noProof="0">
                            <a:solidFill>
                              <a:schemeClr val="tx2"/>
                            </a:solidFill>
                            <a:effectLst/>
                            <a:latin typeface="+mn-lt"/>
                          </a:rPr>
                          <a:t>Concurrent IIM therapy at baseline, </a:t>
                        </a:r>
                        <a:r>
                          <a:rPr lang="en-US" sz="1200" b="0" i="0" noProof="0">
                            <a:solidFill>
                              <a:schemeClr val="tx2"/>
                            </a:solidFill>
                            <a:effectLst/>
                            <a:latin typeface="+mn-lt"/>
                          </a:rPr>
                          <a:t>n (%)</a:t>
                        </a:r>
                      </a:p>
                    </a:txBody>
                    <a:tcPr marL="0"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125"/>
                          </a:lnSpc>
                          <a:buNone/>
                        </a:pPr>
                        <a:endParaRPr lang="en-US" sz="1200" b="0" i="0" noProof="0">
                          <a:solidFill>
                            <a:srgbClr val="0B436E"/>
                          </a:solidFill>
                          <a:effectLst/>
                          <a:latin typeface="+mn-lt"/>
                        </a:endParaRP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125"/>
                          </a:lnSpc>
                          <a:buNone/>
                        </a:pPr>
                        <a:endParaRPr lang="en-US" sz="1200" b="0" i="0" noProof="0">
                          <a:solidFill>
                            <a:srgbClr val="000000"/>
                          </a:solidFill>
                          <a:effectLst/>
                          <a:latin typeface="+mn-lt"/>
                        </a:endParaRP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6649087"/>
                    </a:ext>
                  </a:extLst>
                </a:tr>
                <a:tr h="23400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indent="0" algn="l" rtl="0" fontAlgn="base">
                          <a:lnSpc>
                            <a:spcPts val="1125"/>
                          </a:lnSpc>
                          <a:buNone/>
                          <a:tabLst/>
                        </a:pPr>
                        <a:r>
                          <a:rPr lang="en-US" sz="1200" b="0" i="0" noProof="0">
                            <a:solidFill>
                              <a:schemeClr val="tx2"/>
                            </a:solidFill>
                            <a:effectLst/>
                            <a:latin typeface="+mn-lt"/>
                          </a:rPr>
                          <a:t>Noncorticosteroid medication*​</a:t>
                        </a:r>
                      </a:p>
                    </a:txBody>
                    <a:tcPr marL="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lnSpc>
                            <a:spcPts val="1125"/>
                          </a:lnSpc>
                          <a:buNone/>
                        </a:pPr>
                        <a:r>
                          <a:rPr lang="en-US" sz="1200" b="0" i="0" noProof="0">
                            <a:solidFill>
                              <a:srgbClr val="0B436E"/>
                            </a:solidFill>
                            <a:effectLst/>
                            <a:latin typeface="+mn-lt"/>
                          </a:rPr>
                          <a:t>36 (76.6)​</a:t>
                        </a: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lnSpc>
                            <a:spcPts val="1125"/>
                          </a:lnSpc>
                          <a:buNone/>
                        </a:pPr>
                        <a:r>
                          <a:rPr lang="en-US" sz="1200" b="0" i="0" noProof="0" dirty="0">
                            <a:solidFill>
                              <a:schemeClr val="tx2"/>
                            </a:solidFill>
                            <a:effectLst/>
                            <a:latin typeface="+mn-lt"/>
                          </a:rPr>
                          <a:t>32 (76.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2537596734"/>
                    </a:ext>
                  </a:extLst>
                </a:tr>
                <a:tr h="23400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0" indent="9525" algn="l" rtl="0" fontAlgn="base">
                          <a:lnSpc>
                            <a:spcPts val="1125"/>
                          </a:lnSpc>
                          <a:buNone/>
                          <a:tabLst/>
                        </a:pPr>
                        <a:r>
                          <a:rPr lang="en-US" sz="1200" b="0" i="0" noProof="0">
                            <a:solidFill>
                              <a:schemeClr val="tx2"/>
                            </a:solidFill>
                            <a:effectLst/>
                            <a:latin typeface="+mn-lt"/>
                          </a:rPr>
                          <a:t>Immunosuppressants​</a:t>
                        </a:r>
                      </a:p>
                    </a:txBody>
                    <a:tcPr marL="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lnSpc>
                            <a:spcPts val="1125"/>
                          </a:lnSpc>
                          <a:buNone/>
                        </a:pPr>
                        <a:r>
                          <a:rPr lang="en-US" sz="1200" b="0" i="0" noProof="0">
                            <a:solidFill>
                              <a:srgbClr val="0B436E"/>
                            </a:solidFill>
                            <a:effectLst/>
                            <a:latin typeface="+mn-lt"/>
                          </a:rPr>
                          <a:t>31 (66.0)​</a:t>
                        </a: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lnSpc>
                            <a:spcPts val="1125"/>
                          </a:lnSpc>
                          <a:buNone/>
                        </a:pPr>
                        <a:r>
                          <a:rPr lang="en-US" sz="1200" b="0" i="0" noProof="0">
                            <a:solidFill>
                              <a:schemeClr val="tx2"/>
                            </a:solidFill>
                            <a:effectLst/>
                            <a:latin typeface="+mn-lt"/>
                          </a:rPr>
                          <a:t>31 (73.8)​</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2905952279"/>
                    </a:ext>
                  </a:extLst>
                </a:tr>
                <a:tr h="23400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57200" indent="9525" algn="l" rtl="0" fontAlgn="base">
                          <a:lnSpc>
                            <a:spcPts val="1125"/>
                          </a:lnSpc>
                          <a:buNone/>
                          <a:tabLst/>
                        </a:pPr>
                        <a:r>
                          <a:rPr lang="en-US" sz="1200" b="0" i="0" noProof="0">
                            <a:solidFill>
                              <a:schemeClr val="tx2"/>
                            </a:solidFill>
                            <a:effectLst/>
                            <a:latin typeface="+mn-lt"/>
                          </a:rPr>
                          <a:t>Antimalarials​</a:t>
                        </a:r>
                      </a:p>
                    </a:txBody>
                    <a:tcPr marL="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lnSpc>
                            <a:spcPts val="1125"/>
                          </a:lnSpc>
                          <a:buNone/>
                        </a:pPr>
                        <a:r>
                          <a:rPr lang="en-US" sz="1200" b="0" i="0" noProof="0">
                            <a:solidFill>
                              <a:srgbClr val="0B436E"/>
                            </a:solidFill>
                            <a:effectLst/>
                            <a:latin typeface="+mn-lt"/>
                          </a:rPr>
                          <a:t>5 (10.6)​</a:t>
                        </a: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lnSpc>
                            <a:spcPts val="1125"/>
                          </a:lnSpc>
                          <a:buNone/>
                        </a:pPr>
                        <a:r>
                          <a:rPr lang="en-US" sz="1200" b="0" i="0" noProof="0" dirty="0">
                            <a:solidFill>
                              <a:schemeClr val="tx2"/>
                            </a:solidFill>
                            <a:effectLst/>
                            <a:latin typeface="+mn-lt"/>
                          </a:rPr>
                          <a:t>1 (2.4)​</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3420318693"/>
                    </a:ext>
                  </a:extLst>
                </a:tr>
                <a:tr h="23400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indent="9525" algn="l" rtl="0" fontAlgn="base">
                          <a:lnSpc>
                            <a:spcPts val="1125"/>
                          </a:lnSpc>
                          <a:buNone/>
                          <a:tabLst/>
                        </a:pPr>
                        <a:r>
                          <a:rPr lang="en-US" sz="1200" b="0" i="0" noProof="0">
                            <a:solidFill>
                              <a:schemeClr val="tx2"/>
                            </a:solidFill>
                            <a:effectLst/>
                            <a:latin typeface="+mn-lt"/>
                          </a:rPr>
                          <a:t>Systemic corticosteroid medication*​</a:t>
                        </a:r>
                      </a:p>
                    </a:txBody>
                    <a:tcPr marL="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lnSpc>
                            <a:spcPts val="1125"/>
                          </a:lnSpc>
                          <a:buNone/>
                        </a:pPr>
                        <a:r>
                          <a:rPr lang="en-US" sz="1200" b="0" i="0" noProof="0">
                            <a:solidFill>
                              <a:srgbClr val="0B436E"/>
                            </a:solidFill>
                            <a:effectLst/>
                            <a:latin typeface="+mn-lt"/>
                          </a:rPr>
                          <a:t>38 (80.9)​</a:t>
                        </a: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lnSpc>
                            <a:spcPts val="1125"/>
                          </a:lnSpc>
                          <a:buNone/>
                        </a:pPr>
                        <a:r>
                          <a:rPr lang="en-US" sz="1200" b="0" i="0" noProof="0" dirty="0">
                            <a:solidFill>
                              <a:schemeClr val="tx2"/>
                            </a:solidFill>
                            <a:effectLst/>
                            <a:latin typeface="+mn-lt"/>
                          </a:rPr>
                          <a:t>35 (83.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2913407670"/>
                    </a:ext>
                  </a:extLst>
                </a:tr>
                <a:tr h="363586">
                  <a:tc>
                    <a:txBody>
                      <a:bodyPr/>
                      <a:lstStyle/>
                      <a:p>
                        <a:pPr marL="446088" indent="9525" algn="l" rtl="0" fontAlgn="base">
                          <a:lnSpc>
                            <a:spcPts val="1125"/>
                          </a:lnSpc>
                          <a:buNone/>
                          <a:tabLst/>
                        </a:pPr>
                        <a:r>
                          <a:rPr lang="en-US" sz="1200" b="0" i="0" noProof="0">
                            <a:solidFill>
                              <a:schemeClr val="tx2"/>
                            </a:solidFill>
                            <a:effectLst/>
                            <a:latin typeface="+mn-lt"/>
                          </a:rPr>
                          <a:t>Total prednisone equivalent daily dose, at baseline, mg, median (Q1, Q3)</a:t>
                        </a:r>
                      </a:p>
                    </a:txBody>
                    <a:tcPr marL="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125"/>
                          </a:lnSpc>
                          <a:buNone/>
                        </a:pPr>
                        <a:r>
                          <a:rPr lang="en-US" sz="1200" b="0" i="0" noProof="0">
                            <a:solidFill>
                              <a:srgbClr val="0B436E"/>
                            </a:solidFill>
                            <a:effectLst/>
                            <a:latin typeface="+mn-lt"/>
                          </a:rPr>
                          <a:t>10.0 </a:t>
                        </a:r>
                        <a:br>
                          <a:rPr lang="en-US" sz="1200" b="0" i="0" noProof="0">
                            <a:solidFill>
                              <a:srgbClr val="0B436E"/>
                            </a:solidFill>
                            <a:effectLst/>
                            <a:latin typeface="+mn-lt"/>
                          </a:rPr>
                        </a:br>
                        <a:r>
                          <a:rPr lang="en-US" sz="1200" b="0" i="0" noProof="0">
                            <a:solidFill>
                              <a:srgbClr val="0B436E"/>
                            </a:solidFill>
                            <a:effectLst/>
                            <a:latin typeface="+mn-lt"/>
                          </a:rPr>
                          <a:t>(5.0, 20.0)</a:t>
                        </a: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p>
                        <a:pPr algn="ctr" rtl="0" fontAlgn="base">
                          <a:lnSpc>
                            <a:spcPts val="1125"/>
                          </a:lnSpc>
                          <a:buNone/>
                        </a:pPr>
                        <a:r>
                          <a:rPr lang="en-US" sz="1200" b="0" i="0" noProof="0" dirty="0">
                            <a:solidFill>
                              <a:schemeClr val="tx2"/>
                            </a:solidFill>
                            <a:effectLst/>
                            <a:latin typeface="+mn-lt"/>
                          </a:rPr>
                          <a:t>10.0 </a:t>
                        </a:r>
                        <a:br>
                          <a:rPr lang="en-US" sz="1200" b="0" i="0" noProof="0" dirty="0">
                            <a:solidFill>
                              <a:schemeClr val="tx2"/>
                            </a:solidFill>
                            <a:effectLst/>
                            <a:latin typeface="+mn-lt"/>
                          </a:rPr>
                        </a:br>
                        <a:r>
                          <a:rPr lang="en-US" sz="1200" b="0" i="0" noProof="0" dirty="0">
                            <a:solidFill>
                              <a:schemeClr val="tx2"/>
                            </a:solidFill>
                            <a:effectLst/>
                            <a:latin typeface="+mn-lt"/>
                          </a:rPr>
                          <a:t>(5.0, 15.0)</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1411693965"/>
                    </a:ext>
                  </a:extLst>
                </a:tr>
                <a:tr h="37228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28600" indent="0" algn="l" rtl="0" fontAlgn="base">
                          <a:lnSpc>
                            <a:spcPts val="1125"/>
                          </a:lnSpc>
                          <a:buNone/>
                          <a:tabLst/>
                        </a:pPr>
                        <a:r>
                          <a:rPr lang="en-US" sz="1200" b="0" i="0" noProof="0">
                            <a:solidFill>
                              <a:schemeClr val="tx2"/>
                            </a:solidFill>
                            <a:effectLst/>
                            <a:latin typeface="+mn-lt"/>
                          </a:rPr>
                          <a:t>Both noncorticosteroid and corticosteroid medications</a:t>
                        </a:r>
                      </a:p>
                    </a:txBody>
                    <a:tcPr marL="0" anchor="ctr">
                      <a:lnL>
                        <a:noFill/>
                      </a:lnL>
                      <a:lnR>
                        <a:noFill/>
                      </a:lnR>
                      <a:lnT w="635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lnSpc>
                            <a:spcPts val="1125"/>
                          </a:lnSpc>
                          <a:buNone/>
                        </a:pPr>
                        <a:r>
                          <a:rPr lang="en-US" sz="1200" b="0" i="0" noProof="0">
                            <a:solidFill>
                              <a:srgbClr val="0B436E"/>
                            </a:solidFill>
                            <a:effectLst/>
                            <a:latin typeface="+mn-lt"/>
                          </a:rPr>
                          <a:t>27 (57.4)​</a:t>
                        </a:r>
                      </a:p>
                    </a:txBody>
                    <a:tcPr anchor="ctr">
                      <a:lnL>
                        <a:noFill/>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DF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lnSpc>
                            <a:spcPts val="1125"/>
                          </a:lnSpc>
                          <a:buNone/>
                        </a:pPr>
                        <a:r>
                          <a:rPr lang="en-US" sz="1200" b="0" i="0" noProof="0" dirty="0">
                            <a:solidFill>
                              <a:schemeClr val="tx2"/>
                            </a:solidFill>
                            <a:effectLst/>
                            <a:latin typeface="+mn-lt"/>
                          </a:rPr>
                          <a:t>25 (59.5)​</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5EDDA"/>
                      </a:solidFill>
                    </a:tcPr>
                  </a:tc>
                  <a:extLst>
                    <a:ext uri="{0D108BD9-81ED-4DB2-BD59-A6C34878D82A}">
                      <a16:rowId xmlns:a16="http://schemas.microsoft.com/office/drawing/2014/main" val="3874900975"/>
                    </a:ext>
                  </a:extLst>
                </a:tr>
              </a:tbl>
            </a:graphicData>
          </a:graphic>
        </p:graphicFrame>
      </p:grpSp>
      <p:grpSp>
        <p:nvGrpSpPr>
          <p:cNvPr id="13" name="Group 12">
            <a:extLst>
              <a:ext uri="{FF2B5EF4-FFF2-40B4-BE49-F238E27FC236}">
                <a16:creationId xmlns:a16="http://schemas.microsoft.com/office/drawing/2014/main" id="{8EA3F0DC-3211-2471-FC89-A6C94F60113D}"/>
              </a:ext>
            </a:extLst>
          </p:cNvPr>
          <p:cNvGrpSpPr/>
          <p:nvPr/>
        </p:nvGrpSpPr>
        <p:grpSpPr>
          <a:xfrm>
            <a:off x="350797" y="311793"/>
            <a:ext cx="669825" cy="652032"/>
            <a:chOff x="8749519" y="506556"/>
            <a:chExt cx="741077" cy="721392"/>
          </a:xfrm>
        </p:grpSpPr>
        <p:grpSp>
          <p:nvGrpSpPr>
            <p:cNvPr id="15" name="Group 14">
              <a:extLst>
                <a:ext uri="{FF2B5EF4-FFF2-40B4-BE49-F238E27FC236}">
                  <a16:creationId xmlns:a16="http://schemas.microsoft.com/office/drawing/2014/main" id="{AE4B4014-5820-7A72-83EE-E93A0278CF19}"/>
                </a:ext>
              </a:extLst>
            </p:cNvPr>
            <p:cNvGrpSpPr/>
            <p:nvPr/>
          </p:nvGrpSpPr>
          <p:grpSpPr>
            <a:xfrm>
              <a:off x="8749519" y="544634"/>
              <a:ext cx="741077" cy="683313"/>
              <a:chOff x="8749519" y="450850"/>
              <a:chExt cx="741077" cy="683313"/>
            </a:xfrm>
          </p:grpSpPr>
          <p:sp>
            <p:nvSpPr>
              <p:cNvPr id="17" name="Freeform 16">
                <a:extLst>
                  <a:ext uri="{FF2B5EF4-FFF2-40B4-BE49-F238E27FC236}">
                    <a16:creationId xmlns:a16="http://schemas.microsoft.com/office/drawing/2014/main" id="{BE6091C1-40E7-9769-364E-0E6690D395A6}"/>
                  </a:ext>
                </a:extLst>
              </p:cNvPr>
              <p:cNvSpPr/>
              <p:nvPr/>
            </p:nvSpPr>
            <p:spPr>
              <a:xfrm>
                <a:off x="9235632" y="455490"/>
                <a:ext cx="254484" cy="678673"/>
              </a:xfrm>
              <a:custGeom>
                <a:avLst/>
                <a:gdLst>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4 w 270502"/>
                  <a:gd name="connsiteY39" fmla="*/ 30058 h 721392"/>
                  <a:gd name="connsiteX40" fmla="*/ 90148 w 270502"/>
                  <a:gd name="connsiteY40" fmla="*/ 75145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90149 w 270502"/>
                  <a:gd name="connsiteY44" fmla="*/ 75145 h 721392"/>
                  <a:gd name="connsiteX45" fmla="*/ 103382 w 270502"/>
                  <a:gd name="connsiteY45" fmla="*/ 43280 h 721392"/>
                  <a:gd name="connsiteX46" fmla="*/ 135235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90149 w 270502"/>
                  <a:gd name="connsiteY45" fmla="*/ 75145 h 721392"/>
                  <a:gd name="connsiteX46" fmla="*/ 135235 w 270502"/>
                  <a:gd name="connsiteY46" fmla="*/ 30058 h 721392"/>
                  <a:gd name="connsiteX47" fmla="*/ 135234 w 270502"/>
                  <a:gd name="connsiteY47" fmla="*/ 30058 h 721392"/>
                  <a:gd name="connsiteX48" fmla="*/ 135234 w 270502"/>
                  <a:gd name="connsiteY48" fmla="*/ 0 h 721392"/>
                  <a:gd name="connsiteX49" fmla="*/ 210379 w 270502"/>
                  <a:gd name="connsiteY49" fmla="*/ 75145 h 721392"/>
                  <a:gd name="connsiteX50" fmla="*/ 135234 w 270502"/>
                  <a:gd name="connsiteY50" fmla="*/ 150290 h 721392"/>
                  <a:gd name="connsiteX51" fmla="*/ 60089 w 270502"/>
                  <a:gd name="connsiteY51" fmla="*/ 75145 h 721392"/>
                  <a:gd name="connsiteX52" fmla="*/ 135234 w 270502"/>
                  <a:gd name="connsiteY52"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0 h 721392"/>
                  <a:gd name="connsiteX47" fmla="*/ 210379 w 270502"/>
                  <a:gd name="connsiteY47" fmla="*/ 75145 h 721392"/>
                  <a:gd name="connsiteX48" fmla="*/ 135234 w 270502"/>
                  <a:gd name="connsiteY48" fmla="*/ 150290 h 721392"/>
                  <a:gd name="connsiteX49" fmla="*/ 60089 w 270502"/>
                  <a:gd name="connsiteY49" fmla="*/ 75145 h 721392"/>
                  <a:gd name="connsiteX50" fmla="*/ 135234 w 270502"/>
                  <a:gd name="connsiteY50"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5 w 270502"/>
                  <a:gd name="connsiteY44" fmla="*/ 30058 h 721392"/>
                  <a:gd name="connsiteX45" fmla="*/ 135234 w 270502"/>
                  <a:gd name="connsiteY45" fmla="*/ 0 h 721392"/>
                  <a:gd name="connsiteX46" fmla="*/ 210379 w 270502"/>
                  <a:gd name="connsiteY46" fmla="*/ 75145 h 721392"/>
                  <a:gd name="connsiteX47" fmla="*/ 135234 w 270502"/>
                  <a:gd name="connsiteY47" fmla="*/ 150290 h 721392"/>
                  <a:gd name="connsiteX48" fmla="*/ 60089 w 270502"/>
                  <a:gd name="connsiteY48" fmla="*/ 75145 h 721392"/>
                  <a:gd name="connsiteX49" fmla="*/ 135234 w 270502"/>
                  <a:gd name="connsiteY49"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03371 w 270502"/>
                  <a:gd name="connsiteY40" fmla="*/ 107010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4 w 270502"/>
                  <a:gd name="connsiteY44" fmla="*/ 0 h 721392"/>
                  <a:gd name="connsiteX45" fmla="*/ 210379 w 270502"/>
                  <a:gd name="connsiteY45" fmla="*/ 75145 h 721392"/>
                  <a:gd name="connsiteX46" fmla="*/ 135234 w 270502"/>
                  <a:gd name="connsiteY46" fmla="*/ 150290 h 721392"/>
                  <a:gd name="connsiteX47" fmla="*/ 60089 w 270502"/>
                  <a:gd name="connsiteY47" fmla="*/ 75145 h 721392"/>
                  <a:gd name="connsiteX48" fmla="*/ 135234 w 270502"/>
                  <a:gd name="connsiteY48"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120232 h 721392"/>
                  <a:gd name="connsiteX41" fmla="*/ 135234 w 270502"/>
                  <a:gd name="connsiteY41" fmla="*/ 120232 h 721392"/>
                  <a:gd name="connsiteX42" fmla="*/ 135235 w 270502"/>
                  <a:gd name="connsiteY42" fmla="*/ 120232 h 721392"/>
                  <a:gd name="connsiteX43" fmla="*/ 135234 w 270502"/>
                  <a:gd name="connsiteY43" fmla="*/ 0 h 721392"/>
                  <a:gd name="connsiteX44" fmla="*/ 210379 w 270502"/>
                  <a:gd name="connsiteY44" fmla="*/ 75145 h 721392"/>
                  <a:gd name="connsiteX45" fmla="*/ 135234 w 270502"/>
                  <a:gd name="connsiteY45" fmla="*/ 150290 h 721392"/>
                  <a:gd name="connsiteX46" fmla="*/ 60089 w 270502"/>
                  <a:gd name="connsiteY46" fmla="*/ 75145 h 721392"/>
                  <a:gd name="connsiteX47" fmla="*/ 135234 w 270502"/>
                  <a:gd name="connsiteY47" fmla="*/ 0 h 721392"/>
                  <a:gd name="connsiteX0" fmla="*/ 35142 w 270502"/>
                  <a:gd name="connsiteY0" fmla="*/ 447684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5 w 270502"/>
                  <a:gd name="connsiteY39" fmla="*/ 120232 h 721392"/>
                  <a:gd name="connsiteX40" fmla="*/ 135234 w 270502"/>
                  <a:gd name="connsiteY40" fmla="*/ 120232 h 721392"/>
                  <a:gd name="connsiteX41" fmla="*/ 135235 w 270502"/>
                  <a:gd name="connsiteY41" fmla="*/ 120232 h 721392"/>
                  <a:gd name="connsiteX42" fmla="*/ 135234 w 270502"/>
                  <a:gd name="connsiteY42" fmla="*/ 0 h 721392"/>
                  <a:gd name="connsiteX43" fmla="*/ 210379 w 270502"/>
                  <a:gd name="connsiteY43" fmla="*/ 75145 h 721392"/>
                  <a:gd name="connsiteX44" fmla="*/ 135234 w 270502"/>
                  <a:gd name="connsiteY44" fmla="*/ 150290 h 721392"/>
                  <a:gd name="connsiteX45" fmla="*/ 60089 w 270502"/>
                  <a:gd name="connsiteY45" fmla="*/ 75145 h 721392"/>
                  <a:gd name="connsiteX46" fmla="*/ 135234 w 270502"/>
                  <a:gd name="connsiteY46" fmla="*/ 0 h 721392"/>
                  <a:gd name="connsiteX0" fmla="*/ 35142 w 270502"/>
                  <a:gd name="connsiteY0" fmla="*/ 447684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35142 w 270502"/>
                  <a:gd name="connsiteY22" fmla="*/ 447684 h 721392"/>
                  <a:gd name="connsiteX23" fmla="*/ 96852 w 270502"/>
                  <a:gd name="connsiteY23" fmla="*/ 180349 h 721392"/>
                  <a:gd name="connsiteX24" fmla="*/ 173589 w 270502"/>
                  <a:gd name="connsiteY24" fmla="*/ 180349 h 721392"/>
                  <a:gd name="connsiteX25" fmla="*/ 250238 w 270502"/>
                  <a:gd name="connsiteY25" fmla="*/ 253359 h 721392"/>
                  <a:gd name="connsiteX26" fmla="*/ 270166 w 270502"/>
                  <a:gd name="connsiteY26" fmla="*/ 427937 h 721392"/>
                  <a:gd name="connsiteX27" fmla="*/ 257782 w 270502"/>
                  <a:gd name="connsiteY27" fmla="*/ 467703 h 721392"/>
                  <a:gd name="connsiteX28" fmla="*/ 226913 w 270502"/>
                  <a:gd name="connsiteY28" fmla="*/ 482882 h 721392"/>
                  <a:gd name="connsiteX29" fmla="*/ 210320 w 270502"/>
                  <a:gd name="connsiteY29" fmla="*/ 707475 h 721392"/>
                  <a:gd name="connsiteX30" fmla="*/ 195351 w 270502"/>
                  <a:gd name="connsiteY30" fmla="*/ 721392 h 721392"/>
                  <a:gd name="connsiteX31" fmla="*/ 75119 w 270502"/>
                  <a:gd name="connsiteY31" fmla="*/ 721392 h 721392"/>
                  <a:gd name="connsiteX32" fmla="*/ 60151 w 270502"/>
                  <a:gd name="connsiteY32" fmla="*/ 707475 h 721392"/>
                  <a:gd name="connsiteX33" fmla="*/ 43558 w 270502"/>
                  <a:gd name="connsiteY33" fmla="*/ 482882 h 721392"/>
                  <a:gd name="connsiteX34" fmla="*/ 12689 w 270502"/>
                  <a:gd name="connsiteY34" fmla="*/ 467703 h 721392"/>
                  <a:gd name="connsiteX35" fmla="*/ 335 w 270502"/>
                  <a:gd name="connsiteY35" fmla="*/ 427937 h 721392"/>
                  <a:gd name="connsiteX36" fmla="*/ 20264 w 270502"/>
                  <a:gd name="connsiteY36" fmla="*/ 253359 h 721392"/>
                  <a:gd name="connsiteX37" fmla="*/ 96852 w 270502"/>
                  <a:gd name="connsiteY37" fmla="*/ 180349 h 721392"/>
                  <a:gd name="connsiteX38" fmla="*/ 135235 w 270502"/>
                  <a:gd name="connsiteY38" fmla="*/ 120232 h 721392"/>
                  <a:gd name="connsiteX39" fmla="*/ 135234 w 270502"/>
                  <a:gd name="connsiteY39" fmla="*/ 120232 h 721392"/>
                  <a:gd name="connsiteX40" fmla="*/ 135235 w 270502"/>
                  <a:gd name="connsiteY40" fmla="*/ 120232 h 721392"/>
                  <a:gd name="connsiteX41" fmla="*/ 135234 w 270502"/>
                  <a:gd name="connsiteY41" fmla="*/ 0 h 721392"/>
                  <a:gd name="connsiteX42" fmla="*/ 210379 w 270502"/>
                  <a:gd name="connsiteY42" fmla="*/ 75145 h 721392"/>
                  <a:gd name="connsiteX43" fmla="*/ 135234 w 270502"/>
                  <a:gd name="connsiteY43" fmla="*/ 150290 h 721392"/>
                  <a:gd name="connsiteX44" fmla="*/ 60089 w 270502"/>
                  <a:gd name="connsiteY44" fmla="*/ 75145 h 721392"/>
                  <a:gd name="connsiteX45" fmla="*/ 135234 w 270502"/>
                  <a:gd name="connsiteY45" fmla="*/ 0 h 721392"/>
                  <a:gd name="connsiteX0" fmla="*/ 46144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96852 w 270502"/>
                  <a:gd name="connsiteY22" fmla="*/ 180349 h 721392"/>
                  <a:gd name="connsiteX23" fmla="*/ 173589 w 270502"/>
                  <a:gd name="connsiteY23" fmla="*/ 180349 h 721392"/>
                  <a:gd name="connsiteX24" fmla="*/ 250238 w 270502"/>
                  <a:gd name="connsiteY24" fmla="*/ 253359 h 721392"/>
                  <a:gd name="connsiteX25" fmla="*/ 270166 w 270502"/>
                  <a:gd name="connsiteY25" fmla="*/ 427937 h 721392"/>
                  <a:gd name="connsiteX26" fmla="*/ 257782 w 270502"/>
                  <a:gd name="connsiteY26" fmla="*/ 467703 h 721392"/>
                  <a:gd name="connsiteX27" fmla="*/ 226913 w 270502"/>
                  <a:gd name="connsiteY27" fmla="*/ 482882 h 721392"/>
                  <a:gd name="connsiteX28" fmla="*/ 210320 w 270502"/>
                  <a:gd name="connsiteY28" fmla="*/ 707475 h 721392"/>
                  <a:gd name="connsiteX29" fmla="*/ 195351 w 270502"/>
                  <a:gd name="connsiteY29" fmla="*/ 721392 h 721392"/>
                  <a:gd name="connsiteX30" fmla="*/ 75119 w 270502"/>
                  <a:gd name="connsiteY30" fmla="*/ 721392 h 721392"/>
                  <a:gd name="connsiteX31" fmla="*/ 60151 w 270502"/>
                  <a:gd name="connsiteY31" fmla="*/ 707475 h 721392"/>
                  <a:gd name="connsiteX32" fmla="*/ 43558 w 270502"/>
                  <a:gd name="connsiteY32" fmla="*/ 482882 h 721392"/>
                  <a:gd name="connsiteX33" fmla="*/ 12689 w 270502"/>
                  <a:gd name="connsiteY33" fmla="*/ 467703 h 721392"/>
                  <a:gd name="connsiteX34" fmla="*/ 335 w 270502"/>
                  <a:gd name="connsiteY34" fmla="*/ 427937 h 721392"/>
                  <a:gd name="connsiteX35" fmla="*/ 20264 w 270502"/>
                  <a:gd name="connsiteY35" fmla="*/ 253359 h 721392"/>
                  <a:gd name="connsiteX36" fmla="*/ 96852 w 270502"/>
                  <a:gd name="connsiteY36" fmla="*/ 180349 h 721392"/>
                  <a:gd name="connsiteX37" fmla="*/ 135235 w 270502"/>
                  <a:gd name="connsiteY37" fmla="*/ 120232 h 721392"/>
                  <a:gd name="connsiteX38" fmla="*/ 135234 w 270502"/>
                  <a:gd name="connsiteY38" fmla="*/ 120232 h 721392"/>
                  <a:gd name="connsiteX39" fmla="*/ 135235 w 270502"/>
                  <a:gd name="connsiteY39" fmla="*/ 120232 h 721392"/>
                  <a:gd name="connsiteX40" fmla="*/ 135234 w 270502"/>
                  <a:gd name="connsiteY40" fmla="*/ 0 h 721392"/>
                  <a:gd name="connsiteX41" fmla="*/ 210379 w 270502"/>
                  <a:gd name="connsiteY41" fmla="*/ 75145 h 721392"/>
                  <a:gd name="connsiteX42" fmla="*/ 135234 w 270502"/>
                  <a:gd name="connsiteY42" fmla="*/ 150290 h 721392"/>
                  <a:gd name="connsiteX43" fmla="*/ 60089 w 270502"/>
                  <a:gd name="connsiteY43" fmla="*/ 75145 h 721392"/>
                  <a:gd name="connsiteX44" fmla="*/ 135234 w 270502"/>
                  <a:gd name="connsiteY44" fmla="*/ 0 h 721392"/>
                  <a:gd name="connsiteX0" fmla="*/ 57565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96852 w 270502"/>
                  <a:gd name="connsiteY21" fmla="*/ 180349 h 721392"/>
                  <a:gd name="connsiteX22" fmla="*/ 173589 w 270502"/>
                  <a:gd name="connsiteY22" fmla="*/ 180349 h 721392"/>
                  <a:gd name="connsiteX23" fmla="*/ 250238 w 270502"/>
                  <a:gd name="connsiteY23" fmla="*/ 253359 h 721392"/>
                  <a:gd name="connsiteX24" fmla="*/ 270166 w 270502"/>
                  <a:gd name="connsiteY24" fmla="*/ 427937 h 721392"/>
                  <a:gd name="connsiteX25" fmla="*/ 257782 w 270502"/>
                  <a:gd name="connsiteY25" fmla="*/ 467703 h 721392"/>
                  <a:gd name="connsiteX26" fmla="*/ 226913 w 270502"/>
                  <a:gd name="connsiteY26" fmla="*/ 482882 h 721392"/>
                  <a:gd name="connsiteX27" fmla="*/ 210320 w 270502"/>
                  <a:gd name="connsiteY27" fmla="*/ 707475 h 721392"/>
                  <a:gd name="connsiteX28" fmla="*/ 195351 w 270502"/>
                  <a:gd name="connsiteY28" fmla="*/ 721392 h 721392"/>
                  <a:gd name="connsiteX29" fmla="*/ 75119 w 270502"/>
                  <a:gd name="connsiteY29" fmla="*/ 721392 h 721392"/>
                  <a:gd name="connsiteX30" fmla="*/ 60151 w 270502"/>
                  <a:gd name="connsiteY30" fmla="*/ 707475 h 721392"/>
                  <a:gd name="connsiteX31" fmla="*/ 43558 w 270502"/>
                  <a:gd name="connsiteY31" fmla="*/ 482882 h 721392"/>
                  <a:gd name="connsiteX32" fmla="*/ 12689 w 270502"/>
                  <a:gd name="connsiteY32" fmla="*/ 467703 h 721392"/>
                  <a:gd name="connsiteX33" fmla="*/ 335 w 270502"/>
                  <a:gd name="connsiteY33" fmla="*/ 427937 h 721392"/>
                  <a:gd name="connsiteX34" fmla="*/ 20264 w 270502"/>
                  <a:gd name="connsiteY34" fmla="*/ 253359 h 721392"/>
                  <a:gd name="connsiteX35" fmla="*/ 96852 w 270502"/>
                  <a:gd name="connsiteY35" fmla="*/ 180349 h 721392"/>
                  <a:gd name="connsiteX36" fmla="*/ 135235 w 270502"/>
                  <a:gd name="connsiteY36" fmla="*/ 120232 h 721392"/>
                  <a:gd name="connsiteX37" fmla="*/ 135234 w 270502"/>
                  <a:gd name="connsiteY37" fmla="*/ 120232 h 721392"/>
                  <a:gd name="connsiteX38" fmla="*/ 135235 w 270502"/>
                  <a:gd name="connsiteY38" fmla="*/ 120232 h 721392"/>
                  <a:gd name="connsiteX39" fmla="*/ 135234 w 270502"/>
                  <a:gd name="connsiteY39" fmla="*/ 0 h 721392"/>
                  <a:gd name="connsiteX40" fmla="*/ 210379 w 270502"/>
                  <a:gd name="connsiteY40" fmla="*/ 75145 h 721392"/>
                  <a:gd name="connsiteX41" fmla="*/ 135234 w 270502"/>
                  <a:gd name="connsiteY41" fmla="*/ 150290 h 721392"/>
                  <a:gd name="connsiteX42" fmla="*/ 60089 w 270502"/>
                  <a:gd name="connsiteY42" fmla="*/ 75145 h 721392"/>
                  <a:gd name="connsiteX43" fmla="*/ 135234 w 270502"/>
                  <a:gd name="connsiteY43" fmla="*/ 0 h 721392"/>
                  <a:gd name="connsiteX0" fmla="*/ 72565 w 270502"/>
                  <a:gd name="connsiteY0" fmla="*/ 466800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96852 w 270502"/>
                  <a:gd name="connsiteY20" fmla="*/ 180349 h 721392"/>
                  <a:gd name="connsiteX21" fmla="*/ 173589 w 270502"/>
                  <a:gd name="connsiteY21" fmla="*/ 180349 h 721392"/>
                  <a:gd name="connsiteX22" fmla="*/ 250238 w 270502"/>
                  <a:gd name="connsiteY22" fmla="*/ 253359 h 721392"/>
                  <a:gd name="connsiteX23" fmla="*/ 270166 w 270502"/>
                  <a:gd name="connsiteY23" fmla="*/ 427937 h 721392"/>
                  <a:gd name="connsiteX24" fmla="*/ 257782 w 270502"/>
                  <a:gd name="connsiteY24" fmla="*/ 467703 h 721392"/>
                  <a:gd name="connsiteX25" fmla="*/ 226913 w 270502"/>
                  <a:gd name="connsiteY25" fmla="*/ 482882 h 721392"/>
                  <a:gd name="connsiteX26" fmla="*/ 210320 w 270502"/>
                  <a:gd name="connsiteY26" fmla="*/ 707475 h 721392"/>
                  <a:gd name="connsiteX27" fmla="*/ 195351 w 270502"/>
                  <a:gd name="connsiteY27" fmla="*/ 721392 h 721392"/>
                  <a:gd name="connsiteX28" fmla="*/ 75119 w 270502"/>
                  <a:gd name="connsiteY28" fmla="*/ 721392 h 721392"/>
                  <a:gd name="connsiteX29" fmla="*/ 60151 w 270502"/>
                  <a:gd name="connsiteY29" fmla="*/ 707475 h 721392"/>
                  <a:gd name="connsiteX30" fmla="*/ 43558 w 270502"/>
                  <a:gd name="connsiteY30" fmla="*/ 482882 h 721392"/>
                  <a:gd name="connsiteX31" fmla="*/ 12689 w 270502"/>
                  <a:gd name="connsiteY31" fmla="*/ 467703 h 721392"/>
                  <a:gd name="connsiteX32" fmla="*/ 335 w 270502"/>
                  <a:gd name="connsiteY32" fmla="*/ 427937 h 721392"/>
                  <a:gd name="connsiteX33" fmla="*/ 20264 w 270502"/>
                  <a:gd name="connsiteY33" fmla="*/ 253359 h 721392"/>
                  <a:gd name="connsiteX34" fmla="*/ 96852 w 270502"/>
                  <a:gd name="connsiteY34" fmla="*/ 180349 h 721392"/>
                  <a:gd name="connsiteX35" fmla="*/ 135235 w 270502"/>
                  <a:gd name="connsiteY35" fmla="*/ 120232 h 721392"/>
                  <a:gd name="connsiteX36" fmla="*/ 135234 w 270502"/>
                  <a:gd name="connsiteY36" fmla="*/ 120232 h 721392"/>
                  <a:gd name="connsiteX37" fmla="*/ 135235 w 270502"/>
                  <a:gd name="connsiteY37" fmla="*/ 120232 h 721392"/>
                  <a:gd name="connsiteX38" fmla="*/ 135234 w 270502"/>
                  <a:gd name="connsiteY38" fmla="*/ 0 h 721392"/>
                  <a:gd name="connsiteX39" fmla="*/ 210379 w 270502"/>
                  <a:gd name="connsiteY39" fmla="*/ 75145 h 721392"/>
                  <a:gd name="connsiteX40" fmla="*/ 135234 w 270502"/>
                  <a:gd name="connsiteY40" fmla="*/ 150290 h 721392"/>
                  <a:gd name="connsiteX41" fmla="*/ 60089 w 270502"/>
                  <a:gd name="connsiteY41" fmla="*/ 75145 h 721392"/>
                  <a:gd name="connsiteX42" fmla="*/ 135234 w 270502"/>
                  <a:gd name="connsiteY42" fmla="*/ 0 h 721392"/>
                  <a:gd name="connsiteX0" fmla="*/ 72565 w 270502"/>
                  <a:gd name="connsiteY0" fmla="*/ 466800 h 721392"/>
                  <a:gd name="connsiteX1" fmla="*/ 35142 w 270502"/>
                  <a:gd name="connsiteY1" fmla="*/ 447685 h 721392"/>
                  <a:gd name="connsiteX2" fmla="*/ 57565 w 270502"/>
                  <a:gd name="connsiteY2" fmla="*/ 452884 h 721392"/>
                  <a:gd name="connsiteX3" fmla="*/ 72565 w 270502"/>
                  <a:gd name="connsiteY3" fmla="*/ 466801 h 721392"/>
                  <a:gd name="connsiteX4" fmla="*/ 89097 w 270502"/>
                  <a:gd name="connsiteY4" fmla="*/ 691334 h 721392"/>
                  <a:gd name="connsiteX5" fmla="*/ 181404 w 270502"/>
                  <a:gd name="connsiteY5" fmla="*/ 691334 h 721392"/>
                  <a:gd name="connsiteX6" fmla="*/ 197967 w 270502"/>
                  <a:gd name="connsiteY6" fmla="*/ 466801 h 721392"/>
                  <a:gd name="connsiteX7" fmla="*/ 212965 w 270502"/>
                  <a:gd name="connsiteY7" fmla="*/ 452884 h 721392"/>
                  <a:gd name="connsiteX8" fmla="*/ 224418 w 270502"/>
                  <a:gd name="connsiteY8" fmla="*/ 452884 h 721392"/>
                  <a:gd name="connsiteX9" fmla="*/ 235419 w 270502"/>
                  <a:gd name="connsiteY9" fmla="*/ 447685 h 721392"/>
                  <a:gd name="connsiteX10" fmla="*/ 240348 w 270502"/>
                  <a:gd name="connsiteY10" fmla="*/ 431333 h 721392"/>
                  <a:gd name="connsiteX11" fmla="*/ 240348 w 270502"/>
                  <a:gd name="connsiteY11" fmla="*/ 431332 h 721392"/>
                  <a:gd name="connsiteX12" fmla="*/ 235419 w 270502"/>
                  <a:gd name="connsiteY12" fmla="*/ 447684 h 721392"/>
                  <a:gd name="connsiteX13" fmla="*/ 224418 w 270502"/>
                  <a:gd name="connsiteY13" fmla="*/ 452883 h 721392"/>
                  <a:gd name="connsiteX14" fmla="*/ 212965 w 270502"/>
                  <a:gd name="connsiteY14" fmla="*/ 452883 h 721392"/>
                  <a:gd name="connsiteX15" fmla="*/ 197967 w 270502"/>
                  <a:gd name="connsiteY15" fmla="*/ 466800 h 721392"/>
                  <a:gd name="connsiteX16" fmla="*/ 181404 w 270502"/>
                  <a:gd name="connsiteY16" fmla="*/ 691333 h 721392"/>
                  <a:gd name="connsiteX17" fmla="*/ 89097 w 270502"/>
                  <a:gd name="connsiteY17" fmla="*/ 691333 h 721392"/>
                  <a:gd name="connsiteX18" fmla="*/ 72565 w 270502"/>
                  <a:gd name="connsiteY18" fmla="*/ 466800 h 721392"/>
                  <a:gd name="connsiteX19" fmla="*/ 96852 w 270502"/>
                  <a:gd name="connsiteY19" fmla="*/ 180349 h 721392"/>
                  <a:gd name="connsiteX20" fmla="*/ 173589 w 270502"/>
                  <a:gd name="connsiteY20" fmla="*/ 180349 h 721392"/>
                  <a:gd name="connsiteX21" fmla="*/ 250238 w 270502"/>
                  <a:gd name="connsiteY21" fmla="*/ 253359 h 721392"/>
                  <a:gd name="connsiteX22" fmla="*/ 270166 w 270502"/>
                  <a:gd name="connsiteY22" fmla="*/ 427937 h 721392"/>
                  <a:gd name="connsiteX23" fmla="*/ 257782 w 270502"/>
                  <a:gd name="connsiteY23" fmla="*/ 467703 h 721392"/>
                  <a:gd name="connsiteX24" fmla="*/ 226913 w 270502"/>
                  <a:gd name="connsiteY24" fmla="*/ 482882 h 721392"/>
                  <a:gd name="connsiteX25" fmla="*/ 210320 w 270502"/>
                  <a:gd name="connsiteY25" fmla="*/ 707475 h 721392"/>
                  <a:gd name="connsiteX26" fmla="*/ 195351 w 270502"/>
                  <a:gd name="connsiteY26" fmla="*/ 721392 h 721392"/>
                  <a:gd name="connsiteX27" fmla="*/ 75119 w 270502"/>
                  <a:gd name="connsiteY27" fmla="*/ 721392 h 721392"/>
                  <a:gd name="connsiteX28" fmla="*/ 60151 w 270502"/>
                  <a:gd name="connsiteY28" fmla="*/ 707475 h 721392"/>
                  <a:gd name="connsiteX29" fmla="*/ 43558 w 270502"/>
                  <a:gd name="connsiteY29" fmla="*/ 482882 h 721392"/>
                  <a:gd name="connsiteX30" fmla="*/ 12689 w 270502"/>
                  <a:gd name="connsiteY30" fmla="*/ 467703 h 721392"/>
                  <a:gd name="connsiteX31" fmla="*/ 335 w 270502"/>
                  <a:gd name="connsiteY31" fmla="*/ 427937 h 721392"/>
                  <a:gd name="connsiteX32" fmla="*/ 20264 w 270502"/>
                  <a:gd name="connsiteY32" fmla="*/ 253359 h 721392"/>
                  <a:gd name="connsiteX33" fmla="*/ 96852 w 270502"/>
                  <a:gd name="connsiteY33" fmla="*/ 180349 h 721392"/>
                  <a:gd name="connsiteX34" fmla="*/ 135235 w 270502"/>
                  <a:gd name="connsiteY34" fmla="*/ 120232 h 721392"/>
                  <a:gd name="connsiteX35" fmla="*/ 135234 w 270502"/>
                  <a:gd name="connsiteY35" fmla="*/ 120232 h 721392"/>
                  <a:gd name="connsiteX36" fmla="*/ 135235 w 270502"/>
                  <a:gd name="connsiteY36" fmla="*/ 120232 h 721392"/>
                  <a:gd name="connsiteX37" fmla="*/ 135234 w 270502"/>
                  <a:gd name="connsiteY37" fmla="*/ 0 h 721392"/>
                  <a:gd name="connsiteX38" fmla="*/ 210379 w 270502"/>
                  <a:gd name="connsiteY38" fmla="*/ 75145 h 721392"/>
                  <a:gd name="connsiteX39" fmla="*/ 135234 w 270502"/>
                  <a:gd name="connsiteY39" fmla="*/ 150290 h 721392"/>
                  <a:gd name="connsiteX40" fmla="*/ 60089 w 270502"/>
                  <a:gd name="connsiteY40" fmla="*/ 75145 h 721392"/>
                  <a:gd name="connsiteX41" fmla="*/ 135234 w 270502"/>
                  <a:gd name="connsiteY41" fmla="*/ 0 h 721392"/>
                  <a:gd name="connsiteX0" fmla="*/ 72565 w 270502"/>
                  <a:gd name="connsiteY0" fmla="*/ 466800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72565 w 270502"/>
                  <a:gd name="connsiteY17" fmla="*/ 466800 h 721392"/>
                  <a:gd name="connsiteX18" fmla="*/ 96852 w 270502"/>
                  <a:gd name="connsiteY18" fmla="*/ 180349 h 721392"/>
                  <a:gd name="connsiteX19" fmla="*/ 173589 w 270502"/>
                  <a:gd name="connsiteY19" fmla="*/ 180349 h 721392"/>
                  <a:gd name="connsiteX20" fmla="*/ 250238 w 270502"/>
                  <a:gd name="connsiteY20" fmla="*/ 253359 h 721392"/>
                  <a:gd name="connsiteX21" fmla="*/ 270166 w 270502"/>
                  <a:gd name="connsiteY21" fmla="*/ 427937 h 721392"/>
                  <a:gd name="connsiteX22" fmla="*/ 257782 w 270502"/>
                  <a:gd name="connsiteY22" fmla="*/ 467703 h 721392"/>
                  <a:gd name="connsiteX23" fmla="*/ 226913 w 270502"/>
                  <a:gd name="connsiteY23" fmla="*/ 482882 h 721392"/>
                  <a:gd name="connsiteX24" fmla="*/ 210320 w 270502"/>
                  <a:gd name="connsiteY24" fmla="*/ 707475 h 721392"/>
                  <a:gd name="connsiteX25" fmla="*/ 195351 w 270502"/>
                  <a:gd name="connsiteY25" fmla="*/ 721392 h 721392"/>
                  <a:gd name="connsiteX26" fmla="*/ 75119 w 270502"/>
                  <a:gd name="connsiteY26" fmla="*/ 721392 h 721392"/>
                  <a:gd name="connsiteX27" fmla="*/ 60151 w 270502"/>
                  <a:gd name="connsiteY27" fmla="*/ 707475 h 721392"/>
                  <a:gd name="connsiteX28" fmla="*/ 43558 w 270502"/>
                  <a:gd name="connsiteY28" fmla="*/ 482882 h 721392"/>
                  <a:gd name="connsiteX29" fmla="*/ 12689 w 270502"/>
                  <a:gd name="connsiteY29" fmla="*/ 467703 h 721392"/>
                  <a:gd name="connsiteX30" fmla="*/ 335 w 270502"/>
                  <a:gd name="connsiteY30" fmla="*/ 427937 h 721392"/>
                  <a:gd name="connsiteX31" fmla="*/ 20264 w 270502"/>
                  <a:gd name="connsiteY31" fmla="*/ 253359 h 721392"/>
                  <a:gd name="connsiteX32" fmla="*/ 96852 w 270502"/>
                  <a:gd name="connsiteY32" fmla="*/ 180349 h 721392"/>
                  <a:gd name="connsiteX33" fmla="*/ 135235 w 270502"/>
                  <a:gd name="connsiteY33" fmla="*/ 120232 h 721392"/>
                  <a:gd name="connsiteX34" fmla="*/ 135234 w 270502"/>
                  <a:gd name="connsiteY34" fmla="*/ 120232 h 721392"/>
                  <a:gd name="connsiteX35" fmla="*/ 135235 w 270502"/>
                  <a:gd name="connsiteY35" fmla="*/ 120232 h 721392"/>
                  <a:gd name="connsiteX36" fmla="*/ 135234 w 270502"/>
                  <a:gd name="connsiteY36" fmla="*/ 0 h 721392"/>
                  <a:gd name="connsiteX37" fmla="*/ 210379 w 270502"/>
                  <a:gd name="connsiteY37" fmla="*/ 75145 h 721392"/>
                  <a:gd name="connsiteX38" fmla="*/ 135234 w 270502"/>
                  <a:gd name="connsiteY38" fmla="*/ 150290 h 721392"/>
                  <a:gd name="connsiteX39" fmla="*/ 60089 w 270502"/>
                  <a:gd name="connsiteY39" fmla="*/ 75145 h 721392"/>
                  <a:gd name="connsiteX40" fmla="*/ 135234 w 270502"/>
                  <a:gd name="connsiteY40" fmla="*/ 0 h 721392"/>
                  <a:gd name="connsiteX0" fmla="*/ 89097 w 270502"/>
                  <a:gd name="connsiteY0" fmla="*/ 691333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96852 w 270502"/>
                  <a:gd name="connsiteY17" fmla="*/ 180349 h 721392"/>
                  <a:gd name="connsiteX18" fmla="*/ 173589 w 270502"/>
                  <a:gd name="connsiteY18" fmla="*/ 180349 h 721392"/>
                  <a:gd name="connsiteX19" fmla="*/ 250238 w 270502"/>
                  <a:gd name="connsiteY19" fmla="*/ 253359 h 721392"/>
                  <a:gd name="connsiteX20" fmla="*/ 270166 w 270502"/>
                  <a:gd name="connsiteY20" fmla="*/ 427937 h 721392"/>
                  <a:gd name="connsiteX21" fmla="*/ 257782 w 270502"/>
                  <a:gd name="connsiteY21" fmla="*/ 467703 h 721392"/>
                  <a:gd name="connsiteX22" fmla="*/ 226913 w 270502"/>
                  <a:gd name="connsiteY22" fmla="*/ 482882 h 721392"/>
                  <a:gd name="connsiteX23" fmla="*/ 210320 w 270502"/>
                  <a:gd name="connsiteY23" fmla="*/ 707475 h 721392"/>
                  <a:gd name="connsiteX24" fmla="*/ 195351 w 270502"/>
                  <a:gd name="connsiteY24" fmla="*/ 721392 h 721392"/>
                  <a:gd name="connsiteX25" fmla="*/ 75119 w 270502"/>
                  <a:gd name="connsiteY25" fmla="*/ 721392 h 721392"/>
                  <a:gd name="connsiteX26" fmla="*/ 60151 w 270502"/>
                  <a:gd name="connsiteY26" fmla="*/ 707475 h 721392"/>
                  <a:gd name="connsiteX27" fmla="*/ 43558 w 270502"/>
                  <a:gd name="connsiteY27" fmla="*/ 482882 h 721392"/>
                  <a:gd name="connsiteX28" fmla="*/ 12689 w 270502"/>
                  <a:gd name="connsiteY28" fmla="*/ 467703 h 721392"/>
                  <a:gd name="connsiteX29" fmla="*/ 335 w 270502"/>
                  <a:gd name="connsiteY29" fmla="*/ 427937 h 721392"/>
                  <a:gd name="connsiteX30" fmla="*/ 20264 w 270502"/>
                  <a:gd name="connsiteY30" fmla="*/ 253359 h 721392"/>
                  <a:gd name="connsiteX31" fmla="*/ 96852 w 270502"/>
                  <a:gd name="connsiteY31" fmla="*/ 180349 h 721392"/>
                  <a:gd name="connsiteX32" fmla="*/ 135235 w 270502"/>
                  <a:gd name="connsiteY32" fmla="*/ 120232 h 721392"/>
                  <a:gd name="connsiteX33" fmla="*/ 135234 w 270502"/>
                  <a:gd name="connsiteY33" fmla="*/ 120232 h 721392"/>
                  <a:gd name="connsiteX34" fmla="*/ 135235 w 270502"/>
                  <a:gd name="connsiteY34" fmla="*/ 120232 h 721392"/>
                  <a:gd name="connsiteX35" fmla="*/ 135234 w 270502"/>
                  <a:gd name="connsiteY35" fmla="*/ 0 h 721392"/>
                  <a:gd name="connsiteX36" fmla="*/ 210379 w 270502"/>
                  <a:gd name="connsiteY36" fmla="*/ 75145 h 721392"/>
                  <a:gd name="connsiteX37" fmla="*/ 135234 w 270502"/>
                  <a:gd name="connsiteY37" fmla="*/ 150290 h 721392"/>
                  <a:gd name="connsiteX38" fmla="*/ 60089 w 270502"/>
                  <a:gd name="connsiteY38" fmla="*/ 75145 h 721392"/>
                  <a:gd name="connsiteX39" fmla="*/ 135234 w 270502"/>
                  <a:gd name="connsiteY39" fmla="*/ 0 h 721392"/>
                  <a:gd name="connsiteX0" fmla="*/ 89097 w 270502"/>
                  <a:gd name="connsiteY0" fmla="*/ 691333 h 721392"/>
                  <a:gd name="connsiteX1" fmla="*/ 57565 w 270502"/>
                  <a:gd name="connsiteY1" fmla="*/ 452884 h 721392"/>
                  <a:gd name="connsiteX2" fmla="*/ 89097 w 270502"/>
                  <a:gd name="connsiteY2" fmla="*/ 691334 h 721392"/>
                  <a:gd name="connsiteX3" fmla="*/ 181404 w 270502"/>
                  <a:gd name="connsiteY3" fmla="*/ 691334 h 721392"/>
                  <a:gd name="connsiteX4" fmla="*/ 197967 w 270502"/>
                  <a:gd name="connsiteY4" fmla="*/ 466801 h 721392"/>
                  <a:gd name="connsiteX5" fmla="*/ 212965 w 270502"/>
                  <a:gd name="connsiteY5" fmla="*/ 452884 h 721392"/>
                  <a:gd name="connsiteX6" fmla="*/ 224418 w 270502"/>
                  <a:gd name="connsiteY6" fmla="*/ 452884 h 721392"/>
                  <a:gd name="connsiteX7" fmla="*/ 235419 w 270502"/>
                  <a:gd name="connsiteY7" fmla="*/ 447685 h 721392"/>
                  <a:gd name="connsiteX8" fmla="*/ 240348 w 270502"/>
                  <a:gd name="connsiteY8" fmla="*/ 431333 h 721392"/>
                  <a:gd name="connsiteX9" fmla="*/ 240348 w 270502"/>
                  <a:gd name="connsiteY9" fmla="*/ 431332 h 721392"/>
                  <a:gd name="connsiteX10" fmla="*/ 235419 w 270502"/>
                  <a:gd name="connsiteY10" fmla="*/ 447684 h 721392"/>
                  <a:gd name="connsiteX11" fmla="*/ 224418 w 270502"/>
                  <a:gd name="connsiteY11" fmla="*/ 452883 h 721392"/>
                  <a:gd name="connsiteX12" fmla="*/ 212965 w 270502"/>
                  <a:gd name="connsiteY12" fmla="*/ 452883 h 721392"/>
                  <a:gd name="connsiteX13" fmla="*/ 197967 w 270502"/>
                  <a:gd name="connsiteY13" fmla="*/ 466800 h 721392"/>
                  <a:gd name="connsiteX14" fmla="*/ 181404 w 270502"/>
                  <a:gd name="connsiteY14" fmla="*/ 691333 h 721392"/>
                  <a:gd name="connsiteX15" fmla="*/ 89097 w 270502"/>
                  <a:gd name="connsiteY15" fmla="*/ 691333 h 721392"/>
                  <a:gd name="connsiteX16" fmla="*/ 96852 w 270502"/>
                  <a:gd name="connsiteY16" fmla="*/ 180349 h 721392"/>
                  <a:gd name="connsiteX17" fmla="*/ 173589 w 270502"/>
                  <a:gd name="connsiteY17" fmla="*/ 180349 h 721392"/>
                  <a:gd name="connsiteX18" fmla="*/ 250238 w 270502"/>
                  <a:gd name="connsiteY18" fmla="*/ 253359 h 721392"/>
                  <a:gd name="connsiteX19" fmla="*/ 270166 w 270502"/>
                  <a:gd name="connsiteY19" fmla="*/ 427937 h 721392"/>
                  <a:gd name="connsiteX20" fmla="*/ 257782 w 270502"/>
                  <a:gd name="connsiteY20" fmla="*/ 467703 h 721392"/>
                  <a:gd name="connsiteX21" fmla="*/ 226913 w 270502"/>
                  <a:gd name="connsiteY21" fmla="*/ 482882 h 721392"/>
                  <a:gd name="connsiteX22" fmla="*/ 210320 w 270502"/>
                  <a:gd name="connsiteY22" fmla="*/ 707475 h 721392"/>
                  <a:gd name="connsiteX23" fmla="*/ 195351 w 270502"/>
                  <a:gd name="connsiteY23" fmla="*/ 721392 h 721392"/>
                  <a:gd name="connsiteX24" fmla="*/ 75119 w 270502"/>
                  <a:gd name="connsiteY24" fmla="*/ 721392 h 721392"/>
                  <a:gd name="connsiteX25" fmla="*/ 60151 w 270502"/>
                  <a:gd name="connsiteY25" fmla="*/ 707475 h 721392"/>
                  <a:gd name="connsiteX26" fmla="*/ 43558 w 270502"/>
                  <a:gd name="connsiteY26" fmla="*/ 482882 h 721392"/>
                  <a:gd name="connsiteX27" fmla="*/ 12689 w 270502"/>
                  <a:gd name="connsiteY27" fmla="*/ 467703 h 721392"/>
                  <a:gd name="connsiteX28" fmla="*/ 335 w 270502"/>
                  <a:gd name="connsiteY28" fmla="*/ 427937 h 721392"/>
                  <a:gd name="connsiteX29" fmla="*/ 20264 w 270502"/>
                  <a:gd name="connsiteY29" fmla="*/ 253359 h 721392"/>
                  <a:gd name="connsiteX30" fmla="*/ 96852 w 270502"/>
                  <a:gd name="connsiteY30" fmla="*/ 180349 h 721392"/>
                  <a:gd name="connsiteX31" fmla="*/ 135235 w 270502"/>
                  <a:gd name="connsiteY31" fmla="*/ 120232 h 721392"/>
                  <a:gd name="connsiteX32" fmla="*/ 135234 w 270502"/>
                  <a:gd name="connsiteY32" fmla="*/ 120232 h 721392"/>
                  <a:gd name="connsiteX33" fmla="*/ 135235 w 270502"/>
                  <a:gd name="connsiteY33" fmla="*/ 120232 h 721392"/>
                  <a:gd name="connsiteX34" fmla="*/ 135234 w 270502"/>
                  <a:gd name="connsiteY34" fmla="*/ 0 h 721392"/>
                  <a:gd name="connsiteX35" fmla="*/ 210379 w 270502"/>
                  <a:gd name="connsiteY35" fmla="*/ 75145 h 721392"/>
                  <a:gd name="connsiteX36" fmla="*/ 135234 w 270502"/>
                  <a:gd name="connsiteY36" fmla="*/ 150290 h 721392"/>
                  <a:gd name="connsiteX37" fmla="*/ 60089 w 270502"/>
                  <a:gd name="connsiteY37" fmla="*/ 75145 h 721392"/>
                  <a:gd name="connsiteX38" fmla="*/ 135234 w 270502"/>
                  <a:gd name="connsiteY3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97967 w 270502"/>
                  <a:gd name="connsiteY12" fmla="*/ 466800 h 721392"/>
                  <a:gd name="connsiteX13" fmla="*/ 181404 w 270502"/>
                  <a:gd name="connsiteY13" fmla="*/ 691333 h 721392"/>
                  <a:gd name="connsiteX14" fmla="*/ 89097 w 270502"/>
                  <a:gd name="connsiteY14" fmla="*/ 691333 h 721392"/>
                  <a:gd name="connsiteX15" fmla="*/ 96852 w 270502"/>
                  <a:gd name="connsiteY15" fmla="*/ 180349 h 721392"/>
                  <a:gd name="connsiteX16" fmla="*/ 173589 w 270502"/>
                  <a:gd name="connsiteY16" fmla="*/ 180349 h 721392"/>
                  <a:gd name="connsiteX17" fmla="*/ 250238 w 270502"/>
                  <a:gd name="connsiteY17" fmla="*/ 253359 h 721392"/>
                  <a:gd name="connsiteX18" fmla="*/ 270166 w 270502"/>
                  <a:gd name="connsiteY18" fmla="*/ 427937 h 721392"/>
                  <a:gd name="connsiteX19" fmla="*/ 257782 w 270502"/>
                  <a:gd name="connsiteY19" fmla="*/ 467703 h 721392"/>
                  <a:gd name="connsiteX20" fmla="*/ 226913 w 270502"/>
                  <a:gd name="connsiteY20" fmla="*/ 482882 h 721392"/>
                  <a:gd name="connsiteX21" fmla="*/ 210320 w 270502"/>
                  <a:gd name="connsiteY21" fmla="*/ 707475 h 721392"/>
                  <a:gd name="connsiteX22" fmla="*/ 195351 w 270502"/>
                  <a:gd name="connsiteY22" fmla="*/ 721392 h 721392"/>
                  <a:gd name="connsiteX23" fmla="*/ 75119 w 270502"/>
                  <a:gd name="connsiteY23" fmla="*/ 721392 h 721392"/>
                  <a:gd name="connsiteX24" fmla="*/ 60151 w 270502"/>
                  <a:gd name="connsiteY24" fmla="*/ 707475 h 721392"/>
                  <a:gd name="connsiteX25" fmla="*/ 43558 w 270502"/>
                  <a:gd name="connsiteY25" fmla="*/ 482882 h 721392"/>
                  <a:gd name="connsiteX26" fmla="*/ 12689 w 270502"/>
                  <a:gd name="connsiteY26" fmla="*/ 467703 h 721392"/>
                  <a:gd name="connsiteX27" fmla="*/ 335 w 270502"/>
                  <a:gd name="connsiteY27" fmla="*/ 427937 h 721392"/>
                  <a:gd name="connsiteX28" fmla="*/ 20264 w 270502"/>
                  <a:gd name="connsiteY28" fmla="*/ 253359 h 721392"/>
                  <a:gd name="connsiteX29" fmla="*/ 96852 w 270502"/>
                  <a:gd name="connsiteY29" fmla="*/ 180349 h 721392"/>
                  <a:gd name="connsiteX30" fmla="*/ 135235 w 270502"/>
                  <a:gd name="connsiteY30" fmla="*/ 120232 h 721392"/>
                  <a:gd name="connsiteX31" fmla="*/ 135234 w 270502"/>
                  <a:gd name="connsiteY31" fmla="*/ 120232 h 721392"/>
                  <a:gd name="connsiteX32" fmla="*/ 135235 w 270502"/>
                  <a:gd name="connsiteY32" fmla="*/ 120232 h 721392"/>
                  <a:gd name="connsiteX33" fmla="*/ 135234 w 270502"/>
                  <a:gd name="connsiteY33" fmla="*/ 0 h 721392"/>
                  <a:gd name="connsiteX34" fmla="*/ 210379 w 270502"/>
                  <a:gd name="connsiteY34" fmla="*/ 75145 h 721392"/>
                  <a:gd name="connsiteX35" fmla="*/ 135234 w 270502"/>
                  <a:gd name="connsiteY35" fmla="*/ 150290 h 721392"/>
                  <a:gd name="connsiteX36" fmla="*/ 60089 w 270502"/>
                  <a:gd name="connsiteY36" fmla="*/ 75145 h 721392"/>
                  <a:gd name="connsiteX37" fmla="*/ 135234 w 270502"/>
                  <a:gd name="connsiteY3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81404 w 270502"/>
                  <a:gd name="connsiteY12" fmla="*/ 691333 h 721392"/>
                  <a:gd name="connsiteX13" fmla="*/ 89097 w 270502"/>
                  <a:gd name="connsiteY13" fmla="*/ 691333 h 721392"/>
                  <a:gd name="connsiteX14" fmla="*/ 96852 w 270502"/>
                  <a:gd name="connsiteY14" fmla="*/ 180349 h 721392"/>
                  <a:gd name="connsiteX15" fmla="*/ 173589 w 270502"/>
                  <a:gd name="connsiteY15" fmla="*/ 180349 h 721392"/>
                  <a:gd name="connsiteX16" fmla="*/ 250238 w 270502"/>
                  <a:gd name="connsiteY16" fmla="*/ 253359 h 721392"/>
                  <a:gd name="connsiteX17" fmla="*/ 270166 w 270502"/>
                  <a:gd name="connsiteY17" fmla="*/ 427937 h 721392"/>
                  <a:gd name="connsiteX18" fmla="*/ 257782 w 270502"/>
                  <a:gd name="connsiteY18" fmla="*/ 467703 h 721392"/>
                  <a:gd name="connsiteX19" fmla="*/ 226913 w 270502"/>
                  <a:gd name="connsiteY19" fmla="*/ 482882 h 721392"/>
                  <a:gd name="connsiteX20" fmla="*/ 210320 w 270502"/>
                  <a:gd name="connsiteY20" fmla="*/ 707475 h 721392"/>
                  <a:gd name="connsiteX21" fmla="*/ 195351 w 270502"/>
                  <a:gd name="connsiteY21" fmla="*/ 721392 h 721392"/>
                  <a:gd name="connsiteX22" fmla="*/ 75119 w 270502"/>
                  <a:gd name="connsiteY22" fmla="*/ 721392 h 721392"/>
                  <a:gd name="connsiteX23" fmla="*/ 60151 w 270502"/>
                  <a:gd name="connsiteY23" fmla="*/ 707475 h 721392"/>
                  <a:gd name="connsiteX24" fmla="*/ 43558 w 270502"/>
                  <a:gd name="connsiteY24" fmla="*/ 482882 h 721392"/>
                  <a:gd name="connsiteX25" fmla="*/ 12689 w 270502"/>
                  <a:gd name="connsiteY25" fmla="*/ 467703 h 721392"/>
                  <a:gd name="connsiteX26" fmla="*/ 335 w 270502"/>
                  <a:gd name="connsiteY26" fmla="*/ 427937 h 721392"/>
                  <a:gd name="connsiteX27" fmla="*/ 20264 w 270502"/>
                  <a:gd name="connsiteY27" fmla="*/ 253359 h 721392"/>
                  <a:gd name="connsiteX28" fmla="*/ 96852 w 270502"/>
                  <a:gd name="connsiteY28" fmla="*/ 180349 h 721392"/>
                  <a:gd name="connsiteX29" fmla="*/ 135235 w 270502"/>
                  <a:gd name="connsiteY29" fmla="*/ 120232 h 721392"/>
                  <a:gd name="connsiteX30" fmla="*/ 135234 w 270502"/>
                  <a:gd name="connsiteY30" fmla="*/ 120232 h 721392"/>
                  <a:gd name="connsiteX31" fmla="*/ 135235 w 270502"/>
                  <a:gd name="connsiteY31" fmla="*/ 120232 h 721392"/>
                  <a:gd name="connsiteX32" fmla="*/ 135234 w 270502"/>
                  <a:gd name="connsiteY32" fmla="*/ 0 h 721392"/>
                  <a:gd name="connsiteX33" fmla="*/ 210379 w 270502"/>
                  <a:gd name="connsiteY33" fmla="*/ 75145 h 721392"/>
                  <a:gd name="connsiteX34" fmla="*/ 135234 w 270502"/>
                  <a:gd name="connsiteY34" fmla="*/ 150290 h 721392"/>
                  <a:gd name="connsiteX35" fmla="*/ 60089 w 270502"/>
                  <a:gd name="connsiteY35" fmla="*/ 75145 h 721392"/>
                  <a:gd name="connsiteX36" fmla="*/ 135234 w 270502"/>
                  <a:gd name="connsiteY36"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181404 w 270502"/>
                  <a:gd name="connsiteY11" fmla="*/ 691333 h 721392"/>
                  <a:gd name="connsiteX12" fmla="*/ 89097 w 270502"/>
                  <a:gd name="connsiteY12" fmla="*/ 691333 h 721392"/>
                  <a:gd name="connsiteX13" fmla="*/ 96852 w 270502"/>
                  <a:gd name="connsiteY13" fmla="*/ 180349 h 721392"/>
                  <a:gd name="connsiteX14" fmla="*/ 173589 w 270502"/>
                  <a:gd name="connsiteY14" fmla="*/ 180349 h 721392"/>
                  <a:gd name="connsiteX15" fmla="*/ 250238 w 270502"/>
                  <a:gd name="connsiteY15" fmla="*/ 253359 h 721392"/>
                  <a:gd name="connsiteX16" fmla="*/ 270166 w 270502"/>
                  <a:gd name="connsiteY16" fmla="*/ 427937 h 721392"/>
                  <a:gd name="connsiteX17" fmla="*/ 257782 w 270502"/>
                  <a:gd name="connsiteY17" fmla="*/ 467703 h 721392"/>
                  <a:gd name="connsiteX18" fmla="*/ 226913 w 270502"/>
                  <a:gd name="connsiteY18" fmla="*/ 482882 h 721392"/>
                  <a:gd name="connsiteX19" fmla="*/ 210320 w 270502"/>
                  <a:gd name="connsiteY19" fmla="*/ 707475 h 721392"/>
                  <a:gd name="connsiteX20" fmla="*/ 195351 w 270502"/>
                  <a:gd name="connsiteY20" fmla="*/ 721392 h 721392"/>
                  <a:gd name="connsiteX21" fmla="*/ 75119 w 270502"/>
                  <a:gd name="connsiteY21" fmla="*/ 721392 h 721392"/>
                  <a:gd name="connsiteX22" fmla="*/ 60151 w 270502"/>
                  <a:gd name="connsiteY22" fmla="*/ 707475 h 721392"/>
                  <a:gd name="connsiteX23" fmla="*/ 43558 w 270502"/>
                  <a:gd name="connsiteY23" fmla="*/ 482882 h 721392"/>
                  <a:gd name="connsiteX24" fmla="*/ 12689 w 270502"/>
                  <a:gd name="connsiteY24" fmla="*/ 467703 h 721392"/>
                  <a:gd name="connsiteX25" fmla="*/ 335 w 270502"/>
                  <a:gd name="connsiteY25" fmla="*/ 427937 h 721392"/>
                  <a:gd name="connsiteX26" fmla="*/ 20264 w 270502"/>
                  <a:gd name="connsiteY26" fmla="*/ 253359 h 721392"/>
                  <a:gd name="connsiteX27" fmla="*/ 96852 w 270502"/>
                  <a:gd name="connsiteY27" fmla="*/ 180349 h 721392"/>
                  <a:gd name="connsiteX28" fmla="*/ 135235 w 270502"/>
                  <a:gd name="connsiteY28" fmla="*/ 120232 h 721392"/>
                  <a:gd name="connsiteX29" fmla="*/ 135234 w 270502"/>
                  <a:gd name="connsiteY29" fmla="*/ 120232 h 721392"/>
                  <a:gd name="connsiteX30" fmla="*/ 135235 w 270502"/>
                  <a:gd name="connsiteY30" fmla="*/ 120232 h 721392"/>
                  <a:gd name="connsiteX31" fmla="*/ 135234 w 270502"/>
                  <a:gd name="connsiteY31" fmla="*/ 0 h 721392"/>
                  <a:gd name="connsiteX32" fmla="*/ 210379 w 270502"/>
                  <a:gd name="connsiteY32" fmla="*/ 75145 h 721392"/>
                  <a:gd name="connsiteX33" fmla="*/ 135234 w 270502"/>
                  <a:gd name="connsiteY33" fmla="*/ 150290 h 721392"/>
                  <a:gd name="connsiteX34" fmla="*/ 60089 w 270502"/>
                  <a:gd name="connsiteY34" fmla="*/ 75145 h 721392"/>
                  <a:gd name="connsiteX35" fmla="*/ 135234 w 270502"/>
                  <a:gd name="connsiteY35"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181404 w 270502"/>
                  <a:gd name="connsiteY10" fmla="*/ 691333 h 721392"/>
                  <a:gd name="connsiteX11" fmla="*/ 89097 w 270502"/>
                  <a:gd name="connsiteY11" fmla="*/ 691333 h 721392"/>
                  <a:gd name="connsiteX12" fmla="*/ 96852 w 270502"/>
                  <a:gd name="connsiteY12" fmla="*/ 180349 h 721392"/>
                  <a:gd name="connsiteX13" fmla="*/ 173589 w 270502"/>
                  <a:gd name="connsiteY13" fmla="*/ 180349 h 721392"/>
                  <a:gd name="connsiteX14" fmla="*/ 250238 w 270502"/>
                  <a:gd name="connsiteY14" fmla="*/ 253359 h 721392"/>
                  <a:gd name="connsiteX15" fmla="*/ 270166 w 270502"/>
                  <a:gd name="connsiteY15" fmla="*/ 427937 h 721392"/>
                  <a:gd name="connsiteX16" fmla="*/ 257782 w 270502"/>
                  <a:gd name="connsiteY16" fmla="*/ 467703 h 721392"/>
                  <a:gd name="connsiteX17" fmla="*/ 226913 w 270502"/>
                  <a:gd name="connsiteY17" fmla="*/ 482882 h 721392"/>
                  <a:gd name="connsiteX18" fmla="*/ 210320 w 270502"/>
                  <a:gd name="connsiteY18" fmla="*/ 707475 h 721392"/>
                  <a:gd name="connsiteX19" fmla="*/ 195351 w 270502"/>
                  <a:gd name="connsiteY19" fmla="*/ 721392 h 721392"/>
                  <a:gd name="connsiteX20" fmla="*/ 75119 w 270502"/>
                  <a:gd name="connsiteY20" fmla="*/ 721392 h 721392"/>
                  <a:gd name="connsiteX21" fmla="*/ 60151 w 270502"/>
                  <a:gd name="connsiteY21" fmla="*/ 707475 h 721392"/>
                  <a:gd name="connsiteX22" fmla="*/ 43558 w 270502"/>
                  <a:gd name="connsiteY22" fmla="*/ 482882 h 721392"/>
                  <a:gd name="connsiteX23" fmla="*/ 12689 w 270502"/>
                  <a:gd name="connsiteY23" fmla="*/ 467703 h 721392"/>
                  <a:gd name="connsiteX24" fmla="*/ 335 w 270502"/>
                  <a:gd name="connsiteY24" fmla="*/ 427937 h 721392"/>
                  <a:gd name="connsiteX25" fmla="*/ 20264 w 270502"/>
                  <a:gd name="connsiteY25" fmla="*/ 253359 h 721392"/>
                  <a:gd name="connsiteX26" fmla="*/ 96852 w 270502"/>
                  <a:gd name="connsiteY26" fmla="*/ 180349 h 721392"/>
                  <a:gd name="connsiteX27" fmla="*/ 135235 w 270502"/>
                  <a:gd name="connsiteY27" fmla="*/ 120232 h 721392"/>
                  <a:gd name="connsiteX28" fmla="*/ 135234 w 270502"/>
                  <a:gd name="connsiteY28" fmla="*/ 120232 h 721392"/>
                  <a:gd name="connsiteX29" fmla="*/ 135235 w 270502"/>
                  <a:gd name="connsiteY29" fmla="*/ 120232 h 721392"/>
                  <a:gd name="connsiteX30" fmla="*/ 135234 w 270502"/>
                  <a:gd name="connsiteY30" fmla="*/ 0 h 721392"/>
                  <a:gd name="connsiteX31" fmla="*/ 210379 w 270502"/>
                  <a:gd name="connsiteY31" fmla="*/ 75145 h 721392"/>
                  <a:gd name="connsiteX32" fmla="*/ 135234 w 270502"/>
                  <a:gd name="connsiteY32" fmla="*/ 150290 h 721392"/>
                  <a:gd name="connsiteX33" fmla="*/ 60089 w 270502"/>
                  <a:gd name="connsiteY33" fmla="*/ 75145 h 721392"/>
                  <a:gd name="connsiteX34" fmla="*/ 135234 w 270502"/>
                  <a:gd name="connsiteY34"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235419 w 270502"/>
                  <a:gd name="connsiteY8" fmla="*/ 447684 h 721392"/>
                  <a:gd name="connsiteX9" fmla="*/ 181404 w 270502"/>
                  <a:gd name="connsiteY9" fmla="*/ 691333 h 721392"/>
                  <a:gd name="connsiteX10" fmla="*/ 89097 w 270502"/>
                  <a:gd name="connsiteY10" fmla="*/ 691333 h 721392"/>
                  <a:gd name="connsiteX11" fmla="*/ 96852 w 270502"/>
                  <a:gd name="connsiteY11" fmla="*/ 180349 h 721392"/>
                  <a:gd name="connsiteX12" fmla="*/ 173589 w 270502"/>
                  <a:gd name="connsiteY12" fmla="*/ 180349 h 721392"/>
                  <a:gd name="connsiteX13" fmla="*/ 250238 w 270502"/>
                  <a:gd name="connsiteY13" fmla="*/ 253359 h 721392"/>
                  <a:gd name="connsiteX14" fmla="*/ 270166 w 270502"/>
                  <a:gd name="connsiteY14" fmla="*/ 427937 h 721392"/>
                  <a:gd name="connsiteX15" fmla="*/ 257782 w 270502"/>
                  <a:gd name="connsiteY15" fmla="*/ 467703 h 721392"/>
                  <a:gd name="connsiteX16" fmla="*/ 226913 w 270502"/>
                  <a:gd name="connsiteY16" fmla="*/ 482882 h 721392"/>
                  <a:gd name="connsiteX17" fmla="*/ 210320 w 270502"/>
                  <a:gd name="connsiteY17" fmla="*/ 707475 h 721392"/>
                  <a:gd name="connsiteX18" fmla="*/ 195351 w 270502"/>
                  <a:gd name="connsiteY18" fmla="*/ 721392 h 721392"/>
                  <a:gd name="connsiteX19" fmla="*/ 75119 w 270502"/>
                  <a:gd name="connsiteY19" fmla="*/ 721392 h 721392"/>
                  <a:gd name="connsiteX20" fmla="*/ 60151 w 270502"/>
                  <a:gd name="connsiteY20" fmla="*/ 707475 h 721392"/>
                  <a:gd name="connsiteX21" fmla="*/ 43558 w 270502"/>
                  <a:gd name="connsiteY21" fmla="*/ 482882 h 721392"/>
                  <a:gd name="connsiteX22" fmla="*/ 12689 w 270502"/>
                  <a:gd name="connsiteY22" fmla="*/ 467703 h 721392"/>
                  <a:gd name="connsiteX23" fmla="*/ 335 w 270502"/>
                  <a:gd name="connsiteY23" fmla="*/ 427937 h 721392"/>
                  <a:gd name="connsiteX24" fmla="*/ 20264 w 270502"/>
                  <a:gd name="connsiteY24" fmla="*/ 253359 h 721392"/>
                  <a:gd name="connsiteX25" fmla="*/ 96852 w 270502"/>
                  <a:gd name="connsiteY25" fmla="*/ 180349 h 721392"/>
                  <a:gd name="connsiteX26" fmla="*/ 135235 w 270502"/>
                  <a:gd name="connsiteY26" fmla="*/ 120232 h 721392"/>
                  <a:gd name="connsiteX27" fmla="*/ 135234 w 270502"/>
                  <a:gd name="connsiteY27" fmla="*/ 120232 h 721392"/>
                  <a:gd name="connsiteX28" fmla="*/ 135235 w 270502"/>
                  <a:gd name="connsiteY28" fmla="*/ 120232 h 721392"/>
                  <a:gd name="connsiteX29" fmla="*/ 135234 w 270502"/>
                  <a:gd name="connsiteY29" fmla="*/ 0 h 721392"/>
                  <a:gd name="connsiteX30" fmla="*/ 210379 w 270502"/>
                  <a:gd name="connsiteY30" fmla="*/ 75145 h 721392"/>
                  <a:gd name="connsiteX31" fmla="*/ 135234 w 270502"/>
                  <a:gd name="connsiteY31" fmla="*/ 150290 h 721392"/>
                  <a:gd name="connsiteX32" fmla="*/ 60089 w 270502"/>
                  <a:gd name="connsiteY32" fmla="*/ 75145 h 721392"/>
                  <a:gd name="connsiteX33" fmla="*/ 135234 w 270502"/>
                  <a:gd name="connsiteY33"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181404 w 270502"/>
                  <a:gd name="connsiteY8" fmla="*/ 691333 h 721392"/>
                  <a:gd name="connsiteX9" fmla="*/ 89097 w 270502"/>
                  <a:gd name="connsiteY9" fmla="*/ 691333 h 721392"/>
                  <a:gd name="connsiteX10" fmla="*/ 96852 w 270502"/>
                  <a:gd name="connsiteY10" fmla="*/ 180349 h 721392"/>
                  <a:gd name="connsiteX11" fmla="*/ 173589 w 270502"/>
                  <a:gd name="connsiteY11" fmla="*/ 180349 h 721392"/>
                  <a:gd name="connsiteX12" fmla="*/ 250238 w 270502"/>
                  <a:gd name="connsiteY12" fmla="*/ 253359 h 721392"/>
                  <a:gd name="connsiteX13" fmla="*/ 270166 w 270502"/>
                  <a:gd name="connsiteY13" fmla="*/ 427937 h 721392"/>
                  <a:gd name="connsiteX14" fmla="*/ 257782 w 270502"/>
                  <a:gd name="connsiteY14" fmla="*/ 467703 h 721392"/>
                  <a:gd name="connsiteX15" fmla="*/ 226913 w 270502"/>
                  <a:gd name="connsiteY15" fmla="*/ 482882 h 721392"/>
                  <a:gd name="connsiteX16" fmla="*/ 210320 w 270502"/>
                  <a:gd name="connsiteY16" fmla="*/ 707475 h 721392"/>
                  <a:gd name="connsiteX17" fmla="*/ 195351 w 270502"/>
                  <a:gd name="connsiteY17" fmla="*/ 721392 h 721392"/>
                  <a:gd name="connsiteX18" fmla="*/ 75119 w 270502"/>
                  <a:gd name="connsiteY18" fmla="*/ 721392 h 721392"/>
                  <a:gd name="connsiteX19" fmla="*/ 60151 w 270502"/>
                  <a:gd name="connsiteY19" fmla="*/ 707475 h 721392"/>
                  <a:gd name="connsiteX20" fmla="*/ 43558 w 270502"/>
                  <a:gd name="connsiteY20" fmla="*/ 482882 h 721392"/>
                  <a:gd name="connsiteX21" fmla="*/ 12689 w 270502"/>
                  <a:gd name="connsiteY21" fmla="*/ 467703 h 721392"/>
                  <a:gd name="connsiteX22" fmla="*/ 335 w 270502"/>
                  <a:gd name="connsiteY22" fmla="*/ 427937 h 721392"/>
                  <a:gd name="connsiteX23" fmla="*/ 20264 w 270502"/>
                  <a:gd name="connsiteY23" fmla="*/ 253359 h 721392"/>
                  <a:gd name="connsiteX24" fmla="*/ 96852 w 270502"/>
                  <a:gd name="connsiteY24" fmla="*/ 180349 h 721392"/>
                  <a:gd name="connsiteX25" fmla="*/ 135235 w 270502"/>
                  <a:gd name="connsiteY25" fmla="*/ 120232 h 721392"/>
                  <a:gd name="connsiteX26" fmla="*/ 135234 w 270502"/>
                  <a:gd name="connsiteY26" fmla="*/ 120232 h 721392"/>
                  <a:gd name="connsiteX27" fmla="*/ 135235 w 270502"/>
                  <a:gd name="connsiteY27" fmla="*/ 120232 h 721392"/>
                  <a:gd name="connsiteX28" fmla="*/ 135234 w 270502"/>
                  <a:gd name="connsiteY28" fmla="*/ 0 h 721392"/>
                  <a:gd name="connsiteX29" fmla="*/ 210379 w 270502"/>
                  <a:gd name="connsiteY29" fmla="*/ 75145 h 721392"/>
                  <a:gd name="connsiteX30" fmla="*/ 135234 w 270502"/>
                  <a:gd name="connsiteY30" fmla="*/ 150290 h 721392"/>
                  <a:gd name="connsiteX31" fmla="*/ 60089 w 270502"/>
                  <a:gd name="connsiteY31" fmla="*/ 75145 h 721392"/>
                  <a:gd name="connsiteX32" fmla="*/ 135234 w 270502"/>
                  <a:gd name="connsiteY32"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181404 w 270502"/>
                  <a:gd name="connsiteY7" fmla="*/ 691333 h 721392"/>
                  <a:gd name="connsiteX8" fmla="*/ 89097 w 270502"/>
                  <a:gd name="connsiteY8" fmla="*/ 691333 h 721392"/>
                  <a:gd name="connsiteX9" fmla="*/ 96852 w 270502"/>
                  <a:gd name="connsiteY9" fmla="*/ 180349 h 721392"/>
                  <a:gd name="connsiteX10" fmla="*/ 173589 w 270502"/>
                  <a:gd name="connsiteY10" fmla="*/ 180349 h 721392"/>
                  <a:gd name="connsiteX11" fmla="*/ 250238 w 270502"/>
                  <a:gd name="connsiteY11" fmla="*/ 253359 h 721392"/>
                  <a:gd name="connsiteX12" fmla="*/ 270166 w 270502"/>
                  <a:gd name="connsiteY12" fmla="*/ 427937 h 721392"/>
                  <a:gd name="connsiteX13" fmla="*/ 257782 w 270502"/>
                  <a:gd name="connsiteY13" fmla="*/ 467703 h 721392"/>
                  <a:gd name="connsiteX14" fmla="*/ 226913 w 270502"/>
                  <a:gd name="connsiteY14" fmla="*/ 482882 h 721392"/>
                  <a:gd name="connsiteX15" fmla="*/ 210320 w 270502"/>
                  <a:gd name="connsiteY15" fmla="*/ 707475 h 721392"/>
                  <a:gd name="connsiteX16" fmla="*/ 195351 w 270502"/>
                  <a:gd name="connsiteY16" fmla="*/ 721392 h 721392"/>
                  <a:gd name="connsiteX17" fmla="*/ 75119 w 270502"/>
                  <a:gd name="connsiteY17" fmla="*/ 721392 h 721392"/>
                  <a:gd name="connsiteX18" fmla="*/ 60151 w 270502"/>
                  <a:gd name="connsiteY18" fmla="*/ 707475 h 721392"/>
                  <a:gd name="connsiteX19" fmla="*/ 43558 w 270502"/>
                  <a:gd name="connsiteY19" fmla="*/ 482882 h 721392"/>
                  <a:gd name="connsiteX20" fmla="*/ 12689 w 270502"/>
                  <a:gd name="connsiteY20" fmla="*/ 467703 h 721392"/>
                  <a:gd name="connsiteX21" fmla="*/ 335 w 270502"/>
                  <a:gd name="connsiteY21" fmla="*/ 427937 h 721392"/>
                  <a:gd name="connsiteX22" fmla="*/ 20264 w 270502"/>
                  <a:gd name="connsiteY22" fmla="*/ 253359 h 721392"/>
                  <a:gd name="connsiteX23" fmla="*/ 96852 w 270502"/>
                  <a:gd name="connsiteY23" fmla="*/ 180349 h 721392"/>
                  <a:gd name="connsiteX24" fmla="*/ 135235 w 270502"/>
                  <a:gd name="connsiteY24" fmla="*/ 120232 h 721392"/>
                  <a:gd name="connsiteX25" fmla="*/ 135234 w 270502"/>
                  <a:gd name="connsiteY25" fmla="*/ 120232 h 721392"/>
                  <a:gd name="connsiteX26" fmla="*/ 135235 w 270502"/>
                  <a:gd name="connsiteY26" fmla="*/ 120232 h 721392"/>
                  <a:gd name="connsiteX27" fmla="*/ 135234 w 270502"/>
                  <a:gd name="connsiteY27" fmla="*/ 0 h 721392"/>
                  <a:gd name="connsiteX28" fmla="*/ 210379 w 270502"/>
                  <a:gd name="connsiteY28" fmla="*/ 75145 h 721392"/>
                  <a:gd name="connsiteX29" fmla="*/ 135234 w 270502"/>
                  <a:gd name="connsiteY29" fmla="*/ 150290 h 721392"/>
                  <a:gd name="connsiteX30" fmla="*/ 60089 w 270502"/>
                  <a:gd name="connsiteY30" fmla="*/ 75145 h 721392"/>
                  <a:gd name="connsiteX31" fmla="*/ 135234 w 270502"/>
                  <a:gd name="connsiteY31"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240348 w 270502"/>
                  <a:gd name="connsiteY5" fmla="*/ 431333 h 721392"/>
                  <a:gd name="connsiteX6" fmla="*/ 181404 w 270502"/>
                  <a:gd name="connsiteY6" fmla="*/ 691333 h 721392"/>
                  <a:gd name="connsiteX7" fmla="*/ 89097 w 270502"/>
                  <a:gd name="connsiteY7" fmla="*/ 691333 h 721392"/>
                  <a:gd name="connsiteX8" fmla="*/ 96852 w 270502"/>
                  <a:gd name="connsiteY8" fmla="*/ 180349 h 721392"/>
                  <a:gd name="connsiteX9" fmla="*/ 173589 w 270502"/>
                  <a:gd name="connsiteY9" fmla="*/ 180349 h 721392"/>
                  <a:gd name="connsiteX10" fmla="*/ 250238 w 270502"/>
                  <a:gd name="connsiteY10" fmla="*/ 253359 h 721392"/>
                  <a:gd name="connsiteX11" fmla="*/ 270166 w 270502"/>
                  <a:gd name="connsiteY11" fmla="*/ 427937 h 721392"/>
                  <a:gd name="connsiteX12" fmla="*/ 257782 w 270502"/>
                  <a:gd name="connsiteY12" fmla="*/ 467703 h 721392"/>
                  <a:gd name="connsiteX13" fmla="*/ 226913 w 270502"/>
                  <a:gd name="connsiteY13" fmla="*/ 482882 h 721392"/>
                  <a:gd name="connsiteX14" fmla="*/ 210320 w 270502"/>
                  <a:gd name="connsiteY14" fmla="*/ 707475 h 721392"/>
                  <a:gd name="connsiteX15" fmla="*/ 195351 w 270502"/>
                  <a:gd name="connsiteY15" fmla="*/ 721392 h 721392"/>
                  <a:gd name="connsiteX16" fmla="*/ 75119 w 270502"/>
                  <a:gd name="connsiteY16" fmla="*/ 721392 h 721392"/>
                  <a:gd name="connsiteX17" fmla="*/ 60151 w 270502"/>
                  <a:gd name="connsiteY17" fmla="*/ 707475 h 721392"/>
                  <a:gd name="connsiteX18" fmla="*/ 43558 w 270502"/>
                  <a:gd name="connsiteY18" fmla="*/ 482882 h 721392"/>
                  <a:gd name="connsiteX19" fmla="*/ 12689 w 270502"/>
                  <a:gd name="connsiteY19" fmla="*/ 467703 h 721392"/>
                  <a:gd name="connsiteX20" fmla="*/ 335 w 270502"/>
                  <a:gd name="connsiteY20" fmla="*/ 427937 h 721392"/>
                  <a:gd name="connsiteX21" fmla="*/ 20264 w 270502"/>
                  <a:gd name="connsiteY21" fmla="*/ 253359 h 721392"/>
                  <a:gd name="connsiteX22" fmla="*/ 96852 w 270502"/>
                  <a:gd name="connsiteY22" fmla="*/ 180349 h 721392"/>
                  <a:gd name="connsiteX23" fmla="*/ 135235 w 270502"/>
                  <a:gd name="connsiteY23" fmla="*/ 120232 h 721392"/>
                  <a:gd name="connsiteX24" fmla="*/ 135234 w 270502"/>
                  <a:gd name="connsiteY24" fmla="*/ 120232 h 721392"/>
                  <a:gd name="connsiteX25" fmla="*/ 135235 w 270502"/>
                  <a:gd name="connsiteY25" fmla="*/ 120232 h 721392"/>
                  <a:gd name="connsiteX26" fmla="*/ 135234 w 270502"/>
                  <a:gd name="connsiteY26" fmla="*/ 0 h 721392"/>
                  <a:gd name="connsiteX27" fmla="*/ 210379 w 270502"/>
                  <a:gd name="connsiteY27" fmla="*/ 75145 h 721392"/>
                  <a:gd name="connsiteX28" fmla="*/ 135234 w 270502"/>
                  <a:gd name="connsiteY28" fmla="*/ 150290 h 721392"/>
                  <a:gd name="connsiteX29" fmla="*/ 60089 w 270502"/>
                  <a:gd name="connsiteY29" fmla="*/ 75145 h 721392"/>
                  <a:gd name="connsiteX30" fmla="*/ 135234 w 270502"/>
                  <a:gd name="connsiteY30"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181404 w 270502"/>
                  <a:gd name="connsiteY5" fmla="*/ 691333 h 721392"/>
                  <a:gd name="connsiteX6" fmla="*/ 89097 w 270502"/>
                  <a:gd name="connsiteY6" fmla="*/ 691333 h 721392"/>
                  <a:gd name="connsiteX7" fmla="*/ 96852 w 270502"/>
                  <a:gd name="connsiteY7" fmla="*/ 180349 h 721392"/>
                  <a:gd name="connsiteX8" fmla="*/ 173589 w 270502"/>
                  <a:gd name="connsiteY8" fmla="*/ 180349 h 721392"/>
                  <a:gd name="connsiteX9" fmla="*/ 250238 w 270502"/>
                  <a:gd name="connsiteY9" fmla="*/ 253359 h 721392"/>
                  <a:gd name="connsiteX10" fmla="*/ 270166 w 270502"/>
                  <a:gd name="connsiteY10" fmla="*/ 427937 h 721392"/>
                  <a:gd name="connsiteX11" fmla="*/ 257782 w 270502"/>
                  <a:gd name="connsiteY11" fmla="*/ 467703 h 721392"/>
                  <a:gd name="connsiteX12" fmla="*/ 226913 w 270502"/>
                  <a:gd name="connsiteY12" fmla="*/ 482882 h 721392"/>
                  <a:gd name="connsiteX13" fmla="*/ 210320 w 270502"/>
                  <a:gd name="connsiteY13" fmla="*/ 707475 h 721392"/>
                  <a:gd name="connsiteX14" fmla="*/ 195351 w 270502"/>
                  <a:gd name="connsiteY14" fmla="*/ 721392 h 721392"/>
                  <a:gd name="connsiteX15" fmla="*/ 75119 w 270502"/>
                  <a:gd name="connsiteY15" fmla="*/ 721392 h 721392"/>
                  <a:gd name="connsiteX16" fmla="*/ 60151 w 270502"/>
                  <a:gd name="connsiteY16" fmla="*/ 707475 h 721392"/>
                  <a:gd name="connsiteX17" fmla="*/ 43558 w 270502"/>
                  <a:gd name="connsiteY17" fmla="*/ 482882 h 721392"/>
                  <a:gd name="connsiteX18" fmla="*/ 12689 w 270502"/>
                  <a:gd name="connsiteY18" fmla="*/ 467703 h 721392"/>
                  <a:gd name="connsiteX19" fmla="*/ 335 w 270502"/>
                  <a:gd name="connsiteY19" fmla="*/ 427937 h 721392"/>
                  <a:gd name="connsiteX20" fmla="*/ 20264 w 270502"/>
                  <a:gd name="connsiteY20" fmla="*/ 253359 h 721392"/>
                  <a:gd name="connsiteX21" fmla="*/ 96852 w 270502"/>
                  <a:gd name="connsiteY21" fmla="*/ 180349 h 721392"/>
                  <a:gd name="connsiteX22" fmla="*/ 135235 w 270502"/>
                  <a:gd name="connsiteY22" fmla="*/ 120232 h 721392"/>
                  <a:gd name="connsiteX23" fmla="*/ 135234 w 270502"/>
                  <a:gd name="connsiteY23" fmla="*/ 120232 h 721392"/>
                  <a:gd name="connsiteX24" fmla="*/ 135235 w 270502"/>
                  <a:gd name="connsiteY24" fmla="*/ 120232 h 721392"/>
                  <a:gd name="connsiteX25" fmla="*/ 135234 w 270502"/>
                  <a:gd name="connsiteY25" fmla="*/ 0 h 721392"/>
                  <a:gd name="connsiteX26" fmla="*/ 210379 w 270502"/>
                  <a:gd name="connsiteY26" fmla="*/ 75145 h 721392"/>
                  <a:gd name="connsiteX27" fmla="*/ 135234 w 270502"/>
                  <a:gd name="connsiteY27" fmla="*/ 150290 h 721392"/>
                  <a:gd name="connsiteX28" fmla="*/ 60089 w 270502"/>
                  <a:gd name="connsiteY28" fmla="*/ 75145 h 721392"/>
                  <a:gd name="connsiteX29" fmla="*/ 135234 w 270502"/>
                  <a:gd name="connsiteY29"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181404 w 270502"/>
                  <a:gd name="connsiteY4" fmla="*/ 691333 h 721392"/>
                  <a:gd name="connsiteX5" fmla="*/ 89097 w 270502"/>
                  <a:gd name="connsiteY5" fmla="*/ 691333 h 721392"/>
                  <a:gd name="connsiteX6" fmla="*/ 96852 w 270502"/>
                  <a:gd name="connsiteY6" fmla="*/ 180349 h 721392"/>
                  <a:gd name="connsiteX7" fmla="*/ 173589 w 270502"/>
                  <a:gd name="connsiteY7" fmla="*/ 180349 h 721392"/>
                  <a:gd name="connsiteX8" fmla="*/ 250238 w 270502"/>
                  <a:gd name="connsiteY8" fmla="*/ 253359 h 721392"/>
                  <a:gd name="connsiteX9" fmla="*/ 270166 w 270502"/>
                  <a:gd name="connsiteY9" fmla="*/ 427937 h 721392"/>
                  <a:gd name="connsiteX10" fmla="*/ 257782 w 270502"/>
                  <a:gd name="connsiteY10" fmla="*/ 467703 h 721392"/>
                  <a:gd name="connsiteX11" fmla="*/ 226913 w 270502"/>
                  <a:gd name="connsiteY11" fmla="*/ 482882 h 721392"/>
                  <a:gd name="connsiteX12" fmla="*/ 210320 w 270502"/>
                  <a:gd name="connsiteY12" fmla="*/ 707475 h 721392"/>
                  <a:gd name="connsiteX13" fmla="*/ 195351 w 270502"/>
                  <a:gd name="connsiteY13" fmla="*/ 721392 h 721392"/>
                  <a:gd name="connsiteX14" fmla="*/ 75119 w 270502"/>
                  <a:gd name="connsiteY14" fmla="*/ 721392 h 721392"/>
                  <a:gd name="connsiteX15" fmla="*/ 60151 w 270502"/>
                  <a:gd name="connsiteY15" fmla="*/ 707475 h 721392"/>
                  <a:gd name="connsiteX16" fmla="*/ 43558 w 270502"/>
                  <a:gd name="connsiteY16" fmla="*/ 482882 h 721392"/>
                  <a:gd name="connsiteX17" fmla="*/ 12689 w 270502"/>
                  <a:gd name="connsiteY17" fmla="*/ 467703 h 721392"/>
                  <a:gd name="connsiteX18" fmla="*/ 335 w 270502"/>
                  <a:gd name="connsiteY18" fmla="*/ 427937 h 721392"/>
                  <a:gd name="connsiteX19" fmla="*/ 20264 w 270502"/>
                  <a:gd name="connsiteY19" fmla="*/ 253359 h 721392"/>
                  <a:gd name="connsiteX20" fmla="*/ 96852 w 270502"/>
                  <a:gd name="connsiteY20" fmla="*/ 180349 h 721392"/>
                  <a:gd name="connsiteX21" fmla="*/ 135235 w 270502"/>
                  <a:gd name="connsiteY21" fmla="*/ 120232 h 721392"/>
                  <a:gd name="connsiteX22" fmla="*/ 135234 w 270502"/>
                  <a:gd name="connsiteY22" fmla="*/ 120232 h 721392"/>
                  <a:gd name="connsiteX23" fmla="*/ 135235 w 270502"/>
                  <a:gd name="connsiteY23" fmla="*/ 120232 h 721392"/>
                  <a:gd name="connsiteX24" fmla="*/ 135234 w 270502"/>
                  <a:gd name="connsiteY24" fmla="*/ 0 h 721392"/>
                  <a:gd name="connsiteX25" fmla="*/ 210379 w 270502"/>
                  <a:gd name="connsiteY25" fmla="*/ 75145 h 721392"/>
                  <a:gd name="connsiteX26" fmla="*/ 135234 w 270502"/>
                  <a:gd name="connsiteY26" fmla="*/ 150290 h 721392"/>
                  <a:gd name="connsiteX27" fmla="*/ 60089 w 270502"/>
                  <a:gd name="connsiteY27" fmla="*/ 75145 h 721392"/>
                  <a:gd name="connsiteX28" fmla="*/ 135234 w 270502"/>
                  <a:gd name="connsiteY2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81404 w 270502"/>
                  <a:gd name="connsiteY3" fmla="*/ 691333 h 721392"/>
                  <a:gd name="connsiteX4" fmla="*/ 89097 w 270502"/>
                  <a:gd name="connsiteY4" fmla="*/ 691333 h 721392"/>
                  <a:gd name="connsiteX5" fmla="*/ 96852 w 270502"/>
                  <a:gd name="connsiteY5" fmla="*/ 180349 h 721392"/>
                  <a:gd name="connsiteX6" fmla="*/ 173589 w 270502"/>
                  <a:gd name="connsiteY6" fmla="*/ 180349 h 721392"/>
                  <a:gd name="connsiteX7" fmla="*/ 250238 w 270502"/>
                  <a:gd name="connsiteY7" fmla="*/ 253359 h 721392"/>
                  <a:gd name="connsiteX8" fmla="*/ 270166 w 270502"/>
                  <a:gd name="connsiteY8" fmla="*/ 427937 h 721392"/>
                  <a:gd name="connsiteX9" fmla="*/ 257782 w 270502"/>
                  <a:gd name="connsiteY9" fmla="*/ 467703 h 721392"/>
                  <a:gd name="connsiteX10" fmla="*/ 226913 w 270502"/>
                  <a:gd name="connsiteY10" fmla="*/ 482882 h 721392"/>
                  <a:gd name="connsiteX11" fmla="*/ 210320 w 270502"/>
                  <a:gd name="connsiteY11" fmla="*/ 707475 h 721392"/>
                  <a:gd name="connsiteX12" fmla="*/ 195351 w 270502"/>
                  <a:gd name="connsiteY12" fmla="*/ 721392 h 721392"/>
                  <a:gd name="connsiteX13" fmla="*/ 75119 w 270502"/>
                  <a:gd name="connsiteY13" fmla="*/ 721392 h 721392"/>
                  <a:gd name="connsiteX14" fmla="*/ 60151 w 270502"/>
                  <a:gd name="connsiteY14" fmla="*/ 707475 h 721392"/>
                  <a:gd name="connsiteX15" fmla="*/ 43558 w 270502"/>
                  <a:gd name="connsiteY15" fmla="*/ 482882 h 721392"/>
                  <a:gd name="connsiteX16" fmla="*/ 12689 w 270502"/>
                  <a:gd name="connsiteY16" fmla="*/ 467703 h 721392"/>
                  <a:gd name="connsiteX17" fmla="*/ 335 w 270502"/>
                  <a:gd name="connsiteY17" fmla="*/ 427937 h 721392"/>
                  <a:gd name="connsiteX18" fmla="*/ 20264 w 270502"/>
                  <a:gd name="connsiteY18" fmla="*/ 253359 h 721392"/>
                  <a:gd name="connsiteX19" fmla="*/ 96852 w 270502"/>
                  <a:gd name="connsiteY19" fmla="*/ 180349 h 721392"/>
                  <a:gd name="connsiteX20" fmla="*/ 135235 w 270502"/>
                  <a:gd name="connsiteY20" fmla="*/ 120232 h 721392"/>
                  <a:gd name="connsiteX21" fmla="*/ 135234 w 270502"/>
                  <a:gd name="connsiteY21" fmla="*/ 120232 h 721392"/>
                  <a:gd name="connsiteX22" fmla="*/ 135235 w 270502"/>
                  <a:gd name="connsiteY22" fmla="*/ 120232 h 721392"/>
                  <a:gd name="connsiteX23" fmla="*/ 135234 w 270502"/>
                  <a:gd name="connsiteY23" fmla="*/ 0 h 721392"/>
                  <a:gd name="connsiteX24" fmla="*/ 210379 w 270502"/>
                  <a:gd name="connsiteY24" fmla="*/ 75145 h 721392"/>
                  <a:gd name="connsiteX25" fmla="*/ 135234 w 270502"/>
                  <a:gd name="connsiteY25" fmla="*/ 150290 h 721392"/>
                  <a:gd name="connsiteX26" fmla="*/ 60089 w 270502"/>
                  <a:gd name="connsiteY26" fmla="*/ 75145 h 721392"/>
                  <a:gd name="connsiteX27" fmla="*/ 135234 w 270502"/>
                  <a:gd name="connsiteY2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89097 w 270502"/>
                  <a:gd name="connsiteY3" fmla="*/ 691333 h 721392"/>
                  <a:gd name="connsiteX4" fmla="*/ 96852 w 270502"/>
                  <a:gd name="connsiteY4" fmla="*/ 180349 h 721392"/>
                  <a:gd name="connsiteX5" fmla="*/ 173589 w 270502"/>
                  <a:gd name="connsiteY5" fmla="*/ 180349 h 721392"/>
                  <a:gd name="connsiteX6" fmla="*/ 250238 w 270502"/>
                  <a:gd name="connsiteY6" fmla="*/ 253359 h 721392"/>
                  <a:gd name="connsiteX7" fmla="*/ 270166 w 270502"/>
                  <a:gd name="connsiteY7" fmla="*/ 427937 h 721392"/>
                  <a:gd name="connsiteX8" fmla="*/ 257782 w 270502"/>
                  <a:gd name="connsiteY8" fmla="*/ 467703 h 721392"/>
                  <a:gd name="connsiteX9" fmla="*/ 226913 w 270502"/>
                  <a:gd name="connsiteY9" fmla="*/ 482882 h 721392"/>
                  <a:gd name="connsiteX10" fmla="*/ 210320 w 270502"/>
                  <a:gd name="connsiteY10" fmla="*/ 707475 h 721392"/>
                  <a:gd name="connsiteX11" fmla="*/ 195351 w 270502"/>
                  <a:gd name="connsiteY11" fmla="*/ 721392 h 721392"/>
                  <a:gd name="connsiteX12" fmla="*/ 75119 w 270502"/>
                  <a:gd name="connsiteY12" fmla="*/ 721392 h 721392"/>
                  <a:gd name="connsiteX13" fmla="*/ 60151 w 270502"/>
                  <a:gd name="connsiteY13" fmla="*/ 707475 h 721392"/>
                  <a:gd name="connsiteX14" fmla="*/ 43558 w 270502"/>
                  <a:gd name="connsiteY14" fmla="*/ 482882 h 721392"/>
                  <a:gd name="connsiteX15" fmla="*/ 12689 w 270502"/>
                  <a:gd name="connsiteY15" fmla="*/ 467703 h 721392"/>
                  <a:gd name="connsiteX16" fmla="*/ 335 w 270502"/>
                  <a:gd name="connsiteY16" fmla="*/ 427937 h 721392"/>
                  <a:gd name="connsiteX17" fmla="*/ 20264 w 270502"/>
                  <a:gd name="connsiteY17" fmla="*/ 253359 h 721392"/>
                  <a:gd name="connsiteX18" fmla="*/ 96852 w 270502"/>
                  <a:gd name="connsiteY18" fmla="*/ 180349 h 721392"/>
                  <a:gd name="connsiteX19" fmla="*/ 135235 w 270502"/>
                  <a:gd name="connsiteY19" fmla="*/ 120232 h 721392"/>
                  <a:gd name="connsiteX20" fmla="*/ 135234 w 270502"/>
                  <a:gd name="connsiteY20" fmla="*/ 120232 h 721392"/>
                  <a:gd name="connsiteX21" fmla="*/ 135235 w 270502"/>
                  <a:gd name="connsiteY21" fmla="*/ 120232 h 721392"/>
                  <a:gd name="connsiteX22" fmla="*/ 135234 w 270502"/>
                  <a:gd name="connsiteY22" fmla="*/ 0 h 721392"/>
                  <a:gd name="connsiteX23" fmla="*/ 210379 w 270502"/>
                  <a:gd name="connsiteY23" fmla="*/ 75145 h 721392"/>
                  <a:gd name="connsiteX24" fmla="*/ 135234 w 270502"/>
                  <a:gd name="connsiteY24" fmla="*/ 150290 h 721392"/>
                  <a:gd name="connsiteX25" fmla="*/ 60089 w 270502"/>
                  <a:gd name="connsiteY25" fmla="*/ 75145 h 721392"/>
                  <a:gd name="connsiteX26" fmla="*/ 135234 w 270502"/>
                  <a:gd name="connsiteY26" fmla="*/ 0 h 721392"/>
                  <a:gd name="connsiteX0" fmla="*/ 89097 w 270502"/>
                  <a:gd name="connsiteY0" fmla="*/ 691333 h 721392"/>
                  <a:gd name="connsiteX1" fmla="*/ 89097 w 270502"/>
                  <a:gd name="connsiteY1" fmla="*/ 691334 h 721392"/>
                  <a:gd name="connsiteX2" fmla="*/ 89097 w 270502"/>
                  <a:gd name="connsiteY2" fmla="*/ 691333 h 721392"/>
                  <a:gd name="connsiteX3" fmla="*/ 96852 w 270502"/>
                  <a:gd name="connsiteY3" fmla="*/ 180349 h 721392"/>
                  <a:gd name="connsiteX4" fmla="*/ 173589 w 270502"/>
                  <a:gd name="connsiteY4" fmla="*/ 180349 h 721392"/>
                  <a:gd name="connsiteX5" fmla="*/ 250238 w 270502"/>
                  <a:gd name="connsiteY5" fmla="*/ 253359 h 721392"/>
                  <a:gd name="connsiteX6" fmla="*/ 270166 w 270502"/>
                  <a:gd name="connsiteY6" fmla="*/ 427937 h 721392"/>
                  <a:gd name="connsiteX7" fmla="*/ 257782 w 270502"/>
                  <a:gd name="connsiteY7" fmla="*/ 467703 h 721392"/>
                  <a:gd name="connsiteX8" fmla="*/ 226913 w 270502"/>
                  <a:gd name="connsiteY8" fmla="*/ 482882 h 721392"/>
                  <a:gd name="connsiteX9" fmla="*/ 210320 w 270502"/>
                  <a:gd name="connsiteY9" fmla="*/ 707475 h 721392"/>
                  <a:gd name="connsiteX10" fmla="*/ 195351 w 270502"/>
                  <a:gd name="connsiteY10" fmla="*/ 721392 h 721392"/>
                  <a:gd name="connsiteX11" fmla="*/ 75119 w 270502"/>
                  <a:gd name="connsiteY11" fmla="*/ 721392 h 721392"/>
                  <a:gd name="connsiteX12" fmla="*/ 60151 w 270502"/>
                  <a:gd name="connsiteY12" fmla="*/ 707475 h 721392"/>
                  <a:gd name="connsiteX13" fmla="*/ 43558 w 270502"/>
                  <a:gd name="connsiteY13" fmla="*/ 482882 h 721392"/>
                  <a:gd name="connsiteX14" fmla="*/ 12689 w 270502"/>
                  <a:gd name="connsiteY14" fmla="*/ 467703 h 721392"/>
                  <a:gd name="connsiteX15" fmla="*/ 335 w 270502"/>
                  <a:gd name="connsiteY15" fmla="*/ 427937 h 721392"/>
                  <a:gd name="connsiteX16" fmla="*/ 20264 w 270502"/>
                  <a:gd name="connsiteY16" fmla="*/ 253359 h 721392"/>
                  <a:gd name="connsiteX17" fmla="*/ 96852 w 270502"/>
                  <a:gd name="connsiteY17" fmla="*/ 180349 h 721392"/>
                  <a:gd name="connsiteX18" fmla="*/ 135235 w 270502"/>
                  <a:gd name="connsiteY18" fmla="*/ 120232 h 721392"/>
                  <a:gd name="connsiteX19" fmla="*/ 135234 w 270502"/>
                  <a:gd name="connsiteY19" fmla="*/ 120232 h 721392"/>
                  <a:gd name="connsiteX20" fmla="*/ 135235 w 270502"/>
                  <a:gd name="connsiteY20" fmla="*/ 120232 h 721392"/>
                  <a:gd name="connsiteX21" fmla="*/ 135234 w 270502"/>
                  <a:gd name="connsiteY21" fmla="*/ 0 h 721392"/>
                  <a:gd name="connsiteX22" fmla="*/ 210379 w 270502"/>
                  <a:gd name="connsiteY22" fmla="*/ 75145 h 721392"/>
                  <a:gd name="connsiteX23" fmla="*/ 135234 w 270502"/>
                  <a:gd name="connsiteY23" fmla="*/ 150290 h 721392"/>
                  <a:gd name="connsiteX24" fmla="*/ 60089 w 270502"/>
                  <a:gd name="connsiteY24" fmla="*/ 75145 h 721392"/>
                  <a:gd name="connsiteX25" fmla="*/ 135234 w 270502"/>
                  <a:gd name="connsiteY25"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5 w 270502"/>
                  <a:gd name="connsiteY15" fmla="*/ 120232 h 721392"/>
                  <a:gd name="connsiteX16" fmla="*/ 135234 w 270502"/>
                  <a:gd name="connsiteY16" fmla="*/ 120232 h 721392"/>
                  <a:gd name="connsiteX17" fmla="*/ 135235 w 270502"/>
                  <a:gd name="connsiteY17" fmla="*/ 120232 h 721392"/>
                  <a:gd name="connsiteX18" fmla="*/ 135234 w 270502"/>
                  <a:gd name="connsiteY18" fmla="*/ 0 h 721392"/>
                  <a:gd name="connsiteX19" fmla="*/ 210379 w 270502"/>
                  <a:gd name="connsiteY19" fmla="*/ 75145 h 721392"/>
                  <a:gd name="connsiteX20" fmla="*/ 135234 w 270502"/>
                  <a:gd name="connsiteY20" fmla="*/ 150290 h 721392"/>
                  <a:gd name="connsiteX21" fmla="*/ 60089 w 270502"/>
                  <a:gd name="connsiteY21" fmla="*/ 75145 h 721392"/>
                  <a:gd name="connsiteX22" fmla="*/ 135234 w 270502"/>
                  <a:gd name="connsiteY22"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4 w 270502"/>
                  <a:gd name="connsiteY15" fmla="*/ 0 h 721392"/>
                  <a:gd name="connsiteX16" fmla="*/ 210379 w 270502"/>
                  <a:gd name="connsiteY16" fmla="*/ 75145 h 721392"/>
                  <a:gd name="connsiteX17" fmla="*/ 135234 w 270502"/>
                  <a:gd name="connsiteY17" fmla="*/ 150290 h 721392"/>
                  <a:gd name="connsiteX18" fmla="*/ 60089 w 270502"/>
                  <a:gd name="connsiteY18" fmla="*/ 75145 h 721392"/>
                  <a:gd name="connsiteX19" fmla="*/ 135234 w 270502"/>
                  <a:gd name="connsiteY19" fmla="*/ 0 h 72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0502" h="721392">
                    <a:moveTo>
                      <a:pt x="96852" y="180349"/>
                    </a:moveTo>
                    <a:lnTo>
                      <a:pt x="173589" y="180349"/>
                    </a:lnTo>
                    <a:cubicBezTo>
                      <a:pt x="212545" y="180349"/>
                      <a:pt x="245518" y="211730"/>
                      <a:pt x="250238" y="253359"/>
                    </a:cubicBezTo>
                    <a:lnTo>
                      <a:pt x="270166" y="427937"/>
                    </a:lnTo>
                    <a:cubicBezTo>
                      <a:pt x="271819" y="442545"/>
                      <a:pt x="267341" y="457033"/>
                      <a:pt x="257782" y="467703"/>
                    </a:cubicBezTo>
                    <a:cubicBezTo>
                      <a:pt x="249576" y="476901"/>
                      <a:pt x="238695" y="482221"/>
                      <a:pt x="226913" y="482882"/>
                    </a:cubicBezTo>
                    <a:lnTo>
                      <a:pt x="210320" y="707475"/>
                    </a:lnTo>
                    <a:cubicBezTo>
                      <a:pt x="209779" y="715320"/>
                      <a:pt x="203227" y="721392"/>
                      <a:pt x="195351" y="721392"/>
                    </a:cubicBezTo>
                    <a:lnTo>
                      <a:pt x="75119" y="721392"/>
                    </a:lnTo>
                    <a:cubicBezTo>
                      <a:pt x="67274" y="721392"/>
                      <a:pt x="60722" y="715320"/>
                      <a:pt x="60151" y="707475"/>
                    </a:cubicBezTo>
                    <a:lnTo>
                      <a:pt x="43558" y="482882"/>
                    </a:lnTo>
                    <a:cubicBezTo>
                      <a:pt x="31746" y="482221"/>
                      <a:pt x="20895" y="476870"/>
                      <a:pt x="12689" y="467703"/>
                    </a:cubicBezTo>
                    <a:cubicBezTo>
                      <a:pt x="3191" y="457062"/>
                      <a:pt x="-1318" y="442545"/>
                      <a:pt x="335" y="427937"/>
                    </a:cubicBezTo>
                    <a:lnTo>
                      <a:pt x="20264" y="253359"/>
                    </a:lnTo>
                    <a:cubicBezTo>
                      <a:pt x="25013" y="211730"/>
                      <a:pt x="57957" y="180349"/>
                      <a:pt x="96852" y="180349"/>
                    </a:cubicBezTo>
                    <a:close/>
                    <a:moveTo>
                      <a:pt x="135234" y="0"/>
                    </a:moveTo>
                    <a:cubicBezTo>
                      <a:pt x="176684" y="0"/>
                      <a:pt x="210379" y="33725"/>
                      <a:pt x="210379" y="75145"/>
                    </a:cubicBezTo>
                    <a:cubicBezTo>
                      <a:pt x="210379" y="116565"/>
                      <a:pt x="176655" y="150290"/>
                      <a:pt x="135234" y="150290"/>
                    </a:cubicBezTo>
                    <a:cubicBezTo>
                      <a:pt x="93814" y="150290"/>
                      <a:pt x="60089" y="116565"/>
                      <a:pt x="60089" y="75145"/>
                    </a:cubicBezTo>
                    <a:cubicBezTo>
                      <a:pt x="60089" y="33725"/>
                      <a:pt x="93814" y="0"/>
                      <a:pt x="135234" y="0"/>
                    </a:cubicBezTo>
                    <a:close/>
                  </a:path>
                </a:pathLst>
              </a:cu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18" name="Freeform 17">
                <a:extLst>
                  <a:ext uri="{FF2B5EF4-FFF2-40B4-BE49-F238E27FC236}">
                    <a16:creationId xmlns:a16="http://schemas.microsoft.com/office/drawing/2014/main" id="{D38126FA-64BC-55B1-1897-9ED7AB869228}"/>
                  </a:ext>
                </a:extLst>
              </p:cNvPr>
              <p:cNvSpPr/>
              <p:nvPr/>
            </p:nvSpPr>
            <p:spPr>
              <a:xfrm>
                <a:off x="8749857" y="455490"/>
                <a:ext cx="254484" cy="678673"/>
              </a:xfrm>
              <a:custGeom>
                <a:avLst/>
                <a:gdLst>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4 w 270502"/>
                  <a:gd name="connsiteY39" fmla="*/ 30058 h 721392"/>
                  <a:gd name="connsiteX40" fmla="*/ 90148 w 270502"/>
                  <a:gd name="connsiteY40" fmla="*/ 75145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90149 w 270502"/>
                  <a:gd name="connsiteY44" fmla="*/ 75145 h 721392"/>
                  <a:gd name="connsiteX45" fmla="*/ 103382 w 270502"/>
                  <a:gd name="connsiteY45" fmla="*/ 43280 h 721392"/>
                  <a:gd name="connsiteX46" fmla="*/ 135235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90149 w 270502"/>
                  <a:gd name="connsiteY45" fmla="*/ 75145 h 721392"/>
                  <a:gd name="connsiteX46" fmla="*/ 135235 w 270502"/>
                  <a:gd name="connsiteY46" fmla="*/ 30058 h 721392"/>
                  <a:gd name="connsiteX47" fmla="*/ 135234 w 270502"/>
                  <a:gd name="connsiteY47" fmla="*/ 30058 h 721392"/>
                  <a:gd name="connsiteX48" fmla="*/ 135234 w 270502"/>
                  <a:gd name="connsiteY48" fmla="*/ 0 h 721392"/>
                  <a:gd name="connsiteX49" fmla="*/ 210379 w 270502"/>
                  <a:gd name="connsiteY49" fmla="*/ 75145 h 721392"/>
                  <a:gd name="connsiteX50" fmla="*/ 135234 w 270502"/>
                  <a:gd name="connsiteY50" fmla="*/ 150290 h 721392"/>
                  <a:gd name="connsiteX51" fmla="*/ 60089 w 270502"/>
                  <a:gd name="connsiteY51" fmla="*/ 75145 h 721392"/>
                  <a:gd name="connsiteX52" fmla="*/ 135234 w 270502"/>
                  <a:gd name="connsiteY52"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0 h 721392"/>
                  <a:gd name="connsiteX47" fmla="*/ 210379 w 270502"/>
                  <a:gd name="connsiteY47" fmla="*/ 75145 h 721392"/>
                  <a:gd name="connsiteX48" fmla="*/ 135234 w 270502"/>
                  <a:gd name="connsiteY48" fmla="*/ 150290 h 721392"/>
                  <a:gd name="connsiteX49" fmla="*/ 60089 w 270502"/>
                  <a:gd name="connsiteY49" fmla="*/ 75145 h 721392"/>
                  <a:gd name="connsiteX50" fmla="*/ 135234 w 270502"/>
                  <a:gd name="connsiteY50"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5 w 270502"/>
                  <a:gd name="connsiteY44" fmla="*/ 30058 h 721392"/>
                  <a:gd name="connsiteX45" fmla="*/ 135234 w 270502"/>
                  <a:gd name="connsiteY45" fmla="*/ 0 h 721392"/>
                  <a:gd name="connsiteX46" fmla="*/ 210379 w 270502"/>
                  <a:gd name="connsiteY46" fmla="*/ 75145 h 721392"/>
                  <a:gd name="connsiteX47" fmla="*/ 135234 w 270502"/>
                  <a:gd name="connsiteY47" fmla="*/ 150290 h 721392"/>
                  <a:gd name="connsiteX48" fmla="*/ 60089 w 270502"/>
                  <a:gd name="connsiteY48" fmla="*/ 75145 h 721392"/>
                  <a:gd name="connsiteX49" fmla="*/ 135234 w 270502"/>
                  <a:gd name="connsiteY49"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03371 w 270502"/>
                  <a:gd name="connsiteY40" fmla="*/ 107010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4 w 270502"/>
                  <a:gd name="connsiteY44" fmla="*/ 0 h 721392"/>
                  <a:gd name="connsiteX45" fmla="*/ 210379 w 270502"/>
                  <a:gd name="connsiteY45" fmla="*/ 75145 h 721392"/>
                  <a:gd name="connsiteX46" fmla="*/ 135234 w 270502"/>
                  <a:gd name="connsiteY46" fmla="*/ 150290 h 721392"/>
                  <a:gd name="connsiteX47" fmla="*/ 60089 w 270502"/>
                  <a:gd name="connsiteY47" fmla="*/ 75145 h 721392"/>
                  <a:gd name="connsiteX48" fmla="*/ 135234 w 270502"/>
                  <a:gd name="connsiteY48"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120232 h 721392"/>
                  <a:gd name="connsiteX41" fmla="*/ 135234 w 270502"/>
                  <a:gd name="connsiteY41" fmla="*/ 120232 h 721392"/>
                  <a:gd name="connsiteX42" fmla="*/ 135235 w 270502"/>
                  <a:gd name="connsiteY42" fmla="*/ 120232 h 721392"/>
                  <a:gd name="connsiteX43" fmla="*/ 135234 w 270502"/>
                  <a:gd name="connsiteY43" fmla="*/ 0 h 721392"/>
                  <a:gd name="connsiteX44" fmla="*/ 210379 w 270502"/>
                  <a:gd name="connsiteY44" fmla="*/ 75145 h 721392"/>
                  <a:gd name="connsiteX45" fmla="*/ 135234 w 270502"/>
                  <a:gd name="connsiteY45" fmla="*/ 150290 h 721392"/>
                  <a:gd name="connsiteX46" fmla="*/ 60089 w 270502"/>
                  <a:gd name="connsiteY46" fmla="*/ 75145 h 721392"/>
                  <a:gd name="connsiteX47" fmla="*/ 135234 w 270502"/>
                  <a:gd name="connsiteY47" fmla="*/ 0 h 721392"/>
                  <a:gd name="connsiteX0" fmla="*/ 35142 w 270502"/>
                  <a:gd name="connsiteY0" fmla="*/ 447684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5 w 270502"/>
                  <a:gd name="connsiteY39" fmla="*/ 120232 h 721392"/>
                  <a:gd name="connsiteX40" fmla="*/ 135234 w 270502"/>
                  <a:gd name="connsiteY40" fmla="*/ 120232 h 721392"/>
                  <a:gd name="connsiteX41" fmla="*/ 135235 w 270502"/>
                  <a:gd name="connsiteY41" fmla="*/ 120232 h 721392"/>
                  <a:gd name="connsiteX42" fmla="*/ 135234 w 270502"/>
                  <a:gd name="connsiteY42" fmla="*/ 0 h 721392"/>
                  <a:gd name="connsiteX43" fmla="*/ 210379 w 270502"/>
                  <a:gd name="connsiteY43" fmla="*/ 75145 h 721392"/>
                  <a:gd name="connsiteX44" fmla="*/ 135234 w 270502"/>
                  <a:gd name="connsiteY44" fmla="*/ 150290 h 721392"/>
                  <a:gd name="connsiteX45" fmla="*/ 60089 w 270502"/>
                  <a:gd name="connsiteY45" fmla="*/ 75145 h 721392"/>
                  <a:gd name="connsiteX46" fmla="*/ 135234 w 270502"/>
                  <a:gd name="connsiteY46" fmla="*/ 0 h 721392"/>
                  <a:gd name="connsiteX0" fmla="*/ 35142 w 270502"/>
                  <a:gd name="connsiteY0" fmla="*/ 447684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35142 w 270502"/>
                  <a:gd name="connsiteY22" fmla="*/ 447684 h 721392"/>
                  <a:gd name="connsiteX23" fmla="*/ 96852 w 270502"/>
                  <a:gd name="connsiteY23" fmla="*/ 180349 h 721392"/>
                  <a:gd name="connsiteX24" fmla="*/ 173589 w 270502"/>
                  <a:gd name="connsiteY24" fmla="*/ 180349 h 721392"/>
                  <a:gd name="connsiteX25" fmla="*/ 250238 w 270502"/>
                  <a:gd name="connsiteY25" fmla="*/ 253359 h 721392"/>
                  <a:gd name="connsiteX26" fmla="*/ 270166 w 270502"/>
                  <a:gd name="connsiteY26" fmla="*/ 427937 h 721392"/>
                  <a:gd name="connsiteX27" fmla="*/ 257782 w 270502"/>
                  <a:gd name="connsiteY27" fmla="*/ 467703 h 721392"/>
                  <a:gd name="connsiteX28" fmla="*/ 226913 w 270502"/>
                  <a:gd name="connsiteY28" fmla="*/ 482882 h 721392"/>
                  <a:gd name="connsiteX29" fmla="*/ 210320 w 270502"/>
                  <a:gd name="connsiteY29" fmla="*/ 707475 h 721392"/>
                  <a:gd name="connsiteX30" fmla="*/ 195351 w 270502"/>
                  <a:gd name="connsiteY30" fmla="*/ 721392 h 721392"/>
                  <a:gd name="connsiteX31" fmla="*/ 75119 w 270502"/>
                  <a:gd name="connsiteY31" fmla="*/ 721392 h 721392"/>
                  <a:gd name="connsiteX32" fmla="*/ 60151 w 270502"/>
                  <a:gd name="connsiteY32" fmla="*/ 707475 h 721392"/>
                  <a:gd name="connsiteX33" fmla="*/ 43558 w 270502"/>
                  <a:gd name="connsiteY33" fmla="*/ 482882 h 721392"/>
                  <a:gd name="connsiteX34" fmla="*/ 12689 w 270502"/>
                  <a:gd name="connsiteY34" fmla="*/ 467703 h 721392"/>
                  <a:gd name="connsiteX35" fmla="*/ 335 w 270502"/>
                  <a:gd name="connsiteY35" fmla="*/ 427937 h 721392"/>
                  <a:gd name="connsiteX36" fmla="*/ 20264 w 270502"/>
                  <a:gd name="connsiteY36" fmla="*/ 253359 h 721392"/>
                  <a:gd name="connsiteX37" fmla="*/ 96852 w 270502"/>
                  <a:gd name="connsiteY37" fmla="*/ 180349 h 721392"/>
                  <a:gd name="connsiteX38" fmla="*/ 135235 w 270502"/>
                  <a:gd name="connsiteY38" fmla="*/ 120232 h 721392"/>
                  <a:gd name="connsiteX39" fmla="*/ 135234 w 270502"/>
                  <a:gd name="connsiteY39" fmla="*/ 120232 h 721392"/>
                  <a:gd name="connsiteX40" fmla="*/ 135235 w 270502"/>
                  <a:gd name="connsiteY40" fmla="*/ 120232 h 721392"/>
                  <a:gd name="connsiteX41" fmla="*/ 135234 w 270502"/>
                  <a:gd name="connsiteY41" fmla="*/ 0 h 721392"/>
                  <a:gd name="connsiteX42" fmla="*/ 210379 w 270502"/>
                  <a:gd name="connsiteY42" fmla="*/ 75145 h 721392"/>
                  <a:gd name="connsiteX43" fmla="*/ 135234 w 270502"/>
                  <a:gd name="connsiteY43" fmla="*/ 150290 h 721392"/>
                  <a:gd name="connsiteX44" fmla="*/ 60089 w 270502"/>
                  <a:gd name="connsiteY44" fmla="*/ 75145 h 721392"/>
                  <a:gd name="connsiteX45" fmla="*/ 135234 w 270502"/>
                  <a:gd name="connsiteY45" fmla="*/ 0 h 721392"/>
                  <a:gd name="connsiteX0" fmla="*/ 46144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96852 w 270502"/>
                  <a:gd name="connsiteY22" fmla="*/ 180349 h 721392"/>
                  <a:gd name="connsiteX23" fmla="*/ 173589 w 270502"/>
                  <a:gd name="connsiteY23" fmla="*/ 180349 h 721392"/>
                  <a:gd name="connsiteX24" fmla="*/ 250238 w 270502"/>
                  <a:gd name="connsiteY24" fmla="*/ 253359 h 721392"/>
                  <a:gd name="connsiteX25" fmla="*/ 270166 w 270502"/>
                  <a:gd name="connsiteY25" fmla="*/ 427937 h 721392"/>
                  <a:gd name="connsiteX26" fmla="*/ 257782 w 270502"/>
                  <a:gd name="connsiteY26" fmla="*/ 467703 h 721392"/>
                  <a:gd name="connsiteX27" fmla="*/ 226913 w 270502"/>
                  <a:gd name="connsiteY27" fmla="*/ 482882 h 721392"/>
                  <a:gd name="connsiteX28" fmla="*/ 210320 w 270502"/>
                  <a:gd name="connsiteY28" fmla="*/ 707475 h 721392"/>
                  <a:gd name="connsiteX29" fmla="*/ 195351 w 270502"/>
                  <a:gd name="connsiteY29" fmla="*/ 721392 h 721392"/>
                  <a:gd name="connsiteX30" fmla="*/ 75119 w 270502"/>
                  <a:gd name="connsiteY30" fmla="*/ 721392 h 721392"/>
                  <a:gd name="connsiteX31" fmla="*/ 60151 w 270502"/>
                  <a:gd name="connsiteY31" fmla="*/ 707475 h 721392"/>
                  <a:gd name="connsiteX32" fmla="*/ 43558 w 270502"/>
                  <a:gd name="connsiteY32" fmla="*/ 482882 h 721392"/>
                  <a:gd name="connsiteX33" fmla="*/ 12689 w 270502"/>
                  <a:gd name="connsiteY33" fmla="*/ 467703 h 721392"/>
                  <a:gd name="connsiteX34" fmla="*/ 335 w 270502"/>
                  <a:gd name="connsiteY34" fmla="*/ 427937 h 721392"/>
                  <a:gd name="connsiteX35" fmla="*/ 20264 w 270502"/>
                  <a:gd name="connsiteY35" fmla="*/ 253359 h 721392"/>
                  <a:gd name="connsiteX36" fmla="*/ 96852 w 270502"/>
                  <a:gd name="connsiteY36" fmla="*/ 180349 h 721392"/>
                  <a:gd name="connsiteX37" fmla="*/ 135235 w 270502"/>
                  <a:gd name="connsiteY37" fmla="*/ 120232 h 721392"/>
                  <a:gd name="connsiteX38" fmla="*/ 135234 w 270502"/>
                  <a:gd name="connsiteY38" fmla="*/ 120232 h 721392"/>
                  <a:gd name="connsiteX39" fmla="*/ 135235 w 270502"/>
                  <a:gd name="connsiteY39" fmla="*/ 120232 h 721392"/>
                  <a:gd name="connsiteX40" fmla="*/ 135234 w 270502"/>
                  <a:gd name="connsiteY40" fmla="*/ 0 h 721392"/>
                  <a:gd name="connsiteX41" fmla="*/ 210379 w 270502"/>
                  <a:gd name="connsiteY41" fmla="*/ 75145 h 721392"/>
                  <a:gd name="connsiteX42" fmla="*/ 135234 w 270502"/>
                  <a:gd name="connsiteY42" fmla="*/ 150290 h 721392"/>
                  <a:gd name="connsiteX43" fmla="*/ 60089 w 270502"/>
                  <a:gd name="connsiteY43" fmla="*/ 75145 h 721392"/>
                  <a:gd name="connsiteX44" fmla="*/ 135234 w 270502"/>
                  <a:gd name="connsiteY44" fmla="*/ 0 h 721392"/>
                  <a:gd name="connsiteX0" fmla="*/ 57565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96852 w 270502"/>
                  <a:gd name="connsiteY21" fmla="*/ 180349 h 721392"/>
                  <a:gd name="connsiteX22" fmla="*/ 173589 w 270502"/>
                  <a:gd name="connsiteY22" fmla="*/ 180349 h 721392"/>
                  <a:gd name="connsiteX23" fmla="*/ 250238 w 270502"/>
                  <a:gd name="connsiteY23" fmla="*/ 253359 h 721392"/>
                  <a:gd name="connsiteX24" fmla="*/ 270166 w 270502"/>
                  <a:gd name="connsiteY24" fmla="*/ 427937 h 721392"/>
                  <a:gd name="connsiteX25" fmla="*/ 257782 w 270502"/>
                  <a:gd name="connsiteY25" fmla="*/ 467703 h 721392"/>
                  <a:gd name="connsiteX26" fmla="*/ 226913 w 270502"/>
                  <a:gd name="connsiteY26" fmla="*/ 482882 h 721392"/>
                  <a:gd name="connsiteX27" fmla="*/ 210320 w 270502"/>
                  <a:gd name="connsiteY27" fmla="*/ 707475 h 721392"/>
                  <a:gd name="connsiteX28" fmla="*/ 195351 w 270502"/>
                  <a:gd name="connsiteY28" fmla="*/ 721392 h 721392"/>
                  <a:gd name="connsiteX29" fmla="*/ 75119 w 270502"/>
                  <a:gd name="connsiteY29" fmla="*/ 721392 h 721392"/>
                  <a:gd name="connsiteX30" fmla="*/ 60151 w 270502"/>
                  <a:gd name="connsiteY30" fmla="*/ 707475 h 721392"/>
                  <a:gd name="connsiteX31" fmla="*/ 43558 w 270502"/>
                  <a:gd name="connsiteY31" fmla="*/ 482882 h 721392"/>
                  <a:gd name="connsiteX32" fmla="*/ 12689 w 270502"/>
                  <a:gd name="connsiteY32" fmla="*/ 467703 h 721392"/>
                  <a:gd name="connsiteX33" fmla="*/ 335 w 270502"/>
                  <a:gd name="connsiteY33" fmla="*/ 427937 h 721392"/>
                  <a:gd name="connsiteX34" fmla="*/ 20264 w 270502"/>
                  <a:gd name="connsiteY34" fmla="*/ 253359 h 721392"/>
                  <a:gd name="connsiteX35" fmla="*/ 96852 w 270502"/>
                  <a:gd name="connsiteY35" fmla="*/ 180349 h 721392"/>
                  <a:gd name="connsiteX36" fmla="*/ 135235 w 270502"/>
                  <a:gd name="connsiteY36" fmla="*/ 120232 h 721392"/>
                  <a:gd name="connsiteX37" fmla="*/ 135234 w 270502"/>
                  <a:gd name="connsiteY37" fmla="*/ 120232 h 721392"/>
                  <a:gd name="connsiteX38" fmla="*/ 135235 w 270502"/>
                  <a:gd name="connsiteY38" fmla="*/ 120232 h 721392"/>
                  <a:gd name="connsiteX39" fmla="*/ 135234 w 270502"/>
                  <a:gd name="connsiteY39" fmla="*/ 0 h 721392"/>
                  <a:gd name="connsiteX40" fmla="*/ 210379 w 270502"/>
                  <a:gd name="connsiteY40" fmla="*/ 75145 h 721392"/>
                  <a:gd name="connsiteX41" fmla="*/ 135234 w 270502"/>
                  <a:gd name="connsiteY41" fmla="*/ 150290 h 721392"/>
                  <a:gd name="connsiteX42" fmla="*/ 60089 w 270502"/>
                  <a:gd name="connsiteY42" fmla="*/ 75145 h 721392"/>
                  <a:gd name="connsiteX43" fmla="*/ 135234 w 270502"/>
                  <a:gd name="connsiteY43" fmla="*/ 0 h 721392"/>
                  <a:gd name="connsiteX0" fmla="*/ 72565 w 270502"/>
                  <a:gd name="connsiteY0" fmla="*/ 466800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96852 w 270502"/>
                  <a:gd name="connsiteY20" fmla="*/ 180349 h 721392"/>
                  <a:gd name="connsiteX21" fmla="*/ 173589 w 270502"/>
                  <a:gd name="connsiteY21" fmla="*/ 180349 h 721392"/>
                  <a:gd name="connsiteX22" fmla="*/ 250238 w 270502"/>
                  <a:gd name="connsiteY22" fmla="*/ 253359 h 721392"/>
                  <a:gd name="connsiteX23" fmla="*/ 270166 w 270502"/>
                  <a:gd name="connsiteY23" fmla="*/ 427937 h 721392"/>
                  <a:gd name="connsiteX24" fmla="*/ 257782 w 270502"/>
                  <a:gd name="connsiteY24" fmla="*/ 467703 h 721392"/>
                  <a:gd name="connsiteX25" fmla="*/ 226913 w 270502"/>
                  <a:gd name="connsiteY25" fmla="*/ 482882 h 721392"/>
                  <a:gd name="connsiteX26" fmla="*/ 210320 w 270502"/>
                  <a:gd name="connsiteY26" fmla="*/ 707475 h 721392"/>
                  <a:gd name="connsiteX27" fmla="*/ 195351 w 270502"/>
                  <a:gd name="connsiteY27" fmla="*/ 721392 h 721392"/>
                  <a:gd name="connsiteX28" fmla="*/ 75119 w 270502"/>
                  <a:gd name="connsiteY28" fmla="*/ 721392 h 721392"/>
                  <a:gd name="connsiteX29" fmla="*/ 60151 w 270502"/>
                  <a:gd name="connsiteY29" fmla="*/ 707475 h 721392"/>
                  <a:gd name="connsiteX30" fmla="*/ 43558 w 270502"/>
                  <a:gd name="connsiteY30" fmla="*/ 482882 h 721392"/>
                  <a:gd name="connsiteX31" fmla="*/ 12689 w 270502"/>
                  <a:gd name="connsiteY31" fmla="*/ 467703 h 721392"/>
                  <a:gd name="connsiteX32" fmla="*/ 335 w 270502"/>
                  <a:gd name="connsiteY32" fmla="*/ 427937 h 721392"/>
                  <a:gd name="connsiteX33" fmla="*/ 20264 w 270502"/>
                  <a:gd name="connsiteY33" fmla="*/ 253359 h 721392"/>
                  <a:gd name="connsiteX34" fmla="*/ 96852 w 270502"/>
                  <a:gd name="connsiteY34" fmla="*/ 180349 h 721392"/>
                  <a:gd name="connsiteX35" fmla="*/ 135235 w 270502"/>
                  <a:gd name="connsiteY35" fmla="*/ 120232 h 721392"/>
                  <a:gd name="connsiteX36" fmla="*/ 135234 w 270502"/>
                  <a:gd name="connsiteY36" fmla="*/ 120232 h 721392"/>
                  <a:gd name="connsiteX37" fmla="*/ 135235 w 270502"/>
                  <a:gd name="connsiteY37" fmla="*/ 120232 h 721392"/>
                  <a:gd name="connsiteX38" fmla="*/ 135234 w 270502"/>
                  <a:gd name="connsiteY38" fmla="*/ 0 h 721392"/>
                  <a:gd name="connsiteX39" fmla="*/ 210379 w 270502"/>
                  <a:gd name="connsiteY39" fmla="*/ 75145 h 721392"/>
                  <a:gd name="connsiteX40" fmla="*/ 135234 w 270502"/>
                  <a:gd name="connsiteY40" fmla="*/ 150290 h 721392"/>
                  <a:gd name="connsiteX41" fmla="*/ 60089 w 270502"/>
                  <a:gd name="connsiteY41" fmla="*/ 75145 h 721392"/>
                  <a:gd name="connsiteX42" fmla="*/ 135234 w 270502"/>
                  <a:gd name="connsiteY42" fmla="*/ 0 h 721392"/>
                  <a:gd name="connsiteX0" fmla="*/ 72565 w 270502"/>
                  <a:gd name="connsiteY0" fmla="*/ 466800 h 721392"/>
                  <a:gd name="connsiteX1" fmla="*/ 35142 w 270502"/>
                  <a:gd name="connsiteY1" fmla="*/ 447685 h 721392"/>
                  <a:gd name="connsiteX2" fmla="*/ 57565 w 270502"/>
                  <a:gd name="connsiteY2" fmla="*/ 452884 h 721392"/>
                  <a:gd name="connsiteX3" fmla="*/ 72565 w 270502"/>
                  <a:gd name="connsiteY3" fmla="*/ 466801 h 721392"/>
                  <a:gd name="connsiteX4" fmla="*/ 89097 w 270502"/>
                  <a:gd name="connsiteY4" fmla="*/ 691334 h 721392"/>
                  <a:gd name="connsiteX5" fmla="*/ 181404 w 270502"/>
                  <a:gd name="connsiteY5" fmla="*/ 691334 h 721392"/>
                  <a:gd name="connsiteX6" fmla="*/ 197967 w 270502"/>
                  <a:gd name="connsiteY6" fmla="*/ 466801 h 721392"/>
                  <a:gd name="connsiteX7" fmla="*/ 212965 w 270502"/>
                  <a:gd name="connsiteY7" fmla="*/ 452884 h 721392"/>
                  <a:gd name="connsiteX8" fmla="*/ 224418 w 270502"/>
                  <a:gd name="connsiteY8" fmla="*/ 452884 h 721392"/>
                  <a:gd name="connsiteX9" fmla="*/ 235419 w 270502"/>
                  <a:gd name="connsiteY9" fmla="*/ 447685 h 721392"/>
                  <a:gd name="connsiteX10" fmla="*/ 240348 w 270502"/>
                  <a:gd name="connsiteY10" fmla="*/ 431333 h 721392"/>
                  <a:gd name="connsiteX11" fmla="*/ 240348 w 270502"/>
                  <a:gd name="connsiteY11" fmla="*/ 431332 h 721392"/>
                  <a:gd name="connsiteX12" fmla="*/ 235419 w 270502"/>
                  <a:gd name="connsiteY12" fmla="*/ 447684 h 721392"/>
                  <a:gd name="connsiteX13" fmla="*/ 224418 w 270502"/>
                  <a:gd name="connsiteY13" fmla="*/ 452883 h 721392"/>
                  <a:gd name="connsiteX14" fmla="*/ 212965 w 270502"/>
                  <a:gd name="connsiteY14" fmla="*/ 452883 h 721392"/>
                  <a:gd name="connsiteX15" fmla="*/ 197967 w 270502"/>
                  <a:gd name="connsiteY15" fmla="*/ 466800 h 721392"/>
                  <a:gd name="connsiteX16" fmla="*/ 181404 w 270502"/>
                  <a:gd name="connsiteY16" fmla="*/ 691333 h 721392"/>
                  <a:gd name="connsiteX17" fmla="*/ 89097 w 270502"/>
                  <a:gd name="connsiteY17" fmla="*/ 691333 h 721392"/>
                  <a:gd name="connsiteX18" fmla="*/ 72565 w 270502"/>
                  <a:gd name="connsiteY18" fmla="*/ 466800 h 721392"/>
                  <a:gd name="connsiteX19" fmla="*/ 96852 w 270502"/>
                  <a:gd name="connsiteY19" fmla="*/ 180349 h 721392"/>
                  <a:gd name="connsiteX20" fmla="*/ 173589 w 270502"/>
                  <a:gd name="connsiteY20" fmla="*/ 180349 h 721392"/>
                  <a:gd name="connsiteX21" fmla="*/ 250238 w 270502"/>
                  <a:gd name="connsiteY21" fmla="*/ 253359 h 721392"/>
                  <a:gd name="connsiteX22" fmla="*/ 270166 w 270502"/>
                  <a:gd name="connsiteY22" fmla="*/ 427937 h 721392"/>
                  <a:gd name="connsiteX23" fmla="*/ 257782 w 270502"/>
                  <a:gd name="connsiteY23" fmla="*/ 467703 h 721392"/>
                  <a:gd name="connsiteX24" fmla="*/ 226913 w 270502"/>
                  <a:gd name="connsiteY24" fmla="*/ 482882 h 721392"/>
                  <a:gd name="connsiteX25" fmla="*/ 210320 w 270502"/>
                  <a:gd name="connsiteY25" fmla="*/ 707475 h 721392"/>
                  <a:gd name="connsiteX26" fmla="*/ 195351 w 270502"/>
                  <a:gd name="connsiteY26" fmla="*/ 721392 h 721392"/>
                  <a:gd name="connsiteX27" fmla="*/ 75119 w 270502"/>
                  <a:gd name="connsiteY27" fmla="*/ 721392 h 721392"/>
                  <a:gd name="connsiteX28" fmla="*/ 60151 w 270502"/>
                  <a:gd name="connsiteY28" fmla="*/ 707475 h 721392"/>
                  <a:gd name="connsiteX29" fmla="*/ 43558 w 270502"/>
                  <a:gd name="connsiteY29" fmla="*/ 482882 h 721392"/>
                  <a:gd name="connsiteX30" fmla="*/ 12689 w 270502"/>
                  <a:gd name="connsiteY30" fmla="*/ 467703 h 721392"/>
                  <a:gd name="connsiteX31" fmla="*/ 335 w 270502"/>
                  <a:gd name="connsiteY31" fmla="*/ 427937 h 721392"/>
                  <a:gd name="connsiteX32" fmla="*/ 20264 w 270502"/>
                  <a:gd name="connsiteY32" fmla="*/ 253359 h 721392"/>
                  <a:gd name="connsiteX33" fmla="*/ 96852 w 270502"/>
                  <a:gd name="connsiteY33" fmla="*/ 180349 h 721392"/>
                  <a:gd name="connsiteX34" fmla="*/ 135235 w 270502"/>
                  <a:gd name="connsiteY34" fmla="*/ 120232 h 721392"/>
                  <a:gd name="connsiteX35" fmla="*/ 135234 w 270502"/>
                  <a:gd name="connsiteY35" fmla="*/ 120232 h 721392"/>
                  <a:gd name="connsiteX36" fmla="*/ 135235 w 270502"/>
                  <a:gd name="connsiteY36" fmla="*/ 120232 h 721392"/>
                  <a:gd name="connsiteX37" fmla="*/ 135234 w 270502"/>
                  <a:gd name="connsiteY37" fmla="*/ 0 h 721392"/>
                  <a:gd name="connsiteX38" fmla="*/ 210379 w 270502"/>
                  <a:gd name="connsiteY38" fmla="*/ 75145 h 721392"/>
                  <a:gd name="connsiteX39" fmla="*/ 135234 w 270502"/>
                  <a:gd name="connsiteY39" fmla="*/ 150290 h 721392"/>
                  <a:gd name="connsiteX40" fmla="*/ 60089 w 270502"/>
                  <a:gd name="connsiteY40" fmla="*/ 75145 h 721392"/>
                  <a:gd name="connsiteX41" fmla="*/ 135234 w 270502"/>
                  <a:gd name="connsiteY41" fmla="*/ 0 h 721392"/>
                  <a:gd name="connsiteX0" fmla="*/ 72565 w 270502"/>
                  <a:gd name="connsiteY0" fmla="*/ 466800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72565 w 270502"/>
                  <a:gd name="connsiteY17" fmla="*/ 466800 h 721392"/>
                  <a:gd name="connsiteX18" fmla="*/ 96852 w 270502"/>
                  <a:gd name="connsiteY18" fmla="*/ 180349 h 721392"/>
                  <a:gd name="connsiteX19" fmla="*/ 173589 w 270502"/>
                  <a:gd name="connsiteY19" fmla="*/ 180349 h 721392"/>
                  <a:gd name="connsiteX20" fmla="*/ 250238 w 270502"/>
                  <a:gd name="connsiteY20" fmla="*/ 253359 h 721392"/>
                  <a:gd name="connsiteX21" fmla="*/ 270166 w 270502"/>
                  <a:gd name="connsiteY21" fmla="*/ 427937 h 721392"/>
                  <a:gd name="connsiteX22" fmla="*/ 257782 w 270502"/>
                  <a:gd name="connsiteY22" fmla="*/ 467703 h 721392"/>
                  <a:gd name="connsiteX23" fmla="*/ 226913 w 270502"/>
                  <a:gd name="connsiteY23" fmla="*/ 482882 h 721392"/>
                  <a:gd name="connsiteX24" fmla="*/ 210320 w 270502"/>
                  <a:gd name="connsiteY24" fmla="*/ 707475 h 721392"/>
                  <a:gd name="connsiteX25" fmla="*/ 195351 w 270502"/>
                  <a:gd name="connsiteY25" fmla="*/ 721392 h 721392"/>
                  <a:gd name="connsiteX26" fmla="*/ 75119 w 270502"/>
                  <a:gd name="connsiteY26" fmla="*/ 721392 h 721392"/>
                  <a:gd name="connsiteX27" fmla="*/ 60151 w 270502"/>
                  <a:gd name="connsiteY27" fmla="*/ 707475 h 721392"/>
                  <a:gd name="connsiteX28" fmla="*/ 43558 w 270502"/>
                  <a:gd name="connsiteY28" fmla="*/ 482882 h 721392"/>
                  <a:gd name="connsiteX29" fmla="*/ 12689 w 270502"/>
                  <a:gd name="connsiteY29" fmla="*/ 467703 h 721392"/>
                  <a:gd name="connsiteX30" fmla="*/ 335 w 270502"/>
                  <a:gd name="connsiteY30" fmla="*/ 427937 h 721392"/>
                  <a:gd name="connsiteX31" fmla="*/ 20264 w 270502"/>
                  <a:gd name="connsiteY31" fmla="*/ 253359 h 721392"/>
                  <a:gd name="connsiteX32" fmla="*/ 96852 w 270502"/>
                  <a:gd name="connsiteY32" fmla="*/ 180349 h 721392"/>
                  <a:gd name="connsiteX33" fmla="*/ 135235 w 270502"/>
                  <a:gd name="connsiteY33" fmla="*/ 120232 h 721392"/>
                  <a:gd name="connsiteX34" fmla="*/ 135234 w 270502"/>
                  <a:gd name="connsiteY34" fmla="*/ 120232 h 721392"/>
                  <a:gd name="connsiteX35" fmla="*/ 135235 w 270502"/>
                  <a:gd name="connsiteY35" fmla="*/ 120232 h 721392"/>
                  <a:gd name="connsiteX36" fmla="*/ 135234 w 270502"/>
                  <a:gd name="connsiteY36" fmla="*/ 0 h 721392"/>
                  <a:gd name="connsiteX37" fmla="*/ 210379 w 270502"/>
                  <a:gd name="connsiteY37" fmla="*/ 75145 h 721392"/>
                  <a:gd name="connsiteX38" fmla="*/ 135234 w 270502"/>
                  <a:gd name="connsiteY38" fmla="*/ 150290 h 721392"/>
                  <a:gd name="connsiteX39" fmla="*/ 60089 w 270502"/>
                  <a:gd name="connsiteY39" fmla="*/ 75145 h 721392"/>
                  <a:gd name="connsiteX40" fmla="*/ 135234 w 270502"/>
                  <a:gd name="connsiteY40" fmla="*/ 0 h 721392"/>
                  <a:gd name="connsiteX0" fmla="*/ 89097 w 270502"/>
                  <a:gd name="connsiteY0" fmla="*/ 691333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96852 w 270502"/>
                  <a:gd name="connsiteY17" fmla="*/ 180349 h 721392"/>
                  <a:gd name="connsiteX18" fmla="*/ 173589 w 270502"/>
                  <a:gd name="connsiteY18" fmla="*/ 180349 h 721392"/>
                  <a:gd name="connsiteX19" fmla="*/ 250238 w 270502"/>
                  <a:gd name="connsiteY19" fmla="*/ 253359 h 721392"/>
                  <a:gd name="connsiteX20" fmla="*/ 270166 w 270502"/>
                  <a:gd name="connsiteY20" fmla="*/ 427937 h 721392"/>
                  <a:gd name="connsiteX21" fmla="*/ 257782 w 270502"/>
                  <a:gd name="connsiteY21" fmla="*/ 467703 h 721392"/>
                  <a:gd name="connsiteX22" fmla="*/ 226913 w 270502"/>
                  <a:gd name="connsiteY22" fmla="*/ 482882 h 721392"/>
                  <a:gd name="connsiteX23" fmla="*/ 210320 w 270502"/>
                  <a:gd name="connsiteY23" fmla="*/ 707475 h 721392"/>
                  <a:gd name="connsiteX24" fmla="*/ 195351 w 270502"/>
                  <a:gd name="connsiteY24" fmla="*/ 721392 h 721392"/>
                  <a:gd name="connsiteX25" fmla="*/ 75119 w 270502"/>
                  <a:gd name="connsiteY25" fmla="*/ 721392 h 721392"/>
                  <a:gd name="connsiteX26" fmla="*/ 60151 w 270502"/>
                  <a:gd name="connsiteY26" fmla="*/ 707475 h 721392"/>
                  <a:gd name="connsiteX27" fmla="*/ 43558 w 270502"/>
                  <a:gd name="connsiteY27" fmla="*/ 482882 h 721392"/>
                  <a:gd name="connsiteX28" fmla="*/ 12689 w 270502"/>
                  <a:gd name="connsiteY28" fmla="*/ 467703 h 721392"/>
                  <a:gd name="connsiteX29" fmla="*/ 335 w 270502"/>
                  <a:gd name="connsiteY29" fmla="*/ 427937 h 721392"/>
                  <a:gd name="connsiteX30" fmla="*/ 20264 w 270502"/>
                  <a:gd name="connsiteY30" fmla="*/ 253359 h 721392"/>
                  <a:gd name="connsiteX31" fmla="*/ 96852 w 270502"/>
                  <a:gd name="connsiteY31" fmla="*/ 180349 h 721392"/>
                  <a:gd name="connsiteX32" fmla="*/ 135235 w 270502"/>
                  <a:gd name="connsiteY32" fmla="*/ 120232 h 721392"/>
                  <a:gd name="connsiteX33" fmla="*/ 135234 w 270502"/>
                  <a:gd name="connsiteY33" fmla="*/ 120232 h 721392"/>
                  <a:gd name="connsiteX34" fmla="*/ 135235 w 270502"/>
                  <a:gd name="connsiteY34" fmla="*/ 120232 h 721392"/>
                  <a:gd name="connsiteX35" fmla="*/ 135234 w 270502"/>
                  <a:gd name="connsiteY35" fmla="*/ 0 h 721392"/>
                  <a:gd name="connsiteX36" fmla="*/ 210379 w 270502"/>
                  <a:gd name="connsiteY36" fmla="*/ 75145 h 721392"/>
                  <a:gd name="connsiteX37" fmla="*/ 135234 w 270502"/>
                  <a:gd name="connsiteY37" fmla="*/ 150290 h 721392"/>
                  <a:gd name="connsiteX38" fmla="*/ 60089 w 270502"/>
                  <a:gd name="connsiteY38" fmla="*/ 75145 h 721392"/>
                  <a:gd name="connsiteX39" fmla="*/ 135234 w 270502"/>
                  <a:gd name="connsiteY39" fmla="*/ 0 h 721392"/>
                  <a:gd name="connsiteX0" fmla="*/ 89097 w 270502"/>
                  <a:gd name="connsiteY0" fmla="*/ 691333 h 721392"/>
                  <a:gd name="connsiteX1" fmla="*/ 57565 w 270502"/>
                  <a:gd name="connsiteY1" fmla="*/ 452884 h 721392"/>
                  <a:gd name="connsiteX2" fmla="*/ 89097 w 270502"/>
                  <a:gd name="connsiteY2" fmla="*/ 691334 h 721392"/>
                  <a:gd name="connsiteX3" fmla="*/ 181404 w 270502"/>
                  <a:gd name="connsiteY3" fmla="*/ 691334 h 721392"/>
                  <a:gd name="connsiteX4" fmla="*/ 197967 w 270502"/>
                  <a:gd name="connsiteY4" fmla="*/ 466801 h 721392"/>
                  <a:gd name="connsiteX5" fmla="*/ 212965 w 270502"/>
                  <a:gd name="connsiteY5" fmla="*/ 452884 h 721392"/>
                  <a:gd name="connsiteX6" fmla="*/ 224418 w 270502"/>
                  <a:gd name="connsiteY6" fmla="*/ 452884 h 721392"/>
                  <a:gd name="connsiteX7" fmla="*/ 235419 w 270502"/>
                  <a:gd name="connsiteY7" fmla="*/ 447685 h 721392"/>
                  <a:gd name="connsiteX8" fmla="*/ 240348 w 270502"/>
                  <a:gd name="connsiteY8" fmla="*/ 431333 h 721392"/>
                  <a:gd name="connsiteX9" fmla="*/ 240348 w 270502"/>
                  <a:gd name="connsiteY9" fmla="*/ 431332 h 721392"/>
                  <a:gd name="connsiteX10" fmla="*/ 235419 w 270502"/>
                  <a:gd name="connsiteY10" fmla="*/ 447684 h 721392"/>
                  <a:gd name="connsiteX11" fmla="*/ 224418 w 270502"/>
                  <a:gd name="connsiteY11" fmla="*/ 452883 h 721392"/>
                  <a:gd name="connsiteX12" fmla="*/ 212965 w 270502"/>
                  <a:gd name="connsiteY12" fmla="*/ 452883 h 721392"/>
                  <a:gd name="connsiteX13" fmla="*/ 197967 w 270502"/>
                  <a:gd name="connsiteY13" fmla="*/ 466800 h 721392"/>
                  <a:gd name="connsiteX14" fmla="*/ 181404 w 270502"/>
                  <a:gd name="connsiteY14" fmla="*/ 691333 h 721392"/>
                  <a:gd name="connsiteX15" fmla="*/ 89097 w 270502"/>
                  <a:gd name="connsiteY15" fmla="*/ 691333 h 721392"/>
                  <a:gd name="connsiteX16" fmla="*/ 96852 w 270502"/>
                  <a:gd name="connsiteY16" fmla="*/ 180349 h 721392"/>
                  <a:gd name="connsiteX17" fmla="*/ 173589 w 270502"/>
                  <a:gd name="connsiteY17" fmla="*/ 180349 h 721392"/>
                  <a:gd name="connsiteX18" fmla="*/ 250238 w 270502"/>
                  <a:gd name="connsiteY18" fmla="*/ 253359 h 721392"/>
                  <a:gd name="connsiteX19" fmla="*/ 270166 w 270502"/>
                  <a:gd name="connsiteY19" fmla="*/ 427937 h 721392"/>
                  <a:gd name="connsiteX20" fmla="*/ 257782 w 270502"/>
                  <a:gd name="connsiteY20" fmla="*/ 467703 h 721392"/>
                  <a:gd name="connsiteX21" fmla="*/ 226913 w 270502"/>
                  <a:gd name="connsiteY21" fmla="*/ 482882 h 721392"/>
                  <a:gd name="connsiteX22" fmla="*/ 210320 w 270502"/>
                  <a:gd name="connsiteY22" fmla="*/ 707475 h 721392"/>
                  <a:gd name="connsiteX23" fmla="*/ 195351 w 270502"/>
                  <a:gd name="connsiteY23" fmla="*/ 721392 h 721392"/>
                  <a:gd name="connsiteX24" fmla="*/ 75119 w 270502"/>
                  <a:gd name="connsiteY24" fmla="*/ 721392 h 721392"/>
                  <a:gd name="connsiteX25" fmla="*/ 60151 w 270502"/>
                  <a:gd name="connsiteY25" fmla="*/ 707475 h 721392"/>
                  <a:gd name="connsiteX26" fmla="*/ 43558 w 270502"/>
                  <a:gd name="connsiteY26" fmla="*/ 482882 h 721392"/>
                  <a:gd name="connsiteX27" fmla="*/ 12689 w 270502"/>
                  <a:gd name="connsiteY27" fmla="*/ 467703 h 721392"/>
                  <a:gd name="connsiteX28" fmla="*/ 335 w 270502"/>
                  <a:gd name="connsiteY28" fmla="*/ 427937 h 721392"/>
                  <a:gd name="connsiteX29" fmla="*/ 20264 w 270502"/>
                  <a:gd name="connsiteY29" fmla="*/ 253359 h 721392"/>
                  <a:gd name="connsiteX30" fmla="*/ 96852 w 270502"/>
                  <a:gd name="connsiteY30" fmla="*/ 180349 h 721392"/>
                  <a:gd name="connsiteX31" fmla="*/ 135235 w 270502"/>
                  <a:gd name="connsiteY31" fmla="*/ 120232 h 721392"/>
                  <a:gd name="connsiteX32" fmla="*/ 135234 w 270502"/>
                  <a:gd name="connsiteY32" fmla="*/ 120232 h 721392"/>
                  <a:gd name="connsiteX33" fmla="*/ 135235 w 270502"/>
                  <a:gd name="connsiteY33" fmla="*/ 120232 h 721392"/>
                  <a:gd name="connsiteX34" fmla="*/ 135234 w 270502"/>
                  <a:gd name="connsiteY34" fmla="*/ 0 h 721392"/>
                  <a:gd name="connsiteX35" fmla="*/ 210379 w 270502"/>
                  <a:gd name="connsiteY35" fmla="*/ 75145 h 721392"/>
                  <a:gd name="connsiteX36" fmla="*/ 135234 w 270502"/>
                  <a:gd name="connsiteY36" fmla="*/ 150290 h 721392"/>
                  <a:gd name="connsiteX37" fmla="*/ 60089 w 270502"/>
                  <a:gd name="connsiteY37" fmla="*/ 75145 h 721392"/>
                  <a:gd name="connsiteX38" fmla="*/ 135234 w 270502"/>
                  <a:gd name="connsiteY3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97967 w 270502"/>
                  <a:gd name="connsiteY12" fmla="*/ 466800 h 721392"/>
                  <a:gd name="connsiteX13" fmla="*/ 181404 w 270502"/>
                  <a:gd name="connsiteY13" fmla="*/ 691333 h 721392"/>
                  <a:gd name="connsiteX14" fmla="*/ 89097 w 270502"/>
                  <a:gd name="connsiteY14" fmla="*/ 691333 h 721392"/>
                  <a:gd name="connsiteX15" fmla="*/ 96852 w 270502"/>
                  <a:gd name="connsiteY15" fmla="*/ 180349 h 721392"/>
                  <a:gd name="connsiteX16" fmla="*/ 173589 w 270502"/>
                  <a:gd name="connsiteY16" fmla="*/ 180349 h 721392"/>
                  <a:gd name="connsiteX17" fmla="*/ 250238 w 270502"/>
                  <a:gd name="connsiteY17" fmla="*/ 253359 h 721392"/>
                  <a:gd name="connsiteX18" fmla="*/ 270166 w 270502"/>
                  <a:gd name="connsiteY18" fmla="*/ 427937 h 721392"/>
                  <a:gd name="connsiteX19" fmla="*/ 257782 w 270502"/>
                  <a:gd name="connsiteY19" fmla="*/ 467703 h 721392"/>
                  <a:gd name="connsiteX20" fmla="*/ 226913 w 270502"/>
                  <a:gd name="connsiteY20" fmla="*/ 482882 h 721392"/>
                  <a:gd name="connsiteX21" fmla="*/ 210320 w 270502"/>
                  <a:gd name="connsiteY21" fmla="*/ 707475 h 721392"/>
                  <a:gd name="connsiteX22" fmla="*/ 195351 w 270502"/>
                  <a:gd name="connsiteY22" fmla="*/ 721392 h 721392"/>
                  <a:gd name="connsiteX23" fmla="*/ 75119 w 270502"/>
                  <a:gd name="connsiteY23" fmla="*/ 721392 h 721392"/>
                  <a:gd name="connsiteX24" fmla="*/ 60151 w 270502"/>
                  <a:gd name="connsiteY24" fmla="*/ 707475 h 721392"/>
                  <a:gd name="connsiteX25" fmla="*/ 43558 w 270502"/>
                  <a:gd name="connsiteY25" fmla="*/ 482882 h 721392"/>
                  <a:gd name="connsiteX26" fmla="*/ 12689 w 270502"/>
                  <a:gd name="connsiteY26" fmla="*/ 467703 h 721392"/>
                  <a:gd name="connsiteX27" fmla="*/ 335 w 270502"/>
                  <a:gd name="connsiteY27" fmla="*/ 427937 h 721392"/>
                  <a:gd name="connsiteX28" fmla="*/ 20264 w 270502"/>
                  <a:gd name="connsiteY28" fmla="*/ 253359 h 721392"/>
                  <a:gd name="connsiteX29" fmla="*/ 96852 w 270502"/>
                  <a:gd name="connsiteY29" fmla="*/ 180349 h 721392"/>
                  <a:gd name="connsiteX30" fmla="*/ 135235 w 270502"/>
                  <a:gd name="connsiteY30" fmla="*/ 120232 h 721392"/>
                  <a:gd name="connsiteX31" fmla="*/ 135234 w 270502"/>
                  <a:gd name="connsiteY31" fmla="*/ 120232 h 721392"/>
                  <a:gd name="connsiteX32" fmla="*/ 135235 w 270502"/>
                  <a:gd name="connsiteY32" fmla="*/ 120232 h 721392"/>
                  <a:gd name="connsiteX33" fmla="*/ 135234 w 270502"/>
                  <a:gd name="connsiteY33" fmla="*/ 0 h 721392"/>
                  <a:gd name="connsiteX34" fmla="*/ 210379 w 270502"/>
                  <a:gd name="connsiteY34" fmla="*/ 75145 h 721392"/>
                  <a:gd name="connsiteX35" fmla="*/ 135234 w 270502"/>
                  <a:gd name="connsiteY35" fmla="*/ 150290 h 721392"/>
                  <a:gd name="connsiteX36" fmla="*/ 60089 w 270502"/>
                  <a:gd name="connsiteY36" fmla="*/ 75145 h 721392"/>
                  <a:gd name="connsiteX37" fmla="*/ 135234 w 270502"/>
                  <a:gd name="connsiteY3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81404 w 270502"/>
                  <a:gd name="connsiteY12" fmla="*/ 691333 h 721392"/>
                  <a:gd name="connsiteX13" fmla="*/ 89097 w 270502"/>
                  <a:gd name="connsiteY13" fmla="*/ 691333 h 721392"/>
                  <a:gd name="connsiteX14" fmla="*/ 96852 w 270502"/>
                  <a:gd name="connsiteY14" fmla="*/ 180349 h 721392"/>
                  <a:gd name="connsiteX15" fmla="*/ 173589 w 270502"/>
                  <a:gd name="connsiteY15" fmla="*/ 180349 h 721392"/>
                  <a:gd name="connsiteX16" fmla="*/ 250238 w 270502"/>
                  <a:gd name="connsiteY16" fmla="*/ 253359 h 721392"/>
                  <a:gd name="connsiteX17" fmla="*/ 270166 w 270502"/>
                  <a:gd name="connsiteY17" fmla="*/ 427937 h 721392"/>
                  <a:gd name="connsiteX18" fmla="*/ 257782 w 270502"/>
                  <a:gd name="connsiteY18" fmla="*/ 467703 h 721392"/>
                  <a:gd name="connsiteX19" fmla="*/ 226913 w 270502"/>
                  <a:gd name="connsiteY19" fmla="*/ 482882 h 721392"/>
                  <a:gd name="connsiteX20" fmla="*/ 210320 w 270502"/>
                  <a:gd name="connsiteY20" fmla="*/ 707475 h 721392"/>
                  <a:gd name="connsiteX21" fmla="*/ 195351 w 270502"/>
                  <a:gd name="connsiteY21" fmla="*/ 721392 h 721392"/>
                  <a:gd name="connsiteX22" fmla="*/ 75119 w 270502"/>
                  <a:gd name="connsiteY22" fmla="*/ 721392 h 721392"/>
                  <a:gd name="connsiteX23" fmla="*/ 60151 w 270502"/>
                  <a:gd name="connsiteY23" fmla="*/ 707475 h 721392"/>
                  <a:gd name="connsiteX24" fmla="*/ 43558 w 270502"/>
                  <a:gd name="connsiteY24" fmla="*/ 482882 h 721392"/>
                  <a:gd name="connsiteX25" fmla="*/ 12689 w 270502"/>
                  <a:gd name="connsiteY25" fmla="*/ 467703 h 721392"/>
                  <a:gd name="connsiteX26" fmla="*/ 335 w 270502"/>
                  <a:gd name="connsiteY26" fmla="*/ 427937 h 721392"/>
                  <a:gd name="connsiteX27" fmla="*/ 20264 w 270502"/>
                  <a:gd name="connsiteY27" fmla="*/ 253359 h 721392"/>
                  <a:gd name="connsiteX28" fmla="*/ 96852 w 270502"/>
                  <a:gd name="connsiteY28" fmla="*/ 180349 h 721392"/>
                  <a:gd name="connsiteX29" fmla="*/ 135235 w 270502"/>
                  <a:gd name="connsiteY29" fmla="*/ 120232 h 721392"/>
                  <a:gd name="connsiteX30" fmla="*/ 135234 w 270502"/>
                  <a:gd name="connsiteY30" fmla="*/ 120232 h 721392"/>
                  <a:gd name="connsiteX31" fmla="*/ 135235 w 270502"/>
                  <a:gd name="connsiteY31" fmla="*/ 120232 h 721392"/>
                  <a:gd name="connsiteX32" fmla="*/ 135234 w 270502"/>
                  <a:gd name="connsiteY32" fmla="*/ 0 h 721392"/>
                  <a:gd name="connsiteX33" fmla="*/ 210379 w 270502"/>
                  <a:gd name="connsiteY33" fmla="*/ 75145 h 721392"/>
                  <a:gd name="connsiteX34" fmla="*/ 135234 w 270502"/>
                  <a:gd name="connsiteY34" fmla="*/ 150290 h 721392"/>
                  <a:gd name="connsiteX35" fmla="*/ 60089 w 270502"/>
                  <a:gd name="connsiteY35" fmla="*/ 75145 h 721392"/>
                  <a:gd name="connsiteX36" fmla="*/ 135234 w 270502"/>
                  <a:gd name="connsiteY36"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181404 w 270502"/>
                  <a:gd name="connsiteY11" fmla="*/ 691333 h 721392"/>
                  <a:gd name="connsiteX12" fmla="*/ 89097 w 270502"/>
                  <a:gd name="connsiteY12" fmla="*/ 691333 h 721392"/>
                  <a:gd name="connsiteX13" fmla="*/ 96852 w 270502"/>
                  <a:gd name="connsiteY13" fmla="*/ 180349 h 721392"/>
                  <a:gd name="connsiteX14" fmla="*/ 173589 w 270502"/>
                  <a:gd name="connsiteY14" fmla="*/ 180349 h 721392"/>
                  <a:gd name="connsiteX15" fmla="*/ 250238 w 270502"/>
                  <a:gd name="connsiteY15" fmla="*/ 253359 h 721392"/>
                  <a:gd name="connsiteX16" fmla="*/ 270166 w 270502"/>
                  <a:gd name="connsiteY16" fmla="*/ 427937 h 721392"/>
                  <a:gd name="connsiteX17" fmla="*/ 257782 w 270502"/>
                  <a:gd name="connsiteY17" fmla="*/ 467703 h 721392"/>
                  <a:gd name="connsiteX18" fmla="*/ 226913 w 270502"/>
                  <a:gd name="connsiteY18" fmla="*/ 482882 h 721392"/>
                  <a:gd name="connsiteX19" fmla="*/ 210320 w 270502"/>
                  <a:gd name="connsiteY19" fmla="*/ 707475 h 721392"/>
                  <a:gd name="connsiteX20" fmla="*/ 195351 w 270502"/>
                  <a:gd name="connsiteY20" fmla="*/ 721392 h 721392"/>
                  <a:gd name="connsiteX21" fmla="*/ 75119 w 270502"/>
                  <a:gd name="connsiteY21" fmla="*/ 721392 h 721392"/>
                  <a:gd name="connsiteX22" fmla="*/ 60151 w 270502"/>
                  <a:gd name="connsiteY22" fmla="*/ 707475 h 721392"/>
                  <a:gd name="connsiteX23" fmla="*/ 43558 w 270502"/>
                  <a:gd name="connsiteY23" fmla="*/ 482882 h 721392"/>
                  <a:gd name="connsiteX24" fmla="*/ 12689 w 270502"/>
                  <a:gd name="connsiteY24" fmla="*/ 467703 h 721392"/>
                  <a:gd name="connsiteX25" fmla="*/ 335 w 270502"/>
                  <a:gd name="connsiteY25" fmla="*/ 427937 h 721392"/>
                  <a:gd name="connsiteX26" fmla="*/ 20264 w 270502"/>
                  <a:gd name="connsiteY26" fmla="*/ 253359 h 721392"/>
                  <a:gd name="connsiteX27" fmla="*/ 96852 w 270502"/>
                  <a:gd name="connsiteY27" fmla="*/ 180349 h 721392"/>
                  <a:gd name="connsiteX28" fmla="*/ 135235 w 270502"/>
                  <a:gd name="connsiteY28" fmla="*/ 120232 h 721392"/>
                  <a:gd name="connsiteX29" fmla="*/ 135234 w 270502"/>
                  <a:gd name="connsiteY29" fmla="*/ 120232 h 721392"/>
                  <a:gd name="connsiteX30" fmla="*/ 135235 w 270502"/>
                  <a:gd name="connsiteY30" fmla="*/ 120232 h 721392"/>
                  <a:gd name="connsiteX31" fmla="*/ 135234 w 270502"/>
                  <a:gd name="connsiteY31" fmla="*/ 0 h 721392"/>
                  <a:gd name="connsiteX32" fmla="*/ 210379 w 270502"/>
                  <a:gd name="connsiteY32" fmla="*/ 75145 h 721392"/>
                  <a:gd name="connsiteX33" fmla="*/ 135234 w 270502"/>
                  <a:gd name="connsiteY33" fmla="*/ 150290 h 721392"/>
                  <a:gd name="connsiteX34" fmla="*/ 60089 w 270502"/>
                  <a:gd name="connsiteY34" fmla="*/ 75145 h 721392"/>
                  <a:gd name="connsiteX35" fmla="*/ 135234 w 270502"/>
                  <a:gd name="connsiteY35"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181404 w 270502"/>
                  <a:gd name="connsiteY10" fmla="*/ 691333 h 721392"/>
                  <a:gd name="connsiteX11" fmla="*/ 89097 w 270502"/>
                  <a:gd name="connsiteY11" fmla="*/ 691333 h 721392"/>
                  <a:gd name="connsiteX12" fmla="*/ 96852 w 270502"/>
                  <a:gd name="connsiteY12" fmla="*/ 180349 h 721392"/>
                  <a:gd name="connsiteX13" fmla="*/ 173589 w 270502"/>
                  <a:gd name="connsiteY13" fmla="*/ 180349 h 721392"/>
                  <a:gd name="connsiteX14" fmla="*/ 250238 w 270502"/>
                  <a:gd name="connsiteY14" fmla="*/ 253359 h 721392"/>
                  <a:gd name="connsiteX15" fmla="*/ 270166 w 270502"/>
                  <a:gd name="connsiteY15" fmla="*/ 427937 h 721392"/>
                  <a:gd name="connsiteX16" fmla="*/ 257782 w 270502"/>
                  <a:gd name="connsiteY16" fmla="*/ 467703 h 721392"/>
                  <a:gd name="connsiteX17" fmla="*/ 226913 w 270502"/>
                  <a:gd name="connsiteY17" fmla="*/ 482882 h 721392"/>
                  <a:gd name="connsiteX18" fmla="*/ 210320 w 270502"/>
                  <a:gd name="connsiteY18" fmla="*/ 707475 h 721392"/>
                  <a:gd name="connsiteX19" fmla="*/ 195351 w 270502"/>
                  <a:gd name="connsiteY19" fmla="*/ 721392 h 721392"/>
                  <a:gd name="connsiteX20" fmla="*/ 75119 w 270502"/>
                  <a:gd name="connsiteY20" fmla="*/ 721392 h 721392"/>
                  <a:gd name="connsiteX21" fmla="*/ 60151 w 270502"/>
                  <a:gd name="connsiteY21" fmla="*/ 707475 h 721392"/>
                  <a:gd name="connsiteX22" fmla="*/ 43558 w 270502"/>
                  <a:gd name="connsiteY22" fmla="*/ 482882 h 721392"/>
                  <a:gd name="connsiteX23" fmla="*/ 12689 w 270502"/>
                  <a:gd name="connsiteY23" fmla="*/ 467703 h 721392"/>
                  <a:gd name="connsiteX24" fmla="*/ 335 w 270502"/>
                  <a:gd name="connsiteY24" fmla="*/ 427937 h 721392"/>
                  <a:gd name="connsiteX25" fmla="*/ 20264 w 270502"/>
                  <a:gd name="connsiteY25" fmla="*/ 253359 h 721392"/>
                  <a:gd name="connsiteX26" fmla="*/ 96852 w 270502"/>
                  <a:gd name="connsiteY26" fmla="*/ 180349 h 721392"/>
                  <a:gd name="connsiteX27" fmla="*/ 135235 w 270502"/>
                  <a:gd name="connsiteY27" fmla="*/ 120232 h 721392"/>
                  <a:gd name="connsiteX28" fmla="*/ 135234 w 270502"/>
                  <a:gd name="connsiteY28" fmla="*/ 120232 h 721392"/>
                  <a:gd name="connsiteX29" fmla="*/ 135235 w 270502"/>
                  <a:gd name="connsiteY29" fmla="*/ 120232 h 721392"/>
                  <a:gd name="connsiteX30" fmla="*/ 135234 w 270502"/>
                  <a:gd name="connsiteY30" fmla="*/ 0 h 721392"/>
                  <a:gd name="connsiteX31" fmla="*/ 210379 w 270502"/>
                  <a:gd name="connsiteY31" fmla="*/ 75145 h 721392"/>
                  <a:gd name="connsiteX32" fmla="*/ 135234 w 270502"/>
                  <a:gd name="connsiteY32" fmla="*/ 150290 h 721392"/>
                  <a:gd name="connsiteX33" fmla="*/ 60089 w 270502"/>
                  <a:gd name="connsiteY33" fmla="*/ 75145 h 721392"/>
                  <a:gd name="connsiteX34" fmla="*/ 135234 w 270502"/>
                  <a:gd name="connsiteY34"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235419 w 270502"/>
                  <a:gd name="connsiteY8" fmla="*/ 447684 h 721392"/>
                  <a:gd name="connsiteX9" fmla="*/ 181404 w 270502"/>
                  <a:gd name="connsiteY9" fmla="*/ 691333 h 721392"/>
                  <a:gd name="connsiteX10" fmla="*/ 89097 w 270502"/>
                  <a:gd name="connsiteY10" fmla="*/ 691333 h 721392"/>
                  <a:gd name="connsiteX11" fmla="*/ 96852 w 270502"/>
                  <a:gd name="connsiteY11" fmla="*/ 180349 h 721392"/>
                  <a:gd name="connsiteX12" fmla="*/ 173589 w 270502"/>
                  <a:gd name="connsiteY12" fmla="*/ 180349 h 721392"/>
                  <a:gd name="connsiteX13" fmla="*/ 250238 w 270502"/>
                  <a:gd name="connsiteY13" fmla="*/ 253359 h 721392"/>
                  <a:gd name="connsiteX14" fmla="*/ 270166 w 270502"/>
                  <a:gd name="connsiteY14" fmla="*/ 427937 h 721392"/>
                  <a:gd name="connsiteX15" fmla="*/ 257782 w 270502"/>
                  <a:gd name="connsiteY15" fmla="*/ 467703 h 721392"/>
                  <a:gd name="connsiteX16" fmla="*/ 226913 w 270502"/>
                  <a:gd name="connsiteY16" fmla="*/ 482882 h 721392"/>
                  <a:gd name="connsiteX17" fmla="*/ 210320 w 270502"/>
                  <a:gd name="connsiteY17" fmla="*/ 707475 h 721392"/>
                  <a:gd name="connsiteX18" fmla="*/ 195351 w 270502"/>
                  <a:gd name="connsiteY18" fmla="*/ 721392 h 721392"/>
                  <a:gd name="connsiteX19" fmla="*/ 75119 w 270502"/>
                  <a:gd name="connsiteY19" fmla="*/ 721392 h 721392"/>
                  <a:gd name="connsiteX20" fmla="*/ 60151 w 270502"/>
                  <a:gd name="connsiteY20" fmla="*/ 707475 h 721392"/>
                  <a:gd name="connsiteX21" fmla="*/ 43558 w 270502"/>
                  <a:gd name="connsiteY21" fmla="*/ 482882 h 721392"/>
                  <a:gd name="connsiteX22" fmla="*/ 12689 w 270502"/>
                  <a:gd name="connsiteY22" fmla="*/ 467703 h 721392"/>
                  <a:gd name="connsiteX23" fmla="*/ 335 w 270502"/>
                  <a:gd name="connsiteY23" fmla="*/ 427937 h 721392"/>
                  <a:gd name="connsiteX24" fmla="*/ 20264 w 270502"/>
                  <a:gd name="connsiteY24" fmla="*/ 253359 h 721392"/>
                  <a:gd name="connsiteX25" fmla="*/ 96852 w 270502"/>
                  <a:gd name="connsiteY25" fmla="*/ 180349 h 721392"/>
                  <a:gd name="connsiteX26" fmla="*/ 135235 w 270502"/>
                  <a:gd name="connsiteY26" fmla="*/ 120232 h 721392"/>
                  <a:gd name="connsiteX27" fmla="*/ 135234 w 270502"/>
                  <a:gd name="connsiteY27" fmla="*/ 120232 h 721392"/>
                  <a:gd name="connsiteX28" fmla="*/ 135235 w 270502"/>
                  <a:gd name="connsiteY28" fmla="*/ 120232 h 721392"/>
                  <a:gd name="connsiteX29" fmla="*/ 135234 w 270502"/>
                  <a:gd name="connsiteY29" fmla="*/ 0 h 721392"/>
                  <a:gd name="connsiteX30" fmla="*/ 210379 w 270502"/>
                  <a:gd name="connsiteY30" fmla="*/ 75145 h 721392"/>
                  <a:gd name="connsiteX31" fmla="*/ 135234 w 270502"/>
                  <a:gd name="connsiteY31" fmla="*/ 150290 h 721392"/>
                  <a:gd name="connsiteX32" fmla="*/ 60089 w 270502"/>
                  <a:gd name="connsiteY32" fmla="*/ 75145 h 721392"/>
                  <a:gd name="connsiteX33" fmla="*/ 135234 w 270502"/>
                  <a:gd name="connsiteY33"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181404 w 270502"/>
                  <a:gd name="connsiteY8" fmla="*/ 691333 h 721392"/>
                  <a:gd name="connsiteX9" fmla="*/ 89097 w 270502"/>
                  <a:gd name="connsiteY9" fmla="*/ 691333 h 721392"/>
                  <a:gd name="connsiteX10" fmla="*/ 96852 w 270502"/>
                  <a:gd name="connsiteY10" fmla="*/ 180349 h 721392"/>
                  <a:gd name="connsiteX11" fmla="*/ 173589 w 270502"/>
                  <a:gd name="connsiteY11" fmla="*/ 180349 h 721392"/>
                  <a:gd name="connsiteX12" fmla="*/ 250238 w 270502"/>
                  <a:gd name="connsiteY12" fmla="*/ 253359 h 721392"/>
                  <a:gd name="connsiteX13" fmla="*/ 270166 w 270502"/>
                  <a:gd name="connsiteY13" fmla="*/ 427937 h 721392"/>
                  <a:gd name="connsiteX14" fmla="*/ 257782 w 270502"/>
                  <a:gd name="connsiteY14" fmla="*/ 467703 h 721392"/>
                  <a:gd name="connsiteX15" fmla="*/ 226913 w 270502"/>
                  <a:gd name="connsiteY15" fmla="*/ 482882 h 721392"/>
                  <a:gd name="connsiteX16" fmla="*/ 210320 w 270502"/>
                  <a:gd name="connsiteY16" fmla="*/ 707475 h 721392"/>
                  <a:gd name="connsiteX17" fmla="*/ 195351 w 270502"/>
                  <a:gd name="connsiteY17" fmla="*/ 721392 h 721392"/>
                  <a:gd name="connsiteX18" fmla="*/ 75119 w 270502"/>
                  <a:gd name="connsiteY18" fmla="*/ 721392 h 721392"/>
                  <a:gd name="connsiteX19" fmla="*/ 60151 w 270502"/>
                  <a:gd name="connsiteY19" fmla="*/ 707475 h 721392"/>
                  <a:gd name="connsiteX20" fmla="*/ 43558 w 270502"/>
                  <a:gd name="connsiteY20" fmla="*/ 482882 h 721392"/>
                  <a:gd name="connsiteX21" fmla="*/ 12689 w 270502"/>
                  <a:gd name="connsiteY21" fmla="*/ 467703 h 721392"/>
                  <a:gd name="connsiteX22" fmla="*/ 335 w 270502"/>
                  <a:gd name="connsiteY22" fmla="*/ 427937 h 721392"/>
                  <a:gd name="connsiteX23" fmla="*/ 20264 w 270502"/>
                  <a:gd name="connsiteY23" fmla="*/ 253359 h 721392"/>
                  <a:gd name="connsiteX24" fmla="*/ 96852 w 270502"/>
                  <a:gd name="connsiteY24" fmla="*/ 180349 h 721392"/>
                  <a:gd name="connsiteX25" fmla="*/ 135235 w 270502"/>
                  <a:gd name="connsiteY25" fmla="*/ 120232 h 721392"/>
                  <a:gd name="connsiteX26" fmla="*/ 135234 w 270502"/>
                  <a:gd name="connsiteY26" fmla="*/ 120232 h 721392"/>
                  <a:gd name="connsiteX27" fmla="*/ 135235 w 270502"/>
                  <a:gd name="connsiteY27" fmla="*/ 120232 h 721392"/>
                  <a:gd name="connsiteX28" fmla="*/ 135234 w 270502"/>
                  <a:gd name="connsiteY28" fmla="*/ 0 h 721392"/>
                  <a:gd name="connsiteX29" fmla="*/ 210379 w 270502"/>
                  <a:gd name="connsiteY29" fmla="*/ 75145 h 721392"/>
                  <a:gd name="connsiteX30" fmla="*/ 135234 w 270502"/>
                  <a:gd name="connsiteY30" fmla="*/ 150290 h 721392"/>
                  <a:gd name="connsiteX31" fmla="*/ 60089 w 270502"/>
                  <a:gd name="connsiteY31" fmla="*/ 75145 h 721392"/>
                  <a:gd name="connsiteX32" fmla="*/ 135234 w 270502"/>
                  <a:gd name="connsiteY32"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181404 w 270502"/>
                  <a:gd name="connsiteY7" fmla="*/ 691333 h 721392"/>
                  <a:gd name="connsiteX8" fmla="*/ 89097 w 270502"/>
                  <a:gd name="connsiteY8" fmla="*/ 691333 h 721392"/>
                  <a:gd name="connsiteX9" fmla="*/ 96852 w 270502"/>
                  <a:gd name="connsiteY9" fmla="*/ 180349 h 721392"/>
                  <a:gd name="connsiteX10" fmla="*/ 173589 w 270502"/>
                  <a:gd name="connsiteY10" fmla="*/ 180349 h 721392"/>
                  <a:gd name="connsiteX11" fmla="*/ 250238 w 270502"/>
                  <a:gd name="connsiteY11" fmla="*/ 253359 h 721392"/>
                  <a:gd name="connsiteX12" fmla="*/ 270166 w 270502"/>
                  <a:gd name="connsiteY12" fmla="*/ 427937 h 721392"/>
                  <a:gd name="connsiteX13" fmla="*/ 257782 w 270502"/>
                  <a:gd name="connsiteY13" fmla="*/ 467703 h 721392"/>
                  <a:gd name="connsiteX14" fmla="*/ 226913 w 270502"/>
                  <a:gd name="connsiteY14" fmla="*/ 482882 h 721392"/>
                  <a:gd name="connsiteX15" fmla="*/ 210320 w 270502"/>
                  <a:gd name="connsiteY15" fmla="*/ 707475 h 721392"/>
                  <a:gd name="connsiteX16" fmla="*/ 195351 w 270502"/>
                  <a:gd name="connsiteY16" fmla="*/ 721392 h 721392"/>
                  <a:gd name="connsiteX17" fmla="*/ 75119 w 270502"/>
                  <a:gd name="connsiteY17" fmla="*/ 721392 h 721392"/>
                  <a:gd name="connsiteX18" fmla="*/ 60151 w 270502"/>
                  <a:gd name="connsiteY18" fmla="*/ 707475 h 721392"/>
                  <a:gd name="connsiteX19" fmla="*/ 43558 w 270502"/>
                  <a:gd name="connsiteY19" fmla="*/ 482882 h 721392"/>
                  <a:gd name="connsiteX20" fmla="*/ 12689 w 270502"/>
                  <a:gd name="connsiteY20" fmla="*/ 467703 h 721392"/>
                  <a:gd name="connsiteX21" fmla="*/ 335 w 270502"/>
                  <a:gd name="connsiteY21" fmla="*/ 427937 h 721392"/>
                  <a:gd name="connsiteX22" fmla="*/ 20264 w 270502"/>
                  <a:gd name="connsiteY22" fmla="*/ 253359 h 721392"/>
                  <a:gd name="connsiteX23" fmla="*/ 96852 w 270502"/>
                  <a:gd name="connsiteY23" fmla="*/ 180349 h 721392"/>
                  <a:gd name="connsiteX24" fmla="*/ 135235 w 270502"/>
                  <a:gd name="connsiteY24" fmla="*/ 120232 h 721392"/>
                  <a:gd name="connsiteX25" fmla="*/ 135234 w 270502"/>
                  <a:gd name="connsiteY25" fmla="*/ 120232 h 721392"/>
                  <a:gd name="connsiteX26" fmla="*/ 135235 w 270502"/>
                  <a:gd name="connsiteY26" fmla="*/ 120232 h 721392"/>
                  <a:gd name="connsiteX27" fmla="*/ 135234 w 270502"/>
                  <a:gd name="connsiteY27" fmla="*/ 0 h 721392"/>
                  <a:gd name="connsiteX28" fmla="*/ 210379 w 270502"/>
                  <a:gd name="connsiteY28" fmla="*/ 75145 h 721392"/>
                  <a:gd name="connsiteX29" fmla="*/ 135234 w 270502"/>
                  <a:gd name="connsiteY29" fmla="*/ 150290 h 721392"/>
                  <a:gd name="connsiteX30" fmla="*/ 60089 w 270502"/>
                  <a:gd name="connsiteY30" fmla="*/ 75145 h 721392"/>
                  <a:gd name="connsiteX31" fmla="*/ 135234 w 270502"/>
                  <a:gd name="connsiteY31"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240348 w 270502"/>
                  <a:gd name="connsiteY5" fmla="*/ 431333 h 721392"/>
                  <a:gd name="connsiteX6" fmla="*/ 181404 w 270502"/>
                  <a:gd name="connsiteY6" fmla="*/ 691333 h 721392"/>
                  <a:gd name="connsiteX7" fmla="*/ 89097 w 270502"/>
                  <a:gd name="connsiteY7" fmla="*/ 691333 h 721392"/>
                  <a:gd name="connsiteX8" fmla="*/ 96852 w 270502"/>
                  <a:gd name="connsiteY8" fmla="*/ 180349 h 721392"/>
                  <a:gd name="connsiteX9" fmla="*/ 173589 w 270502"/>
                  <a:gd name="connsiteY9" fmla="*/ 180349 h 721392"/>
                  <a:gd name="connsiteX10" fmla="*/ 250238 w 270502"/>
                  <a:gd name="connsiteY10" fmla="*/ 253359 h 721392"/>
                  <a:gd name="connsiteX11" fmla="*/ 270166 w 270502"/>
                  <a:gd name="connsiteY11" fmla="*/ 427937 h 721392"/>
                  <a:gd name="connsiteX12" fmla="*/ 257782 w 270502"/>
                  <a:gd name="connsiteY12" fmla="*/ 467703 h 721392"/>
                  <a:gd name="connsiteX13" fmla="*/ 226913 w 270502"/>
                  <a:gd name="connsiteY13" fmla="*/ 482882 h 721392"/>
                  <a:gd name="connsiteX14" fmla="*/ 210320 w 270502"/>
                  <a:gd name="connsiteY14" fmla="*/ 707475 h 721392"/>
                  <a:gd name="connsiteX15" fmla="*/ 195351 w 270502"/>
                  <a:gd name="connsiteY15" fmla="*/ 721392 h 721392"/>
                  <a:gd name="connsiteX16" fmla="*/ 75119 w 270502"/>
                  <a:gd name="connsiteY16" fmla="*/ 721392 h 721392"/>
                  <a:gd name="connsiteX17" fmla="*/ 60151 w 270502"/>
                  <a:gd name="connsiteY17" fmla="*/ 707475 h 721392"/>
                  <a:gd name="connsiteX18" fmla="*/ 43558 w 270502"/>
                  <a:gd name="connsiteY18" fmla="*/ 482882 h 721392"/>
                  <a:gd name="connsiteX19" fmla="*/ 12689 w 270502"/>
                  <a:gd name="connsiteY19" fmla="*/ 467703 h 721392"/>
                  <a:gd name="connsiteX20" fmla="*/ 335 w 270502"/>
                  <a:gd name="connsiteY20" fmla="*/ 427937 h 721392"/>
                  <a:gd name="connsiteX21" fmla="*/ 20264 w 270502"/>
                  <a:gd name="connsiteY21" fmla="*/ 253359 h 721392"/>
                  <a:gd name="connsiteX22" fmla="*/ 96852 w 270502"/>
                  <a:gd name="connsiteY22" fmla="*/ 180349 h 721392"/>
                  <a:gd name="connsiteX23" fmla="*/ 135235 w 270502"/>
                  <a:gd name="connsiteY23" fmla="*/ 120232 h 721392"/>
                  <a:gd name="connsiteX24" fmla="*/ 135234 w 270502"/>
                  <a:gd name="connsiteY24" fmla="*/ 120232 h 721392"/>
                  <a:gd name="connsiteX25" fmla="*/ 135235 w 270502"/>
                  <a:gd name="connsiteY25" fmla="*/ 120232 h 721392"/>
                  <a:gd name="connsiteX26" fmla="*/ 135234 w 270502"/>
                  <a:gd name="connsiteY26" fmla="*/ 0 h 721392"/>
                  <a:gd name="connsiteX27" fmla="*/ 210379 w 270502"/>
                  <a:gd name="connsiteY27" fmla="*/ 75145 h 721392"/>
                  <a:gd name="connsiteX28" fmla="*/ 135234 w 270502"/>
                  <a:gd name="connsiteY28" fmla="*/ 150290 h 721392"/>
                  <a:gd name="connsiteX29" fmla="*/ 60089 w 270502"/>
                  <a:gd name="connsiteY29" fmla="*/ 75145 h 721392"/>
                  <a:gd name="connsiteX30" fmla="*/ 135234 w 270502"/>
                  <a:gd name="connsiteY30"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181404 w 270502"/>
                  <a:gd name="connsiteY5" fmla="*/ 691333 h 721392"/>
                  <a:gd name="connsiteX6" fmla="*/ 89097 w 270502"/>
                  <a:gd name="connsiteY6" fmla="*/ 691333 h 721392"/>
                  <a:gd name="connsiteX7" fmla="*/ 96852 w 270502"/>
                  <a:gd name="connsiteY7" fmla="*/ 180349 h 721392"/>
                  <a:gd name="connsiteX8" fmla="*/ 173589 w 270502"/>
                  <a:gd name="connsiteY8" fmla="*/ 180349 h 721392"/>
                  <a:gd name="connsiteX9" fmla="*/ 250238 w 270502"/>
                  <a:gd name="connsiteY9" fmla="*/ 253359 h 721392"/>
                  <a:gd name="connsiteX10" fmla="*/ 270166 w 270502"/>
                  <a:gd name="connsiteY10" fmla="*/ 427937 h 721392"/>
                  <a:gd name="connsiteX11" fmla="*/ 257782 w 270502"/>
                  <a:gd name="connsiteY11" fmla="*/ 467703 h 721392"/>
                  <a:gd name="connsiteX12" fmla="*/ 226913 w 270502"/>
                  <a:gd name="connsiteY12" fmla="*/ 482882 h 721392"/>
                  <a:gd name="connsiteX13" fmla="*/ 210320 w 270502"/>
                  <a:gd name="connsiteY13" fmla="*/ 707475 h 721392"/>
                  <a:gd name="connsiteX14" fmla="*/ 195351 w 270502"/>
                  <a:gd name="connsiteY14" fmla="*/ 721392 h 721392"/>
                  <a:gd name="connsiteX15" fmla="*/ 75119 w 270502"/>
                  <a:gd name="connsiteY15" fmla="*/ 721392 h 721392"/>
                  <a:gd name="connsiteX16" fmla="*/ 60151 w 270502"/>
                  <a:gd name="connsiteY16" fmla="*/ 707475 h 721392"/>
                  <a:gd name="connsiteX17" fmla="*/ 43558 w 270502"/>
                  <a:gd name="connsiteY17" fmla="*/ 482882 h 721392"/>
                  <a:gd name="connsiteX18" fmla="*/ 12689 w 270502"/>
                  <a:gd name="connsiteY18" fmla="*/ 467703 h 721392"/>
                  <a:gd name="connsiteX19" fmla="*/ 335 w 270502"/>
                  <a:gd name="connsiteY19" fmla="*/ 427937 h 721392"/>
                  <a:gd name="connsiteX20" fmla="*/ 20264 w 270502"/>
                  <a:gd name="connsiteY20" fmla="*/ 253359 h 721392"/>
                  <a:gd name="connsiteX21" fmla="*/ 96852 w 270502"/>
                  <a:gd name="connsiteY21" fmla="*/ 180349 h 721392"/>
                  <a:gd name="connsiteX22" fmla="*/ 135235 w 270502"/>
                  <a:gd name="connsiteY22" fmla="*/ 120232 h 721392"/>
                  <a:gd name="connsiteX23" fmla="*/ 135234 w 270502"/>
                  <a:gd name="connsiteY23" fmla="*/ 120232 h 721392"/>
                  <a:gd name="connsiteX24" fmla="*/ 135235 w 270502"/>
                  <a:gd name="connsiteY24" fmla="*/ 120232 h 721392"/>
                  <a:gd name="connsiteX25" fmla="*/ 135234 w 270502"/>
                  <a:gd name="connsiteY25" fmla="*/ 0 h 721392"/>
                  <a:gd name="connsiteX26" fmla="*/ 210379 w 270502"/>
                  <a:gd name="connsiteY26" fmla="*/ 75145 h 721392"/>
                  <a:gd name="connsiteX27" fmla="*/ 135234 w 270502"/>
                  <a:gd name="connsiteY27" fmla="*/ 150290 h 721392"/>
                  <a:gd name="connsiteX28" fmla="*/ 60089 w 270502"/>
                  <a:gd name="connsiteY28" fmla="*/ 75145 h 721392"/>
                  <a:gd name="connsiteX29" fmla="*/ 135234 w 270502"/>
                  <a:gd name="connsiteY29"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181404 w 270502"/>
                  <a:gd name="connsiteY4" fmla="*/ 691333 h 721392"/>
                  <a:gd name="connsiteX5" fmla="*/ 89097 w 270502"/>
                  <a:gd name="connsiteY5" fmla="*/ 691333 h 721392"/>
                  <a:gd name="connsiteX6" fmla="*/ 96852 w 270502"/>
                  <a:gd name="connsiteY6" fmla="*/ 180349 h 721392"/>
                  <a:gd name="connsiteX7" fmla="*/ 173589 w 270502"/>
                  <a:gd name="connsiteY7" fmla="*/ 180349 h 721392"/>
                  <a:gd name="connsiteX8" fmla="*/ 250238 w 270502"/>
                  <a:gd name="connsiteY8" fmla="*/ 253359 h 721392"/>
                  <a:gd name="connsiteX9" fmla="*/ 270166 w 270502"/>
                  <a:gd name="connsiteY9" fmla="*/ 427937 h 721392"/>
                  <a:gd name="connsiteX10" fmla="*/ 257782 w 270502"/>
                  <a:gd name="connsiteY10" fmla="*/ 467703 h 721392"/>
                  <a:gd name="connsiteX11" fmla="*/ 226913 w 270502"/>
                  <a:gd name="connsiteY11" fmla="*/ 482882 h 721392"/>
                  <a:gd name="connsiteX12" fmla="*/ 210320 w 270502"/>
                  <a:gd name="connsiteY12" fmla="*/ 707475 h 721392"/>
                  <a:gd name="connsiteX13" fmla="*/ 195351 w 270502"/>
                  <a:gd name="connsiteY13" fmla="*/ 721392 h 721392"/>
                  <a:gd name="connsiteX14" fmla="*/ 75119 w 270502"/>
                  <a:gd name="connsiteY14" fmla="*/ 721392 h 721392"/>
                  <a:gd name="connsiteX15" fmla="*/ 60151 w 270502"/>
                  <a:gd name="connsiteY15" fmla="*/ 707475 h 721392"/>
                  <a:gd name="connsiteX16" fmla="*/ 43558 w 270502"/>
                  <a:gd name="connsiteY16" fmla="*/ 482882 h 721392"/>
                  <a:gd name="connsiteX17" fmla="*/ 12689 w 270502"/>
                  <a:gd name="connsiteY17" fmla="*/ 467703 h 721392"/>
                  <a:gd name="connsiteX18" fmla="*/ 335 w 270502"/>
                  <a:gd name="connsiteY18" fmla="*/ 427937 h 721392"/>
                  <a:gd name="connsiteX19" fmla="*/ 20264 w 270502"/>
                  <a:gd name="connsiteY19" fmla="*/ 253359 h 721392"/>
                  <a:gd name="connsiteX20" fmla="*/ 96852 w 270502"/>
                  <a:gd name="connsiteY20" fmla="*/ 180349 h 721392"/>
                  <a:gd name="connsiteX21" fmla="*/ 135235 w 270502"/>
                  <a:gd name="connsiteY21" fmla="*/ 120232 h 721392"/>
                  <a:gd name="connsiteX22" fmla="*/ 135234 w 270502"/>
                  <a:gd name="connsiteY22" fmla="*/ 120232 h 721392"/>
                  <a:gd name="connsiteX23" fmla="*/ 135235 w 270502"/>
                  <a:gd name="connsiteY23" fmla="*/ 120232 h 721392"/>
                  <a:gd name="connsiteX24" fmla="*/ 135234 w 270502"/>
                  <a:gd name="connsiteY24" fmla="*/ 0 h 721392"/>
                  <a:gd name="connsiteX25" fmla="*/ 210379 w 270502"/>
                  <a:gd name="connsiteY25" fmla="*/ 75145 h 721392"/>
                  <a:gd name="connsiteX26" fmla="*/ 135234 w 270502"/>
                  <a:gd name="connsiteY26" fmla="*/ 150290 h 721392"/>
                  <a:gd name="connsiteX27" fmla="*/ 60089 w 270502"/>
                  <a:gd name="connsiteY27" fmla="*/ 75145 h 721392"/>
                  <a:gd name="connsiteX28" fmla="*/ 135234 w 270502"/>
                  <a:gd name="connsiteY2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81404 w 270502"/>
                  <a:gd name="connsiteY3" fmla="*/ 691333 h 721392"/>
                  <a:gd name="connsiteX4" fmla="*/ 89097 w 270502"/>
                  <a:gd name="connsiteY4" fmla="*/ 691333 h 721392"/>
                  <a:gd name="connsiteX5" fmla="*/ 96852 w 270502"/>
                  <a:gd name="connsiteY5" fmla="*/ 180349 h 721392"/>
                  <a:gd name="connsiteX6" fmla="*/ 173589 w 270502"/>
                  <a:gd name="connsiteY6" fmla="*/ 180349 h 721392"/>
                  <a:gd name="connsiteX7" fmla="*/ 250238 w 270502"/>
                  <a:gd name="connsiteY7" fmla="*/ 253359 h 721392"/>
                  <a:gd name="connsiteX8" fmla="*/ 270166 w 270502"/>
                  <a:gd name="connsiteY8" fmla="*/ 427937 h 721392"/>
                  <a:gd name="connsiteX9" fmla="*/ 257782 w 270502"/>
                  <a:gd name="connsiteY9" fmla="*/ 467703 h 721392"/>
                  <a:gd name="connsiteX10" fmla="*/ 226913 w 270502"/>
                  <a:gd name="connsiteY10" fmla="*/ 482882 h 721392"/>
                  <a:gd name="connsiteX11" fmla="*/ 210320 w 270502"/>
                  <a:gd name="connsiteY11" fmla="*/ 707475 h 721392"/>
                  <a:gd name="connsiteX12" fmla="*/ 195351 w 270502"/>
                  <a:gd name="connsiteY12" fmla="*/ 721392 h 721392"/>
                  <a:gd name="connsiteX13" fmla="*/ 75119 w 270502"/>
                  <a:gd name="connsiteY13" fmla="*/ 721392 h 721392"/>
                  <a:gd name="connsiteX14" fmla="*/ 60151 w 270502"/>
                  <a:gd name="connsiteY14" fmla="*/ 707475 h 721392"/>
                  <a:gd name="connsiteX15" fmla="*/ 43558 w 270502"/>
                  <a:gd name="connsiteY15" fmla="*/ 482882 h 721392"/>
                  <a:gd name="connsiteX16" fmla="*/ 12689 w 270502"/>
                  <a:gd name="connsiteY16" fmla="*/ 467703 h 721392"/>
                  <a:gd name="connsiteX17" fmla="*/ 335 w 270502"/>
                  <a:gd name="connsiteY17" fmla="*/ 427937 h 721392"/>
                  <a:gd name="connsiteX18" fmla="*/ 20264 w 270502"/>
                  <a:gd name="connsiteY18" fmla="*/ 253359 h 721392"/>
                  <a:gd name="connsiteX19" fmla="*/ 96852 w 270502"/>
                  <a:gd name="connsiteY19" fmla="*/ 180349 h 721392"/>
                  <a:gd name="connsiteX20" fmla="*/ 135235 w 270502"/>
                  <a:gd name="connsiteY20" fmla="*/ 120232 h 721392"/>
                  <a:gd name="connsiteX21" fmla="*/ 135234 w 270502"/>
                  <a:gd name="connsiteY21" fmla="*/ 120232 h 721392"/>
                  <a:gd name="connsiteX22" fmla="*/ 135235 w 270502"/>
                  <a:gd name="connsiteY22" fmla="*/ 120232 h 721392"/>
                  <a:gd name="connsiteX23" fmla="*/ 135234 w 270502"/>
                  <a:gd name="connsiteY23" fmla="*/ 0 h 721392"/>
                  <a:gd name="connsiteX24" fmla="*/ 210379 w 270502"/>
                  <a:gd name="connsiteY24" fmla="*/ 75145 h 721392"/>
                  <a:gd name="connsiteX25" fmla="*/ 135234 w 270502"/>
                  <a:gd name="connsiteY25" fmla="*/ 150290 h 721392"/>
                  <a:gd name="connsiteX26" fmla="*/ 60089 w 270502"/>
                  <a:gd name="connsiteY26" fmla="*/ 75145 h 721392"/>
                  <a:gd name="connsiteX27" fmla="*/ 135234 w 270502"/>
                  <a:gd name="connsiteY2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89097 w 270502"/>
                  <a:gd name="connsiteY3" fmla="*/ 691333 h 721392"/>
                  <a:gd name="connsiteX4" fmla="*/ 96852 w 270502"/>
                  <a:gd name="connsiteY4" fmla="*/ 180349 h 721392"/>
                  <a:gd name="connsiteX5" fmla="*/ 173589 w 270502"/>
                  <a:gd name="connsiteY5" fmla="*/ 180349 h 721392"/>
                  <a:gd name="connsiteX6" fmla="*/ 250238 w 270502"/>
                  <a:gd name="connsiteY6" fmla="*/ 253359 h 721392"/>
                  <a:gd name="connsiteX7" fmla="*/ 270166 w 270502"/>
                  <a:gd name="connsiteY7" fmla="*/ 427937 h 721392"/>
                  <a:gd name="connsiteX8" fmla="*/ 257782 w 270502"/>
                  <a:gd name="connsiteY8" fmla="*/ 467703 h 721392"/>
                  <a:gd name="connsiteX9" fmla="*/ 226913 w 270502"/>
                  <a:gd name="connsiteY9" fmla="*/ 482882 h 721392"/>
                  <a:gd name="connsiteX10" fmla="*/ 210320 w 270502"/>
                  <a:gd name="connsiteY10" fmla="*/ 707475 h 721392"/>
                  <a:gd name="connsiteX11" fmla="*/ 195351 w 270502"/>
                  <a:gd name="connsiteY11" fmla="*/ 721392 h 721392"/>
                  <a:gd name="connsiteX12" fmla="*/ 75119 w 270502"/>
                  <a:gd name="connsiteY12" fmla="*/ 721392 h 721392"/>
                  <a:gd name="connsiteX13" fmla="*/ 60151 w 270502"/>
                  <a:gd name="connsiteY13" fmla="*/ 707475 h 721392"/>
                  <a:gd name="connsiteX14" fmla="*/ 43558 w 270502"/>
                  <a:gd name="connsiteY14" fmla="*/ 482882 h 721392"/>
                  <a:gd name="connsiteX15" fmla="*/ 12689 w 270502"/>
                  <a:gd name="connsiteY15" fmla="*/ 467703 h 721392"/>
                  <a:gd name="connsiteX16" fmla="*/ 335 w 270502"/>
                  <a:gd name="connsiteY16" fmla="*/ 427937 h 721392"/>
                  <a:gd name="connsiteX17" fmla="*/ 20264 w 270502"/>
                  <a:gd name="connsiteY17" fmla="*/ 253359 h 721392"/>
                  <a:gd name="connsiteX18" fmla="*/ 96852 w 270502"/>
                  <a:gd name="connsiteY18" fmla="*/ 180349 h 721392"/>
                  <a:gd name="connsiteX19" fmla="*/ 135235 w 270502"/>
                  <a:gd name="connsiteY19" fmla="*/ 120232 h 721392"/>
                  <a:gd name="connsiteX20" fmla="*/ 135234 w 270502"/>
                  <a:gd name="connsiteY20" fmla="*/ 120232 h 721392"/>
                  <a:gd name="connsiteX21" fmla="*/ 135235 w 270502"/>
                  <a:gd name="connsiteY21" fmla="*/ 120232 h 721392"/>
                  <a:gd name="connsiteX22" fmla="*/ 135234 w 270502"/>
                  <a:gd name="connsiteY22" fmla="*/ 0 h 721392"/>
                  <a:gd name="connsiteX23" fmla="*/ 210379 w 270502"/>
                  <a:gd name="connsiteY23" fmla="*/ 75145 h 721392"/>
                  <a:gd name="connsiteX24" fmla="*/ 135234 w 270502"/>
                  <a:gd name="connsiteY24" fmla="*/ 150290 h 721392"/>
                  <a:gd name="connsiteX25" fmla="*/ 60089 w 270502"/>
                  <a:gd name="connsiteY25" fmla="*/ 75145 h 721392"/>
                  <a:gd name="connsiteX26" fmla="*/ 135234 w 270502"/>
                  <a:gd name="connsiteY26" fmla="*/ 0 h 721392"/>
                  <a:gd name="connsiteX0" fmla="*/ 89097 w 270502"/>
                  <a:gd name="connsiteY0" fmla="*/ 691333 h 721392"/>
                  <a:gd name="connsiteX1" fmla="*/ 89097 w 270502"/>
                  <a:gd name="connsiteY1" fmla="*/ 691334 h 721392"/>
                  <a:gd name="connsiteX2" fmla="*/ 89097 w 270502"/>
                  <a:gd name="connsiteY2" fmla="*/ 691333 h 721392"/>
                  <a:gd name="connsiteX3" fmla="*/ 96852 w 270502"/>
                  <a:gd name="connsiteY3" fmla="*/ 180349 h 721392"/>
                  <a:gd name="connsiteX4" fmla="*/ 173589 w 270502"/>
                  <a:gd name="connsiteY4" fmla="*/ 180349 h 721392"/>
                  <a:gd name="connsiteX5" fmla="*/ 250238 w 270502"/>
                  <a:gd name="connsiteY5" fmla="*/ 253359 h 721392"/>
                  <a:gd name="connsiteX6" fmla="*/ 270166 w 270502"/>
                  <a:gd name="connsiteY6" fmla="*/ 427937 h 721392"/>
                  <a:gd name="connsiteX7" fmla="*/ 257782 w 270502"/>
                  <a:gd name="connsiteY7" fmla="*/ 467703 h 721392"/>
                  <a:gd name="connsiteX8" fmla="*/ 226913 w 270502"/>
                  <a:gd name="connsiteY8" fmla="*/ 482882 h 721392"/>
                  <a:gd name="connsiteX9" fmla="*/ 210320 w 270502"/>
                  <a:gd name="connsiteY9" fmla="*/ 707475 h 721392"/>
                  <a:gd name="connsiteX10" fmla="*/ 195351 w 270502"/>
                  <a:gd name="connsiteY10" fmla="*/ 721392 h 721392"/>
                  <a:gd name="connsiteX11" fmla="*/ 75119 w 270502"/>
                  <a:gd name="connsiteY11" fmla="*/ 721392 h 721392"/>
                  <a:gd name="connsiteX12" fmla="*/ 60151 w 270502"/>
                  <a:gd name="connsiteY12" fmla="*/ 707475 h 721392"/>
                  <a:gd name="connsiteX13" fmla="*/ 43558 w 270502"/>
                  <a:gd name="connsiteY13" fmla="*/ 482882 h 721392"/>
                  <a:gd name="connsiteX14" fmla="*/ 12689 w 270502"/>
                  <a:gd name="connsiteY14" fmla="*/ 467703 h 721392"/>
                  <a:gd name="connsiteX15" fmla="*/ 335 w 270502"/>
                  <a:gd name="connsiteY15" fmla="*/ 427937 h 721392"/>
                  <a:gd name="connsiteX16" fmla="*/ 20264 w 270502"/>
                  <a:gd name="connsiteY16" fmla="*/ 253359 h 721392"/>
                  <a:gd name="connsiteX17" fmla="*/ 96852 w 270502"/>
                  <a:gd name="connsiteY17" fmla="*/ 180349 h 721392"/>
                  <a:gd name="connsiteX18" fmla="*/ 135235 w 270502"/>
                  <a:gd name="connsiteY18" fmla="*/ 120232 h 721392"/>
                  <a:gd name="connsiteX19" fmla="*/ 135234 w 270502"/>
                  <a:gd name="connsiteY19" fmla="*/ 120232 h 721392"/>
                  <a:gd name="connsiteX20" fmla="*/ 135235 w 270502"/>
                  <a:gd name="connsiteY20" fmla="*/ 120232 h 721392"/>
                  <a:gd name="connsiteX21" fmla="*/ 135234 w 270502"/>
                  <a:gd name="connsiteY21" fmla="*/ 0 h 721392"/>
                  <a:gd name="connsiteX22" fmla="*/ 210379 w 270502"/>
                  <a:gd name="connsiteY22" fmla="*/ 75145 h 721392"/>
                  <a:gd name="connsiteX23" fmla="*/ 135234 w 270502"/>
                  <a:gd name="connsiteY23" fmla="*/ 150290 h 721392"/>
                  <a:gd name="connsiteX24" fmla="*/ 60089 w 270502"/>
                  <a:gd name="connsiteY24" fmla="*/ 75145 h 721392"/>
                  <a:gd name="connsiteX25" fmla="*/ 135234 w 270502"/>
                  <a:gd name="connsiteY25"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5 w 270502"/>
                  <a:gd name="connsiteY15" fmla="*/ 120232 h 721392"/>
                  <a:gd name="connsiteX16" fmla="*/ 135234 w 270502"/>
                  <a:gd name="connsiteY16" fmla="*/ 120232 h 721392"/>
                  <a:gd name="connsiteX17" fmla="*/ 135235 w 270502"/>
                  <a:gd name="connsiteY17" fmla="*/ 120232 h 721392"/>
                  <a:gd name="connsiteX18" fmla="*/ 135234 w 270502"/>
                  <a:gd name="connsiteY18" fmla="*/ 0 h 721392"/>
                  <a:gd name="connsiteX19" fmla="*/ 210379 w 270502"/>
                  <a:gd name="connsiteY19" fmla="*/ 75145 h 721392"/>
                  <a:gd name="connsiteX20" fmla="*/ 135234 w 270502"/>
                  <a:gd name="connsiteY20" fmla="*/ 150290 h 721392"/>
                  <a:gd name="connsiteX21" fmla="*/ 60089 w 270502"/>
                  <a:gd name="connsiteY21" fmla="*/ 75145 h 721392"/>
                  <a:gd name="connsiteX22" fmla="*/ 135234 w 270502"/>
                  <a:gd name="connsiteY22"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4 w 270502"/>
                  <a:gd name="connsiteY15" fmla="*/ 0 h 721392"/>
                  <a:gd name="connsiteX16" fmla="*/ 210379 w 270502"/>
                  <a:gd name="connsiteY16" fmla="*/ 75145 h 721392"/>
                  <a:gd name="connsiteX17" fmla="*/ 135234 w 270502"/>
                  <a:gd name="connsiteY17" fmla="*/ 150290 h 721392"/>
                  <a:gd name="connsiteX18" fmla="*/ 60089 w 270502"/>
                  <a:gd name="connsiteY18" fmla="*/ 75145 h 721392"/>
                  <a:gd name="connsiteX19" fmla="*/ 135234 w 270502"/>
                  <a:gd name="connsiteY19" fmla="*/ 0 h 72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0502" h="721392">
                    <a:moveTo>
                      <a:pt x="96852" y="180349"/>
                    </a:moveTo>
                    <a:lnTo>
                      <a:pt x="173589" y="180349"/>
                    </a:lnTo>
                    <a:cubicBezTo>
                      <a:pt x="212545" y="180349"/>
                      <a:pt x="245518" y="211730"/>
                      <a:pt x="250238" y="253359"/>
                    </a:cubicBezTo>
                    <a:lnTo>
                      <a:pt x="270166" y="427937"/>
                    </a:lnTo>
                    <a:cubicBezTo>
                      <a:pt x="271819" y="442545"/>
                      <a:pt x="267341" y="457033"/>
                      <a:pt x="257782" y="467703"/>
                    </a:cubicBezTo>
                    <a:cubicBezTo>
                      <a:pt x="249576" y="476901"/>
                      <a:pt x="238695" y="482221"/>
                      <a:pt x="226913" y="482882"/>
                    </a:cubicBezTo>
                    <a:lnTo>
                      <a:pt x="210320" y="707475"/>
                    </a:lnTo>
                    <a:cubicBezTo>
                      <a:pt x="209779" y="715320"/>
                      <a:pt x="203227" y="721392"/>
                      <a:pt x="195351" y="721392"/>
                    </a:cubicBezTo>
                    <a:lnTo>
                      <a:pt x="75119" y="721392"/>
                    </a:lnTo>
                    <a:cubicBezTo>
                      <a:pt x="67274" y="721392"/>
                      <a:pt x="60722" y="715320"/>
                      <a:pt x="60151" y="707475"/>
                    </a:cubicBezTo>
                    <a:lnTo>
                      <a:pt x="43558" y="482882"/>
                    </a:lnTo>
                    <a:cubicBezTo>
                      <a:pt x="31746" y="482221"/>
                      <a:pt x="20895" y="476870"/>
                      <a:pt x="12689" y="467703"/>
                    </a:cubicBezTo>
                    <a:cubicBezTo>
                      <a:pt x="3191" y="457062"/>
                      <a:pt x="-1318" y="442545"/>
                      <a:pt x="335" y="427937"/>
                    </a:cubicBezTo>
                    <a:lnTo>
                      <a:pt x="20264" y="253359"/>
                    </a:lnTo>
                    <a:cubicBezTo>
                      <a:pt x="25013" y="211730"/>
                      <a:pt x="57957" y="180349"/>
                      <a:pt x="96852" y="180349"/>
                    </a:cubicBezTo>
                    <a:close/>
                    <a:moveTo>
                      <a:pt x="135234" y="0"/>
                    </a:moveTo>
                    <a:cubicBezTo>
                      <a:pt x="176684" y="0"/>
                      <a:pt x="210379" y="33725"/>
                      <a:pt x="210379" y="75145"/>
                    </a:cubicBezTo>
                    <a:cubicBezTo>
                      <a:pt x="210379" y="116565"/>
                      <a:pt x="176655" y="150290"/>
                      <a:pt x="135234" y="150290"/>
                    </a:cubicBezTo>
                    <a:cubicBezTo>
                      <a:pt x="93814" y="150290"/>
                      <a:pt x="60089" y="116565"/>
                      <a:pt x="60089" y="75145"/>
                    </a:cubicBezTo>
                    <a:cubicBezTo>
                      <a:pt x="60089" y="33725"/>
                      <a:pt x="93814" y="0"/>
                      <a:pt x="135234" y="0"/>
                    </a:cubicBezTo>
                    <a:close/>
                  </a:path>
                </a:pathLst>
              </a:custGeom>
              <a:solidFill>
                <a:schemeClr val="accent1">
                  <a:lumMod val="20000"/>
                  <a:lumOff val="80000"/>
                  <a:alpha val="7512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grpSp>
            <p:nvGrpSpPr>
              <p:cNvPr id="19" name="Group 18">
                <a:extLst>
                  <a:ext uri="{FF2B5EF4-FFF2-40B4-BE49-F238E27FC236}">
                    <a16:creationId xmlns:a16="http://schemas.microsoft.com/office/drawing/2014/main" id="{5E860390-AC8A-5955-7F0E-EAB679E143D0}"/>
                  </a:ext>
                </a:extLst>
              </p:cNvPr>
              <p:cNvGrpSpPr/>
              <p:nvPr/>
            </p:nvGrpSpPr>
            <p:grpSpPr>
              <a:xfrm>
                <a:off x="8749519" y="450850"/>
                <a:ext cx="214113" cy="681980"/>
                <a:chOff x="9734746" y="1287565"/>
                <a:chExt cx="226487" cy="721393"/>
              </a:xfrm>
            </p:grpSpPr>
            <p:sp>
              <p:nvSpPr>
                <p:cNvPr id="24" name="Freeform 23">
                  <a:extLst>
                    <a:ext uri="{FF2B5EF4-FFF2-40B4-BE49-F238E27FC236}">
                      <a16:creationId xmlns:a16="http://schemas.microsoft.com/office/drawing/2014/main" id="{73078683-2440-E877-C0CD-66586289D8A3}"/>
                    </a:ext>
                  </a:extLst>
                </p:cNvPr>
                <p:cNvSpPr/>
                <p:nvPr/>
              </p:nvSpPr>
              <p:spPr>
                <a:xfrm>
                  <a:off x="9794832" y="1287565"/>
                  <a:ext cx="150290" cy="150290"/>
                </a:xfrm>
                <a:custGeom>
                  <a:avLst/>
                  <a:gdLst>
                    <a:gd name="connsiteX0" fmla="*/ 75145 w 150290"/>
                    <a:gd name="connsiteY0" fmla="*/ 0 h 150290"/>
                    <a:gd name="connsiteX1" fmla="*/ 150290 w 150290"/>
                    <a:gd name="connsiteY1" fmla="*/ 75145 h 150290"/>
                    <a:gd name="connsiteX2" fmla="*/ 75145 w 150290"/>
                    <a:gd name="connsiteY2" fmla="*/ 150290 h 150290"/>
                    <a:gd name="connsiteX3" fmla="*/ 0 w 150290"/>
                    <a:gd name="connsiteY3" fmla="*/ 75145 h 150290"/>
                    <a:gd name="connsiteX4" fmla="*/ 75145 w 150290"/>
                    <a:gd name="connsiteY4" fmla="*/ 0 h 150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90" h="150290">
                      <a:moveTo>
                        <a:pt x="75145" y="0"/>
                      </a:moveTo>
                      <a:cubicBezTo>
                        <a:pt x="116595" y="0"/>
                        <a:pt x="150290" y="33725"/>
                        <a:pt x="150290" y="75145"/>
                      </a:cubicBezTo>
                      <a:cubicBezTo>
                        <a:pt x="150290" y="116565"/>
                        <a:pt x="116566" y="150290"/>
                        <a:pt x="75145" y="150290"/>
                      </a:cubicBezTo>
                      <a:cubicBezTo>
                        <a:pt x="33725" y="150290"/>
                        <a:pt x="0" y="116565"/>
                        <a:pt x="0" y="75145"/>
                      </a:cubicBezTo>
                      <a:cubicBezTo>
                        <a:pt x="0" y="33725"/>
                        <a:pt x="33725" y="0"/>
                        <a:pt x="75145" y="0"/>
                      </a:cubicBez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33" name="Freeform 32">
                  <a:extLst>
                    <a:ext uri="{FF2B5EF4-FFF2-40B4-BE49-F238E27FC236}">
                      <a16:creationId xmlns:a16="http://schemas.microsoft.com/office/drawing/2014/main" id="{3542697C-36B5-BD0C-94CF-910EAF6307DE}"/>
                    </a:ext>
                  </a:extLst>
                </p:cNvPr>
                <p:cNvSpPr/>
                <p:nvPr/>
              </p:nvSpPr>
              <p:spPr>
                <a:xfrm>
                  <a:off x="9734746" y="1467915"/>
                  <a:ext cx="226487" cy="541043"/>
                </a:xfrm>
                <a:custGeom>
                  <a:avLst/>
                  <a:gdLst>
                    <a:gd name="connsiteX0" fmla="*/ 96852 w 226487"/>
                    <a:gd name="connsiteY0" fmla="*/ 0 h 541043"/>
                    <a:gd name="connsiteX1" fmla="*/ 173589 w 226487"/>
                    <a:gd name="connsiteY1" fmla="*/ 0 h 541043"/>
                    <a:gd name="connsiteX2" fmla="*/ 224752 w 226487"/>
                    <a:gd name="connsiteY2" fmla="*/ 20894 h 541043"/>
                    <a:gd name="connsiteX3" fmla="*/ 226487 w 226487"/>
                    <a:gd name="connsiteY3" fmla="*/ 23257 h 541043"/>
                    <a:gd name="connsiteX4" fmla="*/ 211234 w 226487"/>
                    <a:gd name="connsiteY4" fmla="*/ 44040 h 541043"/>
                    <a:gd name="connsiteX5" fmla="*/ 202733 w 226487"/>
                    <a:gd name="connsiteY5" fmla="*/ 73010 h 541043"/>
                    <a:gd name="connsiteX6" fmla="*/ 182804 w 226487"/>
                    <a:gd name="connsiteY6" fmla="*/ 247588 h 541043"/>
                    <a:gd name="connsiteX7" fmla="*/ 195158 w 226487"/>
                    <a:gd name="connsiteY7" fmla="*/ 287354 h 541043"/>
                    <a:gd name="connsiteX8" fmla="*/ 226027 w 226487"/>
                    <a:gd name="connsiteY8" fmla="*/ 302533 h 541043"/>
                    <a:gd name="connsiteX9" fmla="*/ 226470 w 226487"/>
                    <a:gd name="connsiteY9" fmla="*/ 308529 h 541043"/>
                    <a:gd name="connsiteX10" fmla="*/ 210320 w 226487"/>
                    <a:gd name="connsiteY10" fmla="*/ 527126 h 541043"/>
                    <a:gd name="connsiteX11" fmla="*/ 195351 w 226487"/>
                    <a:gd name="connsiteY11" fmla="*/ 541043 h 541043"/>
                    <a:gd name="connsiteX12" fmla="*/ 75119 w 226487"/>
                    <a:gd name="connsiteY12" fmla="*/ 541043 h 541043"/>
                    <a:gd name="connsiteX13" fmla="*/ 60151 w 226487"/>
                    <a:gd name="connsiteY13" fmla="*/ 527126 h 541043"/>
                    <a:gd name="connsiteX14" fmla="*/ 43558 w 226487"/>
                    <a:gd name="connsiteY14" fmla="*/ 302533 h 541043"/>
                    <a:gd name="connsiteX15" fmla="*/ 12689 w 226487"/>
                    <a:gd name="connsiteY15" fmla="*/ 287354 h 541043"/>
                    <a:gd name="connsiteX16" fmla="*/ 335 w 226487"/>
                    <a:gd name="connsiteY16" fmla="*/ 247588 h 541043"/>
                    <a:gd name="connsiteX17" fmla="*/ 20264 w 226487"/>
                    <a:gd name="connsiteY17" fmla="*/ 73010 h 541043"/>
                    <a:gd name="connsiteX18" fmla="*/ 96852 w 226487"/>
                    <a:gd name="connsiteY18" fmla="*/ 0 h 541043"/>
                    <a:gd name="connsiteX0" fmla="*/ 211234 w 233407"/>
                    <a:gd name="connsiteY0" fmla="*/ 44040 h 541043"/>
                    <a:gd name="connsiteX1" fmla="*/ 202733 w 233407"/>
                    <a:gd name="connsiteY1" fmla="*/ 73010 h 541043"/>
                    <a:gd name="connsiteX2" fmla="*/ 182804 w 233407"/>
                    <a:gd name="connsiteY2" fmla="*/ 247588 h 541043"/>
                    <a:gd name="connsiteX3" fmla="*/ 195158 w 233407"/>
                    <a:gd name="connsiteY3" fmla="*/ 287354 h 541043"/>
                    <a:gd name="connsiteX4" fmla="*/ 226027 w 233407"/>
                    <a:gd name="connsiteY4" fmla="*/ 302533 h 541043"/>
                    <a:gd name="connsiteX5" fmla="*/ 226470 w 233407"/>
                    <a:gd name="connsiteY5" fmla="*/ 308529 h 541043"/>
                    <a:gd name="connsiteX6" fmla="*/ 210320 w 233407"/>
                    <a:gd name="connsiteY6" fmla="*/ 527126 h 541043"/>
                    <a:gd name="connsiteX7" fmla="*/ 195351 w 233407"/>
                    <a:gd name="connsiteY7" fmla="*/ 541043 h 541043"/>
                    <a:gd name="connsiteX8" fmla="*/ 75119 w 233407"/>
                    <a:gd name="connsiteY8" fmla="*/ 541043 h 541043"/>
                    <a:gd name="connsiteX9" fmla="*/ 60151 w 233407"/>
                    <a:gd name="connsiteY9" fmla="*/ 527126 h 541043"/>
                    <a:gd name="connsiteX10" fmla="*/ 43558 w 233407"/>
                    <a:gd name="connsiteY10" fmla="*/ 302533 h 541043"/>
                    <a:gd name="connsiteX11" fmla="*/ 12689 w 233407"/>
                    <a:gd name="connsiteY11" fmla="*/ 287354 h 541043"/>
                    <a:gd name="connsiteX12" fmla="*/ 335 w 233407"/>
                    <a:gd name="connsiteY12" fmla="*/ 247588 h 541043"/>
                    <a:gd name="connsiteX13" fmla="*/ 20264 w 233407"/>
                    <a:gd name="connsiteY13" fmla="*/ 73010 h 541043"/>
                    <a:gd name="connsiteX14" fmla="*/ 96852 w 233407"/>
                    <a:gd name="connsiteY14" fmla="*/ 0 h 541043"/>
                    <a:gd name="connsiteX15" fmla="*/ 173589 w 233407"/>
                    <a:gd name="connsiteY15" fmla="*/ 0 h 541043"/>
                    <a:gd name="connsiteX16" fmla="*/ 224752 w 233407"/>
                    <a:gd name="connsiteY16" fmla="*/ 20894 h 541043"/>
                    <a:gd name="connsiteX17" fmla="*/ 226487 w 233407"/>
                    <a:gd name="connsiteY17" fmla="*/ 23257 h 541043"/>
                    <a:gd name="connsiteX18" fmla="*/ 233407 w 233407"/>
                    <a:gd name="connsiteY18" fmla="*/ 66213 h 541043"/>
                    <a:gd name="connsiteX0" fmla="*/ 211234 w 226487"/>
                    <a:gd name="connsiteY0" fmla="*/ 44040 h 541043"/>
                    <a:gd name="connsiteX1" fmla="*/ 202733 w 226487"/>
                    <a:gd name="connsiteY1" fmla="*/ 73010 h 541043"/>
                    <a:gd name="connsiteX2" fmla="*/ 182804 w 226487"/>
                    <a:gd name="connsiteY2" fmla="*/ 247588 h 541043"/>
                    <a:gd name="connsiteX3" fmla="*/ 195158 w 226487"/>
                    <a:gd name="connsiteY3" fmla="*/ 287354 h 541043"/>
                    <a:gd name="connsiteX4" fmla="*/ 226027 w 226487"/>
                    <a:gd name="connsiteY4" fmla="*/ 302533 h 541043"/>
                    <a:gd name="connsiteX5" fmla="*/ 226470 w 226487"/>
                    <a:gd name="connsiteY5" fmla="*/ 308529 h 541043"/>
                    <a:gd name="connsiteX6" fmla="*/ 210320 w 226487"/>
                    <a:gd name="connsiteY6" fmla="*/ 527126 h 541043"/>
                    <a:gd name="connsiteX7" fmla="*/ 195351 w 226487"/>
                    <a:gd name="connsiteY7" fmla="*/ 541043 h 541043"/>
                    <a:gd name="connsiteX8" fmla="*/ 75119 w 226487"/>
                    <a:gd name="connsiteY8" fmla="*/ 541043 h 541043"/>
                    <a:gd name="connsiteX9" fmla="*/ 60151 w 226487"/>
                    <a:gd name="connsiteY9" fmla="*/ 527126 h 541043"/>
                    <a:gd name="connsiteX10" fmla="*/ 43558 w 226487"/>
                    <a:gd name="connsiteY10" fmla="*/ 302533 h 541043"/>
                    <a:gd name="connsiteX11" fmla="*/ 12689 w 226487"/>
                    <a:gd name="connsiteY11" fmla="*/ 287354 h 541043"/>
                    <a:gd name="connsiteX12" fmla="*/ 335 w 226487"/>
                    <a:gd name="connsiteY12" fmla="*/ 247588 h 541043"/>
                    <a:gd name="connsiteX13" fmla="*/ 20264 w 226487"/>
                    <a:gd name="connsiteY13" fmla="*/ 73010 h 541043"/>
                    <a:gd name="connsiteX14" fmla="*/ 96852 w 226487"/>
                    <a:gd name="connsiteY14" fmla="*/ 0 h 541043"/>
                    <a:gd name="connsiteX15" fmla="*/ 173589 w 226487"/>
                    <a:gd name="connsiteY15" fmla="*/ 0 h 541043"/>
                    <a:gd name="connsiteX16" fmla="*/ 224752 w 226487"/>
                    <a:gd name="connsiteY16" fmla="*/ 20894 h 541043"/>
                    <a:gd name="connsiteX17" fmla="*/ 226487 w 226487"/>
                    <a:gd name="connsiteY17" fmla="*/ 23257 h 541043"/>
                    <a:gd name="connsiteX0" fmla="*/ 202733 w 226487"/>
                    <a:gd name="connsiteY0" fmla="*/ 73010 h 541043"/>
                    <a:gd name="connsiteX1" fmla="*/ 182804 w 226487"/>
                    <a:gd name="connsiteY1" fmla="*/ 247588 h 541043"/>
                    <a:gd name="connsiteX2" fmla="*/ 195158 w 226487"/>
                    <a:gd name="connsiteY2" fmla="*/ 287354 h 541043"/>
                    <a:gd name="connsiteX3" fmla="*/ 226027 w 226487"/>
                    <a:gd name="connsiteY3" fmla="*/ 302533 h 541043"/>
                    <a:gd name="connsiteX4" fmla="*/ 226470 w 226487"/>
                    <a:gd name="connsiteY4" fmla="*/ 308529 h 541043"/>
                    <a:gd name="connsiteX5" fmla="*/ 210320 w 226487"/>
                    <a:gd name="connsiteY5" fmla="*/ 527126 h 541043"/>
                    <a:gd name="connsiteX6" fmla="*/ 195351 w 226487"/>
                    <a:gd name="connsiteY6" fmla="*/ 541043 h 541043"/>
                    <a:gd name="connsiteX7" fmla="*/ 75119 w 226487"/>
                    <a:gd name="connsiteY7" fmla="*/ 541043 h 541043"/>
                    <a:gd name="connsiteX8" fmla="*/ 60151 w 226487"/>
                    <a:gd name="connsiteY8" fmla="*/ 527126 h 541043"/>
                    <a:gd name="connsiteX9" fmla="*/ 43558 w 226487"/>
                    <a:gd name="connsiteY9" fmla="*/ 302533 h 541043"/>
                    <a:gd name="connsiteX10" fmla="*/ 12689 w 226487"/>
                    <a:gd name="connsiteY10" fmla="*/ 287354 h 541043"/>
                    <a:gd name="connsiteX11" fmla="*/ 335 w 226487"/>
                    <a:gd name="connsiteY11" fmla="*/ 247588 h 541043"/>
                    <a:gd name="connsiteX12" fmla="*/ 20264 w 226487"/>
                    <a:gd name="connsiteY12" fmla="*/ 73010 h 541043"/>
                    <a:gd name="connsiteX13" fmla="*/ 96852 w 226487"/>
                    <a:gd name="connsiteY13" fmla="*/ 0 h 541043"/>
                    <a:gd name="connsiteX14" fmla="*/ 173589 w 226487"/>
                    <a:gd name="connsiteY14" fmla="*/ 0 h 541043"/>
                    <a:gd name="connsiteX15" fmla="*/ 224752 w 226487"/>
                    <a:gd name="connsiteY15" fmla="*/ 20894 h 541043"/>
                    <a:gd name="connsiteX16" fmla="*/ 226487 w 226487"/>
                    <a:gd name="connsiteY16" fmla="*/ 23257 h 541043"/>
                    <a:gd name="connsiteX0" fmla="*/ 182804 w 226487"/>
                    <a:gd name="connsiteY0" fmla="*/ 247588 h 541043"/>
                    <a:gd name="connsiteX1" fmla="*/ 195158 w 226487"/>
                    <a:gd name="connsiteY1" fmla="*/ 287354 h 541043"/>
                    <a:gd name="connsiteX2" fmla="*/ 226027 w 226487"/>
                    <a:gd name="connsiteY2" fmla="*/ 302533 h 541043"/>
                    <a:gd name="connsiteX3" fmla="*/ 226470 w 226487"/>
                    <a:gd name="connsiteY3" fmla="*/ 308529 h 541043"/>
                    <a:gd name="connsiteX4" fmla="*/ 210320 w 226487"/>
                    <a:gd name="connsiteY4" fmla="*/ 527126 h 541043"/>
                    <a:gd name="connsiteX5" fmla="*/ 195351 w 226487"/>
                    <a:gd name="connsiteY5" fmla="*/ 541043 h 541043"/>
                    <a:gd name="connsiteX6" fmla="*/ 75119 w 226487"/>
                    <a:gd name="connsiteY6" fmla="*/ 541043 h 541043"/>
                    <a:gd name="connsiteX7" fmla="*/ 60151 w 226487"/>
                    <a:gd name="connsiteY7" fmla="*/ 527126 h 541043"/>
                    <a:gd name="connsiteX8" fmla="*/ 43558 w 226487"/>
                    <a:gd name="connsiteY8" fmla="*/ 302533 h 541043"/>
                    <a:gd name="connsiteX9" fmla="*/ 12689 w 226487"/>
                    <a:gd name="connsiteY9" fmla="*/ 287354 h 541043"/>
                    <a:gd name="connsiteX10" fmla="*/ 335 w 226487"/>
                    <a:gd name="connsiteY10" fmla="*/ 247588 h 541043"/>
                    <a:gd name="connsiteX11" fmla="*/ 20264 w 226487"/>
                    <a:gd name="connsiteY11" fmla="*/ 73010 h 541043"/>
                    <a:gd name="connsiteX12" fmla="*/ 96852 w 226487"/>
                    <a:gd name="connsiteY12" fmla="*/ 0 h 541043"/>
                    <a:gd name="connsiteX13" fmla="*/ 173589 w 226487"/>
                    <a:gd name="connsiteY13" fmla="*/ 0 h 541043"/>
                    <a:gd name="connsiteX14" fmla="*/ 224752 w 226487"/>
                    <a:gd name="connsiteY14" fmla="*/ 20894 h 541043"/>
                    <a:gd name="connsiteX15" fmla="*/ 226487 w 226487"/>
                    <a:gd name="connsiteY15" fmla="*/ 23257 h 541043"/>
                    <a:gd name="connsiteX0" fmla="*/ 195158 w 226487"/>
                    <a:gd name="connsiteY0" fmla="*/ 287354 h 541043"/>
                    <a:gd name="connsiteX1" fmla="*/ 226027 w 226487"/>
                    <a:gd name="connsiteY1" fmla="*/ 302533 h 541043"/>
                    <a:gd name="connsiteX2" fmla="*/ 226470 w 226487"/>
                    <a:gd name="connsiteY2" fmla="*/ 308529 h 541043"/>
                    <a:gd name="connsiteX3" fmla="*/ 210320 w 226487"/>
                    <a:gd name="connsiteY3" fmla="*/ 527126 h 541043"/>
                    <a:gd name="connsiteX4" fmla="*/ 195351 w 226487"/>
                    <a:gd name="connsiteY4" fmla="*/ 541043 h 541043"/>
                    <a:gd name="connsiteX5" fmla="*/ 75119 w 226487"/>
                    <a:gd name="connsiteY5" fmla="*/ 541043 h 541043"/>
                    <a:gd name="connsiteX6" fmla="*/ 60151 w 226487"/>
                    <a:gd name="connsiteY6" fmla="*/ 527126 h 541043"/>
                    <a:gd name="connsiteX7" fmla="*/ 43558 w 226487"/>
                    <a:gd name="connsiteY7" fmla="*/ 302533 h 541043"/>
                    <a:gd name="connsiteX8" fmla="*/ 12689 w 226487"/>
                    <a:gd name="connsiteY8" fmla="*/ 287354 h 541043"/>
                    <a:gd name="connsiteX9" fmla="*/ 335 w 226487"/>
                    <a:gd name="connsiteY9" fmla="*/ 247588 h 541043"/>
                    <a:gd name="connsiteX10" fmla="*/ 20264 w 226487"/>
                    <a:gd name="connsiteY10" fmla="*/ 73010 h 541043"/>
                    <a:gd name="connsiteX11" fmla="*/ 96852 w 226487"/>
                    <a:gd name="connsiteY11" fmla="*/ 0 h 541043"/>
                    <a:gd name="connsiteX12" fmla="*/ 173589 w 226487"/>
                    <a:gd name="connsiteY12" fmla="*/ 0 h 541043"/>
                    <a:gd name="connsiteX13" fmla="*/ 224752 w 226487"/>
                    <a:gd name="connsiteY13" fmla="*/ 20894 h 541043"/>
                    <a:gd name="connsiteX14" fmla="*/ 226487 w 226487"/>
                    <a:gd name="connsiteY14" fmla="*/ 23257 h 541043"/>
                    <a:gd name="connsiteX0" fmla="*/ 226027 w 226487"/>
                    <a:gd name="connsiteY0" fmla="*/ 302533 h 541043"/>
                    <a:gd name="connsiteX1" fmla="*/ 226470 w 226487"/>
                    <a:gd name="connsiteY1" fmla="*/ 308529 h 541043"/>
                    <a:gd name="connsiteX2" fmla="*/ 210320 w 226487"/>
                    <a:gd name="connsiteY2" fmla="*/ 527126 h 541043"/>
                    <a:gd name="connsiteX3" fmla="*/ 195351 w 226487"/>
                    <a:gd name="connsiteY3" fmla="*/ 541043 h 541043"/>
                    <a:gd name="connsiteX4" fmla="*/ 75119 w 226487"/>
                    <a:gd name="connsiteY4" fmla="*/ 541043 h 541043"/>
                    <a:gd name="connsiteX5" fmla="*/ 60151 w 226487"/>
                    <a:gd name="connsiteY5" fmla="*/ 527126 h 541043"/>
                    <a:gd name="connsiteX6" fmla="*/ 43558 w 226487"/>
                    <a:gd name="connsiteY6" fmla="*/ 302533 h 541043"/>
                    <a:gd name="connsiteX7" fmla="*/ 12689 w 226487"/>
                    <a:gd name="connsiteY7" fmla="*/ 287354 h 541043"/>
                    <a:gd name="connsiteX8" fmla="*/ 335 w 226487"/>
                    <a:gd name="connsiteY8" fmla="*/ 247588 h 541043"/>
                    <a:gd name="connsiteX9" fmla="*/ 20264 w 226487"/>
                    <a:gd name="connsiteY9" fmla="*/ 73010 h 541043"/>
                    <a:gd name="connsiteX10" fmla="*/ 96852 w 226487"/>
                    <a:gd name="connsiteY10" fmla="*/ 0 h 541043"/>
                    <a:gd name="connsiteX11" fmla="*/ 173589 w 226487"/>
                    <a:gd name="connsiteY11" fmla="*/ 0 h 541043"/>
                    <a:gd name="connsiteX12" fmla="*/ 224752 w 226487"/>
                    <a:gd name="connsiteY12" fmla="*/ 20894 h 541043"/>
                    <a:gd name="connsiteX13" fmla="*/ 226487 w 226487"/>
                    <a:gd name="connsiteY13" fmla="*/ 23257 h 541043"/>
                    <a:gd name="connsiteX0" fmla="*/ 226470 w 226487"/>
                    <a:gd name="connsiteY0" fmla="*/ 308529 h 541043"/>
                    <a:gd name="connsiteX1" fmla="*/ 210320 w 226487"/>
                    <a:gd name="connsiteY1" fmla="*/ 527126 h 541043"/>
                    <a:gd name="connsiteX2" fmla="*/ 195351 w 226487"/>
                    <a:gd name="connsiteY2" fmla="*/ 541043 h 541043"/>
                    <a:gd name="connsiteX3" fmla="*/ 75119 w 226487"/>
                    <a:gd name="connsiteY3" fmla="*/ 541043 h 541043"/>
                    <a:gd name="connsiteX4" fmla="*/ 60151 w 226487"/>
                    <a:gd name="connsiteY4" fmla="*/ 527126 h 541043"/>
                    <a:gd name="connsiteX5" fmla="*/ 43558 w 226487"/>
                    <a:gd name="connsiteY5" fmla="*/ 302533 h 541043"/>
                    <a:gd name="connsiteX6" fmla="*/ 12689 w 226487"/>
                    <a:gd name="connsiteY6" fmla="*/ 287354 h 541043"/>
                    <a:gd name="connsiteX7" fmla="*/ 335 w 226487"/>
                    <a:gd name="connsiteY7" fmla="*/ 247588 h 541043"/>
                    <a:gd name="connsiteX8" fmla="*/ 20264 w 226487"/>
                    <a:gd name="connsiteY8" fmla="*/ 73010 h 541043"/>
                    <a:gd name="connsiteX9" fmla="*/ 96852 w 226487"/>
                    <a:gd name="connsiteY9" fmla="*/ 0 h 541043"/>
                    <a:gd name="connsiteX10" fmla="*/ 173589 w 226487"/>
                    <a:gd name="connsiteY10" fmla="*/ 0 h 541043"/>
                    <a:gd name="connsiteX11" fmla="*/ 224752 w 226487"/>
                    <a:gd name="connsiteY11" fmla="*/ 20894 h 541043"/>
                    <a:gd name="connsiteX12" fmla="*/ 226487 w 226487"/>
                    <a:gd name="connsiteY12" fmla="*/ 23257 h 54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6487" h="541043">
                      <a:moveTo>
                        <a:pt x="226470" y="308529"/>
                      </a:moveTo>
                      <a:lnTo>
                        <a:pt x="210320" y="527126"/>
                      </a:lnTo>
                      <a:cubicBezTo>
                        <a:pt x="209779" y="534971"/>
                        <a:pt x="203227" y="541043"/>
                        <a:pt x="195351" y="541043"/>
                      </a:cubicBezTo>
                      <a:lnTo>
                        <a:pt x="75119" y="541043"/>
                      </a:lnTo>
                      <a:cubicBezTo>
                        <a:pt x="67274" y="541043"/>
                        <a:pt x="60722" y="534971"/>
                        <a:pt x="60151" y="527126"/>
                      </a:cubicBezTo>
                      <a:lnTo>
                        <a:pt x="43558" y="302533"/>
                      </a:lnTo>
                      <a:cubicBezTo>
                        <a:pt x="31746" y="301872"/>
                        <a:pt x="20895" y="296521"/>
                        <a:pt x="12689" y="287354"/>
                      </a:cubicBezTo>
                      <a:cubicBezTo>
                        <a:pt x="3191" y="276713"/>
                        <a:pt x="-1318" y="262196"/>
                        <a:pt x="335" y="247588"/>
                      </a:cubicBezTo>
                      <a:lnTo>
                        <a:pt x="20264" y="73010"/>
                      </a:lnTo>
                      <a:cubicBezTo>
                        <a:pt x="25013" y="31381"/>
                        <a:pt x="57957" y="0"/>
                        <a:pt x="96852" y="0"/>
                      </a:cubicBezTo>
                      <a:lnTo>
                        <a:pt x="173589" y="0"/>
                      </a:lnTo>
                      <a:cubicBezTo>
                        <a:pt x="193067" y="0"/>
                        <a:pt x="211049" y="7845"/>
                        <a:pt x="224752" y="20894"/>
                      </a:cubicBezTo>
                      <a:lnTo>
                        <a:pt x="226487" y="23257"/>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grpSp>
          <p:grpSp>
            <p:nvGrpSpPr>
              <p:cNvPr id="20" name="Group 19">
                <a:extLst>
                  <a:ext uri="{FF2B5EF4-FFF2-40B4-BE49-F238E27FC236}">
                    <a16:creationId xmlns:a16="http://schemas.microsoft.com/office/drawing/2014/main" id="{03C905AE-9EE9-23DF-26D2-19147DB0ED41}"/>
                  </a:ext>
                </a:extLst>
              </p:cNvPr>
              <p:cNvGrpSpPr/>
              <p:nvPr/>
            </p:nvGrpSpPr>
            <p:grpSpPr>
              <a:xfrm flipH="1">
                <a:off x="9276483" y="450850"/>
                <a:ext cx="214113" cy="681980"/>
                <a:chOff x="9734746" y="1287565"/>
                <a:chExt cx="226487" cy="721393"/>
              </a:xfrm>
            </p:grpSpPr>
            <p:sp>
              <p:nvSpPr>
                <p:cNvPr id="22" name="Freeform 21">
                  <a:extLst>
                    <a:ext uri="{FF2B5EF4-FFF2-40B4-BE49-F238E27FC236}">
                      <a16:creationId xmlns:a16="http://schemas.microsoft.com/office/drawing/2014/main" id="{D408DD6B-6D24-938B-20B1-5DAB21EC3CB7}"/>
                    </a:ext>
                  </a:extLst>
                </p:cNvPr>
                <p:cNvSpPr/>
                <p:nvPr/>
              </p:nvSpPr>
              <p:spPr>
                <a:xfrm>
                  <a:off x="9794832" y="1287565"/>
                  <a:ext cx="150290" cy="150290"/>
                </a:xfrm>
                <a:custGeom>
                  <a:avLst/>
                  <a:gdLst>
                    <a:gd name="connsiteX0" fmla="*/ 75145 w 150290"/>
                    <a:gd name="connsiteY0" fmla="*/ 0 h 150290"/>
                    <a:gd name="connsiteX1" fmla="*/ 150290 w 150290"/>
                    <a:gd name="connsiteY1" fmla="*/ 75145 h 150290"/>
                    <a:gd name="connsiteX2" fmla="*/ 75145 w 150290"/>
                    <a:gd name="connsiteY2" fmla="*/ 150290 h 150290"/>
                    <a:gd name="connsiteX3" fmla="*/ 0 w 150290"/>
                    <a:gd name="connsiteY3" fmla="*/ 75145 h 150290"/>
                    <a:gd name="connsiteX4" fmla="*/ 75145 w 150290"/>
                    <a:gd name="connsiteY4" fmla="*/ 0 h 150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90" h="150290">
                      <a:moveTo>
                        <a:pt x="75145" y="0"/>
                      </a:moveTo>
                      <a:cubicBezTo>
                        <a:pt x="116595" y="0"/>
                        <a:pt x="150290" y="33725"/>
                        <a:pt x="150290" y="75145"/>
                      </a:cubicBezTo>
                      <a:cubicBezTo>
                        <a:pt x="150290" y="116565"/>
                        <a:pt x="116566" y="150290"/>
                        <a:pt x="75145" y="150290"/>
                      </a:cubicBezTo>
                      <a:cubicBezTo>
                        <a:pt x="33725" y="150290"/>
                        <a:pt x="0" y="116565"/>
                        <a:pt x="0" y="75145"/>
                      </a:cubicBezTo>
                      <a:cubicBezTo>
                        <a:pt x="0" y="33725"/>
                        <a:pt x="33725" y="0"/>
                        <a:pt x="75145" y="0"/>
                      </a:cubicBez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23" name="Freeform 22">
                  <a:extLst>
                    <a:ext uri="{FF2B5EF4-FFF2-40B4-BE49-F238E27FC236}">
                      <a16:creationId xmlns:a16="http://schemas.microsoft.com/office/drawing/2014/main" id="{77EE9A8E-0A78-6579-9F6E-13E1BE547BFC}"/>
                    </a:ext>
                  </a:extLst>
                </p:cNvPr>
                <p:cNvSpPr/>
                <p:nvPr/>
              </p:nvSpPr>
              <p:spPr>
                <a:xfrm>
                  <a:off x="9734746" y="1467915"/>
                  <a:ext cx="226487" cy="541043"/>
                </a:xfrm>
                <a:custGeom>
                  <a:avLst/>
                  <a:gdLst>
                    <a:gd name="connsiteX0" fmla="*/ 96852 w 226487"/>
                    <a:gd name="connsiteY0" fmla="*/ 0 h 541043"/>
                    <a:gd name="connsiteX1" fmla="*/ 173589 w 226487"/>
                    <a:gd name="connsiteY1" fmla="*/ 0 h 541043"/>
                    <a:gd name="connsiteX2" fmla="*/ 224752 w 226487"/>
                    <a:gd name="connsiteY2" fmla="*/ 20894 h 541043"/>
                    <a:gd name="connsiteX3" fmla="*/ 226487 w 226487"/>
                    <a:gd name="connsiteY3" fmla="*/ 23257 h 541043"/>
                    <a:gd name="connsiteX4" fmla="*/ 211234 w 226487"/>
                    <a:gd name="connsiteY4" fmla="*/ 44040 h 541043"/>
                    <a:gd name="connsiteX5" fmla="*/ 202733 w 226487"/>
                    <a:gd name="connsiteY5" fmla="*/ 73010 h 541043"/>
                    <a:gd name="connsiteX6" fmla="*/ 182804 w 226487"/>
                    <a:gd name="connsiteY6" fmla="*/ 247588 h 541043"/>
                    <a:gd name="connsiteX7" fmla="*/ 195158 w 226487"/>
                    <a:gd name="connsiteY7" fmla="*/ 287354 h 541043"/>
                    <a:gd name="connsiteX8" fmla="*/ 226027 w 226487"/>
                    <a:gd name="connsiteY8" fmla="*/ 302533 h 541043"/>
                    <a:gd name="connsiteX9" fmla="*/ 226470 w 226487"/>
                    <a:gd name="connsiteY9" fmla="*/ 308529 h 541043"/>
                    <a:gd name="connsiteX10" fmla="*/ 210320 w 226487"/>
                    <a:gd name="connsiteY10" fmla="*/ 527126 h 541043"/>
                    <a:gd name="connsiteX11" fmla="*/ 195351 w 226487"/>
                    <a:gd name="connsiteY11" fmla="*/ 541043 h 541043"/>
                    <a:gd name="connsiteX12" fmla="*/ 75119 w 226487"/>
                    <a:gd name="connsiteY12" fmla="*/ 541043 h 541043"/>
                    <a:gd name="connsiteX13" fmla="*/ 60151 w 226487"/>
                    <a:gd name="connsiteY13" fmla="*/ 527126 h 541043"/>
                    <a:gd name="connsiteX14" fmla="*/ 43558 w 226487"/>
                    <a:gd name="connsiteY14" fmla="*/ 302533 h 541043"/>
                    <a:gd name="connsiteX15" fmla="*/ 12689 w 226487"/>
                    <a:gd name="connsiteY15" fmla="*/ 287354 h 541043"/>
                    <a:gd name="connsiteX16" fmla="*/ 335 w 226487"/>
                    <a:gd name="connsiteY16" fmla="*/ 247588 h 541043"/>
                    <a:gd name="connsiteX17" fmla="*/ 20264 w 226487"/>
                    <a:gd name="connsiteY17" fmla="*/ 73010 h 541043"/>
                    <a:gd name="connsiteX18" fmla="*/ 96852 w 226487"/>
                    <a:gd name="connsiteY18" fmla="*/ 0 h 541043"/>
                    <a:gd name="connsiteX0" fmla="*/ 211234 w 233407"/>
                    <a:gd name="connsiteY0" fmla="*/ 44040 h 541043"/>
                    <a:gd name="connsiteX1" fmla="*/ 202733 w 233407"/>
                    <a:gd name="connsiteY1" fmla="*/ 73010 h 541043"/>
                    <a:gd name="connsiteX2" fmla="*/ 182804 w 233407"/>
                    <a:gd name="connsiteY2" fmla="*/ 247588 h 541043"/>
                    <a:gd name="connsiteX3" fmla="*/ 195158 w 233407"/>
                    <a:gd name="connsiteY3" fmla="*/ 287354 h 541043"/>
                    <a:gd name="connsiteX4" fmla="*/ 226027 w 233407"/>
                    <a:gd name="connsiteY4" fmla="*/ 302533 h 541043"/>
                    <a:gd name="connsiteX5" fmla="*/ 226470 w 233407"/>
                    <a:gd name="connsiteY5" fmla="*/ 308529 h 541043"/>
                    <a:gd name="connsiteX6" fmla="*/ 210320 w 233407"/>
                    <a:gd name="connsiteY6" fmla="*/ 527126 h 541043"/>
                    <a:gd name="connsiteX7" fmla="*/ 195351 w 233407"/>
                    <a:gd name="connsiteY7" fmla="*/ 541043 h 541043"/>
                    <a:gd name="connsiteX8" fmla="*/ 75119 w 233407"/>
                    <a:gd name="connsiteY8" fmla="*/ 541043 h 541043"/>
                    <a:gd name="connsiteX9" fmla="*/ 60151 w 233407"/>
                    <a:gd name="connsiteY9" fmla="*/ 527126 h 541043"/>
                    <a:gd name="connsiteX10" fmla="*/ 43558 w 233407"/>
                    <a:gd name="connsiteY10" fmla="*/ 302533 h 541043"/>
                    <a:gd name="connsiteX11" fmla="*/ 12689 w 233407"/>
                    <a:gd name="connsiteY11" fmla="*/ 287354 h 541043"/>
                    <a:gd name="connsiteX12" fmla="*/ 335 w 233407"/>
                    <a:gd name="connsiteY12" fmla="*/ 247588 h 541043"/>
                    <a:gd name="connsiteX13" fmla="*/ 20264 w 233407"/>
                    <a:gd name="connsiteY13" fmla="*/ 73010 h 541043"/>
                    <a:gd name="connsiteX14" fmla="*/ 96852 w 233407"/>
                    <a:gd name="connsiteY14" fmla="*/ 0 h 541043"/>
                    <a:gd name="connsiteX15" fmla="*/ 173589 w 233407"/>
                    <a:gd name="connsiteY15" fmla="*/ 0 h 541043"/>
                    <a:gd name="connsiteX16" fmla="*/ 224752 w 233407"/>
                    <a:gd name="connsiteY16" fmla="*/ 20894 h 541043"/>
                    <a:gd name="connsiteX17" fmla="*/ 226487 w 233407"/>
                    <a:gd name="connsiteY17" fmla="*/ 23257 h 541043"/>
                    <a:gd name="connsiteX18" fmla="*/ 233407 w 233407"/>
                    <a:gd name="connsiteY18" fmla="*/ 66213 h 541043"/>
                    <a:gd name="connsiteX0" fmla="*/ 211234 w 226487"/>
                    <a:gd name="connsiteY0" fmla="*/ 44040 h 541043"/>
                    <a:gd name="connsiteX1" fmla="*/ 202733 w 226487"/>
                    <a:gd name="connsiteY1" fmla="*/ 73010 h 541043"/>
                    <a:gd name="connsiteX2" fmla="*/ 182804 w 226487"/>
                    <a:gd name="connsiteY2" fmla="*/ 247588 h 541043"/>
                    <a:gd name="connsiteX3" fmla="*/ 195158 w 226487"/>
                    <a:gd name="connsiteY3" fmla="*/ 287354 h 541043"/>
                    <a:gd name="connsiteX4" fmla="*/ 226027 w 226487"/>
                    <a:gd name="connsiteY4" fmla="*/ 302533 h 541043"/>
                    <a:gd name="connsiteX5" fmla="*/ 226470 w 226487"/>
                    <a:gd name="connsiteY5" fmla="*/ 308529 h 541043"/>
                    <a:gd name="connsiteX6" fmla="*/ 210320 w 226487"/>
                    <a:gd name="connsiteY6" fmla="*/ 527126 h 541043"/>
                    <a:gd name="connsiteX7" fmla="*/ 195351 w 226487"/>
                    <a:gd name="connsiteY7" fmla="*/ 541043 h 541043"/>
                    <a:gd name="connsiteX8" fmla="*/ 75119 w 226487"/>
                    <a:gd name="connsiteY8" fmla="*/ 541043 h 541043"/>
                    <a:gd name="connsiteX9" fmla="*/ 60151 w 226487"/>
                    <a:gd name="connsiteY9" fmla="*/ 527126 h 541043"/>
                    <a:gd name="connsiteX10" fmla="*/ 43558 w 226487"/>
                    <a:gd name="connsiteY10" fmla="*/ 302533 h 541043"/>
                    <a:gd name="connsiteX11" fmla="*/ 12689 w 226487"/>
                    <a:gd name="connsiteY11" fmla="*/ 287354 h 541043"/>
                    <a:gd name="connsiteX12" fmla="*/ 335 w 226487"/>
                    <a:gd name="connsiteY12" fmla="*/ 247588 h 541043"/>
                    <a:gd name="connsiteX13" fmla="*/ 20264 w 226487"/>
                    <a:gd name="connsiteY13" fmla="*/ 73010 h 541043"/>
                    <a:gd name="connsiteX14" fmla="*/ 96852 w 226487"/>
                    <a:gd name="connsiteY14" fmla="*/ 0 h 541043"/>
                    <a:gd name="connsiteX15" fmla="*/ 173589 w 226487"/>
                    <a:gd name="connsiteY15" fmla="*/ 0 h 541043"/>
                    <a:gd name="connsiteX16" fmla="*/ 224752 w 226487"/>
                    <a:gd name="connsiteY16" fmla="*/ 20894 h 541043"/>
                    <a:gd name="connsiteX17" fmla="*/ 226487 w 226487"/>
                    <a:gd name="connsiteY17" fmla="*/ 23257 h 541043"/>
                    <a:gd name="connsiteX0" fmla="*/ 202733 w 226487"/>
                    <a:gd name="connsiteY0" fmla="*/ 73010 h 541043"/>
                    <a:gd name="connsiteX1" fmla="*/ 182804 w 226487"/>
                    <a:gd name="connsiteY1" fmla="*/ 247588 h 541043"/>
                    <a:gd name="connsiteX2" fmla="*/ 195158 w 226487"/>
                    <a:gd name="connsiteY2" fmla="*/ 287354 h 541043"/>
                    <a:gd name="connsiteX3" fmla="*/ 226027 w 226487"/>
                    <a:gd name="connsiteY3" fmla="*/ 302533 h 541043"/>
                    <a:gd name="connsiteX4" fmla="*/ 226470 w 226487"/>
                    <a:gd name="connsiteY4" fmla="*/ 308529 h 541043"/>
                    <a:gd name="connsiteX5" fmla="*/ 210320 w 226487"/>
                    <a:gd name="connsiteY5" fmla="*/ 527126 h 541043"/>
                    <a:gd name="connsiteX6" fmla="*/ 195351 w 226487"/>
                    <a:gd name="connsiteY6" fmla="*/ 541043 h 541043"/>
                    <a:gd name="connsiteX7" fmla="*/ 75119 w 226487"/>
                    <a:gd name="connsiteY7" fmla="*/ 541043 h 541043"/>
                    <a:gd name="connsiteX8" fmla="*/ 60151 w 226487"/>
                    <a:gd name="connsiteY8" fmla="*/ 527126 h 541043"/>
                    <a:gd name="connsiteX9" fmla="*/ 43558 w 226487"/>
                    <a:gd name="connsiteY9" fmla="*/ 302533 h 541043"/>
                    <a:gd name="connsiteX10" fmla="*/ 12689 w 226487"/>
                    <a:gd name="connsiteY10" fmla="*/ 287354 h 541043"/>
                    <a:gd name="connsiteX11" fmla="*/ 335 w 226487"/>
                    <a:gd name="connsiteY11" fmla="*/ 247588 h 541043"/>
                    <a:gd name="connsiteX12" fmla="*/ 20264 w 226487"/>
                    <a:gd name="connsiteY12" fmla="*/ 73010 h 541043"/>
                    <a:gd name="connsiteX13" fmla="*/ 96852 w 226487"/>
                    <a:gd name="connsiteY13" fmla="*/ 0 h 541043"/>
                    <a:gd name="connsiteX14" fmla="*/ 173589 w 226487"/>
                    <a:gd name="connsiteY14" fmla="*/ 0 h 541043"/>
                    <a:gd name="connsiteX15" fmla="*/ 224752 w 226487"/>
                    <a:gd name="connsiteY15" fmla="*/ 20894 h 541043"/>
                    <a:gd name="connsiteX16" fmla="*/ 226487 w 226487"/>
                    <a:gd name="connsiteY16" fmla="*/ 23257 h 541043"/>
                    <a:gd name="connsiteX0" fmla="*/ 182804 w 226487"/>
                    <a:gd name="connsiteY0" fmla="*/ 247588 h 541043"/>
                    <a:gd name="connsiteX1" fmla="*/ 195158 w 226487"/>
                    <a:gd name="connsiteY1" fmla="*/ 287354 h 541043"/>
                    <a:gd name="connsiteX2" fmla="*/ 226027 w 226487"/>
                    <a:gd name="connsiteY2" fmla="*/ 302533 h 541043"/>
                    <a:gd name="connsiteX3" fmla="*/ 226470 w 226487"/>
                    <a:gd name="connsiteY3" fmla="*/ 308529 h 541043"/>
                    <a:gd name="connsiteX4" fmla="*/ 210320 w 226487"/>
                    <a:gd name="connsiteY4" fmla="*/ 527126 h 541043"/>
                    <a:gd name="connsiteX5" fmla="*/ 195351 w 226487"/>
                    <a:gd name="connsiteY5" fmla="*/ 541043 h 541043"/>
                    <a:gd name="connsiteX6" fmla="*/ 75119 w 226487"/>
                    <a:gd name="connsiteY6" fmla="*/ 541043 h 541043"/>
                    <a:gd name="connsiteX7" fmla="*/ 60151 w 226487"/>
                    <a:gd name="connsiteY7" fmla="*/ 527126 h 541043"/>
                    <a:gd name="connsiteX8" fmla="*/ 43558 w 226487"/>
                    <a:gd name="connsiteY8" fmla="*/ 302533 h 541043"/>
                    <a:gd name="connsiteX9" fmla="*/ 12689 w 226487"/>
                    <a:gd name="connsiteY9" fmla="*/ 287354 h 541043"/>
                    <a:gd name="connsiteX10" fmla="*/ 335 w 226487"/>
                    <a:gd name="connsiteY10" fmla="*/ 247588 h 541043"/>
                    <a:gd name="connsiteX11" fmla="*/ 20264 w 226487"/>
                    <a:gd name="connsiteY11" fmla="*/ 73010 h 541043"/>
                    <a:gd name="connsiteX12" fmla="*/ 96852 w 226487"/>
                    <a:gd name="connsiteY12" fmla="*/ 0 h 541043"/>
                    <a:gd name="connsiteX13" fmla="*/ 173589 w 226487"/>
                    <a:gd name="connsiteY13" fmla="*/ 0 h 541043"/>
                    <a:gd name="connsiteX14" fmla="*/ 224752 w 226487"/>
                    <a:gd name="connsiteY14" fmla="*/ 20894 h 541043"/>
                    <a:gd name="connsiteX15" fmla="*/ 226487 w 226487"/>
                    <a:gd name="connsiteY15" fmla="*/ 23257 h 541043"/>
                    <a:gd name="connsiteX0" fmla="*/ 195158 w 226487"/>
                    <a:gd name="connsiteY0" fmla="*/ 287354 h 541043"/>
                    <a:gd name="connsiteX1" fmla="*/ 226027 w 226487"/>
                    <a:gd name="connsiteY1" fmla="*/ 302533 h 541043"/>
                    <a:gd name="connsiteX2" fmla="*/ 226470 w 226487"/>
                    <a:gd name="connsiteY2" fmla="*/ 308529 h 541043"/>
                    <a:gd name="connsiteX3" fmla="*/ 210320 w 226487"/>
                    <a:gd name="connsiteY3" fmla="*/ 527126 h 541043"/>
                    <a:gd name="connsiteX4" fmla="*/ 195351 w 226487"/>
                    <a:gd name="connsiteY4" fmla="*/ 541043 h 541043"/>
                    <a:gd name="connsiteX5" fmla="*/ 75119 w 226487"/>
                    <a:gd name="connsiteY5" fmla="*/ 541043 h 541043"/>
                    <a:gd name="connsiteX6" fmla="*/ 60151 w 226487"/>
                    <a:gd name="connsiteY6" fmla="*/ 527126 h 541043"/>
                    <a:gd name="connsiteX7" fmla="*/ 43558 w 226487"/>
                    <a:gd name="connsiteY7" fmla="*/ 302533 h 541043"/>
                    <a:gd name="connsiteX8" fmla="*/ 12689 w 226487"/>
                    <a:gd name="connsiteY8" fmla="*/ 287354 h 541043"/>
                    <a:gd name="connsiteX9" fmla="*/ 335 w 226487"/>
                    <a:gd name="connsiteY9" fmla="*/ 247588 h 541043"/>
                    <a:gd name="connsiteX10" fmla="*/ 20264 w 226487"/>
                    <a:gd name="connsiteY10" fmla="*/ 73010 h 541043"/>
                    <a:gd name="connsiteX11" fmla="*/ 96852 w 226487"/>
                    <a:gd name="connsiteY11" fmla="*/ 0 h 541043"/>
                    <a:gd name="connsiteX12" fmla="*/ 173589 w 226487"/>
                    <a:gd name="connsiteY12" fmla="*/ 0 h 541043"/>
                    <a:gd name="connsiteX13" fmla="*/ 224752 w 226487"/>
                    <a:gd name="connsiteY13" fmla="*/ 20894 h 541043"/>
                    <a:gd name="connsiteX14" fmla="*/ 226487 w 226487"/>
                    <a:gd name="connsiteY14" fmla="*/ 23257 h 541043"/>
                    <a:gd name="connsiteX0" fmla="*/ 226027 w 226487"/>
                    <a:gd name="connsiteY0" fmla="*/ 302533 h 541043"/>
                    <a:gd name="connsiteX1" fmla="*/ 226470 w 226487"/>
                    <a:gd name="connsiteY1" fmla="*/ 308529 h 541043"/>
                    <a:gd name="connsiteX2" fmla="*/ 210320 w 226487"/>
                    <a:gd name="connsiteY2" fmla="*/ 527126 h 541043"/>
                    <a:gd name="connsiteX3" fmla="*/ 195351 w 226487"/>
                    <a:gd name="connsiteY3" fmla="*/ 541043 h 541043"/>
                    <a:gd name="connsiteX4" fmla="*/ 75119 w 226487"/>
                    <a:gd name="connsiteY4" fmla="*/ 541043 h 541043"/>
                    <a:gd name="connsiteX5" fmla="*/ 60151 w 226487"/>
                    <a:gd name="connsiteY5" fmla="*/ 527126 h 541043"/>
                    <a:gd name="connsiteX6" fmla="*/ 43558 w 226487"/>
                    <a:gd name="connsiteY6" fmla="*/ 302533 h 541043"/>
                    <a:gd name="connsiteX7" fmla="*/ 12689 w 226487"/>
                    <a:gd name="connsiteY7" fmla="*/ 287354 h 541043"/>
                    <a:gd name="connsiteX8" fmla="*/ 335 w 226487"/>
                    <a:gd name="connsiteY8" fmla="*/ 247588 h 541043"/>
                    <a:gd name="connsiteX9" fmla="*/ 20264 w 226487"/>
                    <a:gd name="connsiteY9" fmla="*/ 73010 h 541043"/>
                    <a:gd name="connsiteX10" fmla="*/ 96852 w 226487"/>
                    <a:gd name="connsiteY10" fmla="*/ 0 h 541043"/>
                    <a:gd name="connsiteX11" fmla="*/ 173589 w 226487"/>
                    <a:gd name="connsiteY11" fmla="*/ 0 h 541043"/>
                    <a:gd name="connsiteX12" fmla="*/ 224752 w 226487"/>
                    <a:gd name="connsiteY12" fmla="*/ 20894 h 541043"/>
                    <a:gd name="connsiteX13" fmla="*/ 226487 w 226487"/>
                    <a:gd name="connsiteY13" fmla="*/ 23257 h 541043"/>
                    <a:gd name="connsiteX0" fmla="*/ 226470 w 226487"/>
                    <a:gd name="connsiteY0" fmla="*/ 308529 h 541043"/>
                    <a:gd name="connsiteX1" fmla="*/ 210320 w 226487"/>
                    <a:gd name="connsiteY1" fmla="*/ 527126 h 541043"/>
                    <a:gd name="connsiteX2" fmla="*/ 195351 w 226487"/>
                    <a:gd name="connsiteY2" fmla="*/ 541043 h 541043"/>
                    <a:gd name="connsiteX3" fmla="*/ 75119 w 226487"/>
                    <a:gd name="connsiteY3" fmla="*/ 541043 h 541043"/>
                    <a:gd name="connsiteX4" fmla="*/ 60151 w 226487"/>
                    <a:gd name="connsiteY4" fmla="*/ 527126 h 541043"/>
                    <a:gd name="connsiteX5" fmla="*/ 43558 w 226487"/>
                    <a:gd name="connsiteY5" fmla="*/ 302533 h 541043"/>
                    <a:gd name="connsiteX6" fmla="*/ 12689 w 226487"/>
                    <a:gd name="connsiteY6" fmla="*/ 287354 h 541043"/>
                    <a:gd name="connsiteX7" fmla="*/ 335 w 226487"/>
                    <a:gd name="connsiteY7" fmla="*/ 247588 h 541043"/>
                    <a:gd name="connsiteX8" fmla="*/ 20264 w 226487"/>
                    <a:gd name="connsiteY8" fmla="*/ 73010 h 541043"/>
                    <a:gd name="connsiteX9" fmla="*/ 96852 w 226487"/>
                    <a:gd name="connsiteY9" fmla="*/ 0 h 541043"/>
                    <a:gd name="connsiteX10" fmla="*/ 173589 w 226487"/>
                    <a:gd name="connsiteY10" fmla="*/ 0 h 541043"/>
                    <a:gd name="connsiteX11" fmla="*/ 224752 w 226487"/>
                    <a:gd name="connsiteY11" fmla="*/ 20894 h 541043"/>
                    <a:gd name="connsiteX12" fmla="*/ 226487 w 226487"/>
                    <a:gd name="connsiteY12" fmla="*/ 23257 h 54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6487" h="541043">
                      <a:moveTo>
                        <a:pt x="226470" y="308529"/>
                      </a:moveTo>
                      <a:lnTo>
                        <a:pt x="210320" y="527126"/>
                      </a:lnTo>
                      <a:cubicBezTo>
                        <a:pt x="209779" y="534971"/>
                        <a:pt x="203227" y="541043"/>
                        <a:pt x="195351" y="541043"/>
                      </a:cubicBezTo>
                      <a:lnTo>
                        <a:pt x="75119" y="541043"/>
                      </a:lnTo>
                      <a:cubicBezTo>
                        <a:pt x="67274" y="541043"/>
                        <a:pt x="60722" y="534971"/>
                        <a:pt x="60151" y="527126"/>
                      </a:cubicBezTo>
                      <a:lnTo>
                        <a:pt x="43558" y="302533"/>
                      </a:lnTo>
                      <a:cubicBezTo>
                        <a:pt x="31746" y="301872"/>
                        <a:pt x="20895" y="296521"/>
                        <a:pt x="12689" y="287354"/>
                      </a:cubicBezTo>
                      <a:cubicBezTo>
                        <a:pt x="3191" y="276713"/>
                        <a:pt x="-1318" y="262196"/>
                        <a:pt x="335" y="247588"/>
                      </a:cubicBezTo>
                      <a:lnTo>
                        <a:pt x="20264" y="73010"/>
                      </a:lnTo>
                      <a:cubicBezTo>
                        <a:pt x="25013" y="31381"/>
                        <a:pt x="57957" y="0"/>
                        <a:pt x="96852" y="0"/>
                      </a:cubicBezTo>
                      <a:lnTo>
                        <a:pt x="173589" y="0"/>
                      </a:lnTo>
                      <a:cubicBezTo>
                        <a:pt x="193067" y="0"/>
                        <a:pt x="211049" y="7845"/>
                        <a:pt x="224752" y="20894"/>
                      </a:cubicBezTo>
                      <a:lnTo>
                        <a:pt x="226487" y="23257"/>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grpSp>
        </p:grpSp>
        <p:sp>
          <p:nvSpPr>
            <p:cNvPr id="16" name="Freeform 15">
              <a:extLst>
                <a:ext uri="{FF2B5EF4-FFF2-40B4-BE49-F238E27FC236}">
                  <a16:creationId xmlns:a16="http://schemas.microsoft.com/office/drawing/2014/main" id="{C27E473D-4150-665E-E900-E63D26F4DFC3}"/>
                </a:ext>
              </a:extLst>
            </p:cNvPr>
            <p:cNvSpPr/>
            <p:nvPr/>
          </p:nvSpPr>
          <p:spPr>
            <a:xfrm>
              <a:off x="8984807" y="506556"/>
              <a:ext cx="270502" cy="721392"/>
            </a:xfrm>
            <a:custGeom>
              <a:avLst/>
              <a:gdLst>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4 w 270502"/>
                <a:gd name="connsiteY39" fmla="*/ 30058 h 721392"/>
                <a:gd name="connsiteX40" fmla="*/ 90148 w 270502"/>
                <a:gd name="connsiteY40" fmla="*/ 75145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90149 w 270502"/>
                <a:gd name="connsiteY44" fmla="*/ 75145 h 721392"/>
                <a:gd name="connsiteX45" fmla="*/ 103382 w 270502"/>
                <a:gd name="connsiteY45" fmla="*/ 43280 h 721392"/>
                <a:gd name="connsiteX46" fmla="*/ 135235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90149 w 270502"/>
                <a:gd name="connsiteY45" fmla="*/ 75145 h 721392"/>
                <a:gd name="connsiteX46" fmla="*/ 135235 w 270502"/>
                <a:gd name="connsiteY46" fmla="*/ 30058 h 721392"/>
                <a:gd name="connsiteX47" fmla="*/ 135234 w 270502"/>
                <a:gd name="connsiteY47" fmla="*/ 30058 h 721392"/>
                <a:gd name="connsiteX48" fmla="*/ 135234 w 270502"/>
                <a:gd name="connsiteY48" fmla="*/ 0 h 721392"/>
                <a:gd name="connsiteX49" fmla="*/ 210379 w 270502"/>
                <a:gd name="connsiteY49" fmla="*/ 75145 h 721392"/>
                <a:gd name="connsiteX50" fmla="*/ 135234 w 270502"/>
                <a:gd name="connsiteY50" fmla="*/ 150290 h 721392"/>
                <a:gd name="connsiteX51" fmla="*/ 60089 w 270502"/>
                <a:gd name="connsiteY51" fmla="*/ 75145 h 721392"/>
                <a:gd name="connsiteX52" fmla="*/ 135234 w 270502"/>
                <a:gd name="connsiteY52"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4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30058 h 721392"/>
                <a:gd name="connsiteX47" fmla="*/ 135234 w 270502"/>
                <a:gd name="connsiteY47" fmla="*/ 0 h 721392"/>
                <a:gd name="connsiteX48" fmla="*/ 210379 w 270502"/>
                <a:gd name="connsiteY48" fmla="*/ 75145 h 721392"/>
                <a:gd name="connsiteX49" fmla="*/ 135234 w 270502"/>
                <a:gd name="connsiteY49" fmla="*/ 150290 h 721392"/>
                <a:gd name="connsiteX50" fmla="*/ 60089 w 270502"/>
                <a:gd name="connsiteY50" fmla="*/ 75145 h 721392"/>
                <a:gd name="connsiteX51" fmla="*/ 135234 w 270502"/>
                <a:gd name="connsiteY51"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90148 w 270502"/>
                <a:gd name="connsiteY41" fmla="*/ 75145 h 721392"/>
                <a:gd name="connsiteX42" fmla="*/ 135234 w 270502"/>
                <a:gd name="connsiteY42" fmla="*/ 120232 h 721392"/>
                <a:gd name="connsiteX43" fmla="*/ 135235 w 270502"/>
                <a:gd name="connsiteY43" fmla="*/ 120232 h 721392"/>
                <a:gd name="connsiteX44" fmla="*/ 103371 w 270502"/>
                <a:gd name="connsiteY44" fmla="*/ 107010 h 721392"/>
                <a:gd name="connsiteX45" fmla="*/ 135235 w 270502"/>
                <a:gd name="connsiteY45" fmla="*/ 30058 h 721392"/>
                <a:gd name="connsiteX46" fmla="*/ 135234 w 270502"/>
                <a:gd name="connsiteY46" fmla="*/ 0 h 721392"/>
                <a:gd name="connsiteX47" fmla="*/ 210379 w 270502"/>
                <a:gd name="connsiteY47" fmla="*/ 75145 h 721392"/>
                <a:gd name="connsiteX48" fmla="*/ 135234 w 270502"/>
                <a:gd name="connsiteY48" fmla="*/ 150290 h 721392"/>
                <a:gd name="connsiteX49" fmla="*/ 60089 w 270502"/>
                <a:gd name="connsiteY49" fmla="*/ 75145 h 721392"/>
                <a:gd name="connsiteX50" fmla="*/ 135234 w 270502"/>
                <a:gd name="connsiteY50"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30058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5 w 270502"/>
                <a:gd name="connsiteY44" fmla="*/ 30058 h 721392"/>
                <a:gd name="connsiteX45" fmla="*/ 135234 w 270502"/>
                <a:gd name="connsiteY45" fmla="*/ 0 h 721392"/>
                <a:gd name="connsiteX46" fmla="*/ 210379 w 270502"/>
                <a:gd name="connsiteY46" fmla="*/ 75145 h 721392"/>
                <a:gd name="connsiteX47" fmla="*/ 135234 w 270502"/>
                <a:gd name="connsiteY47" fmla="*/ 150290 h 721392"/>
                <a:gd name="connsiteX48" fmla="*/ 60089 w 270502"/>
                <a:gd name="connsiteY48" fmla="*/ 75145 h 721392"/>
                <a:gd name="connsiteX49" fmla="*/ 135234 w 270502"/>
                <a:gd name="connsiteY49"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03371 w 270502"/>
                <a:gd name="connsiteY40" fmla="*/ 107010 h 721392"/>
                <a:gd name="connsiteX41" fmla="*/ 135234 w 270502"/>
                <a:gd name="connsiteY41" fmla="*/ 120232 h 721392"/>
                <a:gd name="connsiteX42" fmla="*/ 135235 w 270502"/>
                <a:gd name="connsiteY42" fmla="*/ 120232 h 721392"/>
                <a:gd name="connsiteX43" fmla="*/ 103371 w 270502"/>
                <a:gd name="connsiteY43" fmla="*/ 107010 h 721392"/>
                <a:gd name="connsiteX44" fmla="*/ 135234 w 270502"/>
                <a:gd name="connsiteY44" fmla="*/ 0 h 721392"/>
                <a:gd name="connsiteX45" fmla="*/ 210379 w 270502"/>
                <a:gd name="connsiteY45" fmla="*/ 75145 h 721392"/>
                <a:gd name="connsiteX46" fmla="*/ 135234 w 270502"/>
                <a:gd name="connsiteY46" fmla="*/ 150290 h 721392"/>
                <a:gd name="connsiteX47" fmla="*/ 60089 w 270502"/>
                <a:gd name="connsiteY47" fmla="*/ 75145 h 721392"/>
                <a:gd name="connsiteX48" fmla="*/ 135234 w 270502"/>
                <a:gd name="connsiteY48" fmla="*/ 0 h 721392"/>
                <a:gd name="connsiteX0" fmla="*/ 30213 w 270502"/>
                <a:gd name="connsiteY0" fmla="*/ 431332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30213 w 270502"/>
                <a:gd name="connsiteY24" fmla="*/ 431332 h 721392"/>
                <a:gd name="connsiteX25" fmla="*/ 96852 w 270502"/>
                <a:gd name="connsiteY25" fmla="*/ 180349 h 721392"/>
                <a:gd name="connsiteX26" fmla="*/ 173589 w 270502"/>
                <a:gd name="connsiteY26" fmla="*/ 180349 h 721392"/>
                <a:gd name="connsiteX27" fmla="*/ 250238 w 270502"/>
                <a:gd name="connsiteY27" fmla="*/ 253359 h 721392"/>
                <a:gd name="connsiteX28" fmla="*/ 270166 w 270502"/>
                <a:gd name="connsiteY28" fmla="*/ 427937 h 721392"/>
                <a:gd name="connsiteX29" fmla="*/ 257782 w 270502"/>
                <a:gd name="connsiteY29" fmla="*/ 467703 h 721392"/>
                <a:gd name="connsiteX30" fmla="*/ 226913 w 270502"/>
                <a:gd name="connsiteY30" fmla="*/ 482882 h 721392"/>
                <a:gd name="connsiteX31" fmla="*/ 210320 w 270502"/>
                <a:gd name="connsiteY31" fmla="*/ 707475 h 721392"/>
                <a:gd name="connsiteX32" fmla="*/ 195351 w 270502"/>
                <a:gd name="connsiteY32" fmla="*/ 721392 h 721392"/>
                <a:gd name="connsiteX33" fmla="*/ 75119 w 270502"/>
                <a:gd name="connsiteY33" fmla="*/ 721392 h 721392"/>
                <a:gd name="connsiteX34" fmla="*/ 60151 w 270502"/>
                <a:gd name="connsiteY34" fmla="*/ 707475 h 721392"/>
                <a:gd name="connsiteX35" fmla="*/ 43558 w 270502"/>
                <a:gd name="connsiteY35" fmla="*/ 482882 h 721392"/>
                <a:gd name="connsiteX36" fmla="*/ 12689 w 270502"/>
                <a:gd name="connsiteY36" fmla="*/ 467703 h 721392"/>
                <a:gd name="connsiteX37" fmla="*/ 335 w 270502"/>
                <a:gd name="connsiteY37" fmla="*/ 427937 h 721392"/>
                <a:gd name="connsiteX38" fmla="*/ 20264 w 270502"/>
                <a:gd name="connsiteY38" fmla="*/ 253359 h 721392"/>
                <a:gd name="connsiteX39" fmla="*/ 96852 w 270502"/>
                <a:gd name="connsiteY39" fmla="*/ 180349 h 721392"/>
                <a:gd name="connsiteX40" fmla="*/ 135235 w 270502"/>
                <a:gd name="connsiteY40" fmla="*/ 120232 h 721392"/>
                <a:gd name="connsiteX41" fmla="*/ 135234 w 270502"/>
                <a:gd name="connsiteY41" fmla="*/ 120232 h 721392"/>
                <a:gd name="connsiteX42" fmla="*/ 135235 w 270502"/>
                <a:gd name="connsiteY42" fmla="*/ 120232 h 721392"/>
                <a:gd name="connsiteX43" fmla="*/ 135234 w 270502"/>
                <a:gd name="connsiteY43" fmla="*/ 0 h 721392"/>
                <a:gd name="connsiteX44" fmla="*/ 210379 w 270502"/>
                <a:gd name="connsiteY44" fmla="*/ 75145 h 721392"/>
                <a:gd name="connsiteX45" fmla="*/ 135234 w 270502"/>
                <a:gd name="connsiteY45" fmla="*/ 150290 h 721392"/>
                <a:gd name="connsiteX46" fmla="*/ 60089 w 270502"/>
                <a:gd name="connsiteY46" fmla="*/ 75145 h 721392"/>
                <a:gd name="connsiteX47" fmla="*/ 135234 w 270502"/>
                <a:gd name="connsiteY47" fmla="*/ 0 h 721392"/>
                <a:gd name="connsiteX0" fmla="*/ 35142 w 270502"/>
                <a:gd name="connsiteY0" fmla="*/ 447684 h 721392"/>
                <a:gd name="connsiteX1" fmla="*/ 30213 w 270502"/>
                <a:gd name="connsiteY1" fmla="*/ 431333 h 721392"/>
                <a:gd name="connsiteX2" fmla="*/ 35142 w 270502"/>
                <a:gd name="connsiteY2" fmla="*/ 447685 h 721392"/>
                <a:gd name="connsiteX3" fmla="*/ 46144 w 270502"/>
                <a:gd name="connsiteY3" fmla="*/ 452884 h 721392"/>
                <a:gd name="connsiteX4" fmla="*/ 57565 w 270502"/>
                <a:gd name="connsiteY4" fmla="*/ 452884 h 721392"/>
                <a:gd name="connsiteX5" fmla="*/ 72565 w 270502"/>
                <a:gd name="connsiteY5" fmla="*/ 466801 h 721392"/>
                <a:gd name="connsiteX6" fmla="*/ 89097 w 270502"/>
                <a:gd name="connsiteY6" fmla="*/ 691334 h 721392"/>
                <a:gd name="connsiteX7" fmla="*/ 181404 w 270502"/>
                <a:gd name="connsiteY7" fmla="*/ 691334 h 721392"/>
                <a:gd name="connsiteX8" fmla="*/ 197967 w 270502"/>
                <a:gd name="connsiteY8" fmla="*/ 466801 h 721392"/>
                <a:gd name="connsiteX9" fmla="*/ 212965 w 270502"/>
                <a:gd name="connsiteY9" fmla="*/ 452884 h 721392"/>
                <a:gd name="connsiteX10" fmla="*/ 224418 w 270502"/>
                <a:gd name="connsiteY10" fmla="*/ 452884 h 721392"/>
                <a:gd name="connsiteX11" fmla="*/ 235419 w 270502"/>
                <a:gd name="connsiteY11" fmla="*/ 447685 h 721392"/>
                <a:gd name="connsiteX12" fmla="*/ 240348 w 270502"/>
                <a:gd name="connsiteY12" fmla="*/ 431333 h 721392"/>
                <a:gd name="connsiteX13" fmla="*/ 240348 w 270502"/>
                <a:gd name="connsiteY13" fmla="*/ 431332 h 721392"/>
                <a:gd name="connsiteX14" fmla="*/ 235419 w 270502"/>
                <a:gd name="connsiteY14" fmla="*/ 447684 h 721392"/>
                <a:gd name="connsiteX15" fmla="*/ 224418 w 270502"/>
                <a:gd name="connsiteY15" fmla="*/ 452883 h 721392"/>
                <a:gd name="connsiteX16" fmla="*/ 212965 w 270502"/>
                <a:gd name="connsiteY16" fmla="*/ 452883 h 721392"/>
                <a:gd name="connsiteX17" fmla="*/ 197967 w 270502"/>
                <a:gd name="connsiteY17" fmla="*/ 466800 h 721392"/>
                <a:gd name="connsiteX18" fmla="*/ 181404 w 270502"/>
                <a:gd name="connsiteY18" fmla="*/ 691333 h 721392"/>
                <a:gd name="connsiteX19" fmla="*/ 89097 w 270502"/>
                <a:gd name="connsiteY19" fmla="*/ 691333 h 721392"/>
                <a:gd name="connsiteX20" fmla="*/ 72565 w 270502"/>
                <a:gd name="connsiteY20" fmla="*/ 466800 h 721392"/>
                <a:gd name="connsiteX21" fmla="*/ 57565 w 270502"/>
                <a:gd name="connsiteY21" fmla="*/ 452883 h 721392"/>
                <a:gd name="connsiteX22" fmla="*/ 46144 w 270502"/>
                <a:gd name="connsiteY22" fmla="*/ 452883 h 721392"/>
                <a:gd name="connsiteX23" fmla="*/ 35142 w 270502"/>
                <a:gd name="connsiteY23" fmla="*/ 447684 h 721392"/>
                <a:gd name="connsiteX24" fmla="*/ 96852 w 270502"/>
                <a:gd name="connsiteY24" fmla="*/ 180349 h 721392"/>
                <a:gd name="connsiteX25" fmla="*/ 173589 w 270502"/>
                <a:gd name="connsiteY25" fmla="*/ 180349 h 721392"/>
                <a:gd name="connsiteX26" fmla="*/ 250238 w 270502"/>
                <a:gd name="connsiteY26" fmla="*/ 253359 h 721392"/>
                <a:gd name="connsiteX27" fmla="*/ 270166 w 270502"/>
                <a:gd name="connsiteY27" fmla="*/ 427937 h 721392"/>
                <a:gd name="connsiteX28" fmla="*/ 257782 w 270502"/>
                <a:gd name="connsiteY28" fmla="*/ 467703 h 721392"/>
                <a:gd name="connsiteX29" fmla="*/ 226913 w 270502"/>
                <a:gd name="connsiteY29" fmla="*/ 482882 h 721392"/>
                <a:gd name="connsiteX30" fmla="*/ 210320 w 270502"/>
                <a:gd name="connsiteY30" fmla="*/ 707475 h 721392"/>
                <a:gd name="connsiteX31" fmla="*/ 195351 w 270502"/>
                <a:gd name="connsiteY31" fmla="*/ 721392 h 721392"/>
                <a:gd name="connsiteX32" fmla="*/ 75119 w 270502"/>
                <a:gd name="connsiteY32" fmla="*/ 721392 h 721392"/>
                <a:gd name="connsiteX33" fmla="*/ 60151 w 270502"/>
                <a:gd name="connsiteY33" fmla="*/ 707475 h 721392"/>
                <a:gd name="connsiteX34" fmla="*/ 43558 w 270502"/>
                <a:gd name="connsiteY34" fmla="*/ 482882 h 721392"/>
                <a:gd name="connsiteX35" fmla="*/ 12689 w 270502"/>
                <a:gd name="connsiteY35" fmla="*/ 467703 h 721392"/>
                <a:gd name="connsiteX36" fmla="*/ 335 w 270502"/>
                <a:gd name="connsiteY36" fmla="*/ 427937 h 721392"/>
                <a:gd name="connsiteX37" fmla="*/ 20264 w 270502"/>
                <a:gd name="connsiteY37" fmla="*/ 253359 h 721392"/>
                <a:gd name="connsiteX38" fmla="*/ 96852 w 270502"/>
                <a:gd name="connsiteY38" fmla="*/ 180349 h 721392"/>
                <a:gd name="connsiteX39" fmla="*/ 135235 w 270502"/>
                <a:gd name="connsiteY39" fmla="*/ 120232 h 721392"/>
                <a:gd name="connsiteX40" fmla="*/ 135234 w 270502"/>
                <a:gd name="connsiteY40" fmla="*/ 120232 h 721392"/>
                <a:gd name="connsiteX41" fmla="*/ 135235 w 270502"/>
                <a:gd name="connsiteY41" fmla="*/ 120232 h 721392"/>
                <a:gd name="connsiteX42" fmla="*/ 135234 w 270502"/>
                <a:gd name="connsiteY42" fmla="*/ 0 h 721392"/>
                <a:gd name="connsiteX43" fmla="*/ 210379 w 270502"/>
                <a:gd name="connsiteY43" fmla="*/ 75145 h 721392"/>
                <a:gd name="connsiteX44" fmla="*/ 135234 w 270502"/>
                <a:gd name="connsiteY44" fmla="*/ 150290 h 721392"/>
                <a:gd name="connsiteX45" fmla="*/ 60089 w 270502"/>
                <a:gd name="connsiteY45" fmla="*/ 75145 h 721392"/>
                <a:gd name="connsiteX46" fmla="*/ 135234 w 270502"/>
                <a:gd name="connsiteY46" fmla="*/ 0 h 721392"/>
                <a:gd name="connsiteX0" fmla="*/ 35142 w 270502"/>
                <a:gd name="connsiteY0" fmla="*/ 447684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35142 w 270502"/>
                <a:gd name="connsiteY22" fmla="*/ 447684 h 721392"/>
                <a:gd name="connsiteX23" fmla="*/ 96852 w 270502"/>
                <a:gd name="connsiteY23" fmla="*/ 180349 h 721392"/>
                <a:gd name="connsiteX24" fmla="*/ 173589 w 270502"/>
                <a:gd name="connsiteY24" fmla="*/ 180349 h 721392"/>
                <a:gd name="connsiteX25" fmla="*/ 250238 w 270502"/>
                <a:gd name="connsiteY25" fmla="*/ 253359 h 721392"/>
                <a:gd name="connsiteX26" fmla="*/ 270166 w 270502"/>
                <a:gd name="connsiteY26" fmla="*/ 427937 h 721392"/>
                <a:gd name="connsiteX27" fmla="*/ 257782 w 270502"/>
                <a:gd name="connsiteY27" fmla="*/ 467703 h 721392"/>
                <a:gd name="connsiteX28" fmla="*/ 226913 w 270502"/>
                <a:gd name="connsiteY28" fmla="*/ 482882 h 721392"/>
                <a:gd name="connsiteX29" fmla="*/ 210320 w 270502"/>
                <a:gd name="connsiteY29" fmla="*/ 707475 h 721392"/>
                <a:gd name="connsiteX30" fmla="*/ 195351 w 270502"/>
                <a:gd name="connsiteY30" fmla="*/ 721392 h 721392"/>
                <a:gd name="connsiteX31" fmla="*/ 75119 w 270502"/>
                <a:gd name="connsiteY31" fmla="*/ 721392 h 721392"/>
                <a:gd name="connsiteX32" fmla="*/ 60151 w 270502"/>
                <a:gd name="connsiteY32" fmla="*/ 707475 h 721392"/>
                <a:gd name="connsiteX33" fmla="*/ 43558 w 270502"/>
                <a:gd name="connsiteY33" fmla="*/ 482882 h 721392"/>
                <a:gd name="connsiteX34" fmla="*/ 12689 w 270502"/>
                <a:gd name="connsiteY34" fmla="*/ 467703 h 721392"/>
                <a:gd name="connsiteX35" fmla="*/ 335 w 270502"/>
                <a:gd name="connsiteY35" fmla="*/ 427937 h 721392"/>
                <a:gd name="connsiteX36" fmla="*/ 20264 w 270502"/>
                <a:gd name="connsiteY36" fmla="*/ 253359 h 721392"/>
                <a:gd name="connsiteX37" fmla="*/ 96852 w 270502"/>
                <a:gd name="connsiteY37" fmla="*/ 180349 h 721392"/>
                <a:gd name="connsiteX38" fmla="*/ 135235 w 270502"/>
                <a:gd name="connsiteY38" fmla="*/ 120232 h 721392"/>
                <a:gd name="connsiteX39" fmla="*/ 135234 w 270502"/>
                <a:gd name="connsiteY39" fmla="*/ 120232 h 721392"/>
                <a:gd name="connsiteX40" fmla="*/ 135235 w 270502"/>
                <a:gd name="connsiteY40" fmla="*/ 120232 h 721392"/>
                <a:gd name="connsiteX41" fmla="*/ 135234 w 270502"/>
                <a:gd name="connsiteY41" fmla="*/ 0 h 721392"/>
                <a:gd name="connsiteX42" fmla="*/ 210379 w 270502"/>
                <a:gd name="connsiteY42" fmla="*/ 75145 h 721392"/>
                <a:gd name="connsiteX43" fmla="*/ 135234 w 270502"/>
                <a:gd name="connsiteY43" fmla="*/ 150290 h 721392"/>
                <a:gd name="connsiteX44" fmla="*/ 60089 w 270502"/>
                <a:gd name="connsiteY44" fmla="*/ 75145 h 721392"/>
                <a:gd name="connsiteX45" fmla="*/ 135234 w 270502"/>
                <a:gd name="connsiteY45" fmla="*/ 0 h 721392"/>
                <a:gd name="connsiteX0" fmla="*/ 46144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46144 w 270502"/>
                <a:gd name="connsiteY21" fmla="*/ 452883 h 721392"/>
                <a:gd name="connsiteX22" fmla="*/ 96852 w 270502"/>
                <a:gd name="connsiteY22" fmla="*/ 180349 h 721392"/>
                <a:gd name="connsiteX23" fmla="*/ 173589 w 270502"/>
                <a:gd name="connsiteY23" fmla="*/ 180349 h 721392"/>
                <a:gd name="connsiteX24" fmla="*/ 250238 w 270502"/>
                <a:gd name="connsiteY24" fmla="*/ 253359 h 721392"/>
                <a:gd name="connsiteX25" fmla="*/ 270166 w 270502"/>
                <a:gd name="connsiteY25" fmla="*/ 427937 h 721392"/>
                <a:gd name="connsiteX26" fmla="*/ 257782 w 270502"/>
                <a:gd name="connsiteY26" fmla="*/ 467703 h 721392"/>
                <a:gd name="connsiteX27" fmla="*/ 226913 w 270502"/>
                <a:gd name="connsiteY27" fmla="*/ 482882 h 721392"/>
                <a:gd name="connsiteX28" fmla="*/ 210320 w 270502"/>
                <a:gd name="connsiteY28" fmla="*/ 707475 h 721392"/>
                <a:gd name="connsiteX29" fmla="*/ 195351 w 270502"/>
                <a:gd name="connsiteY29" fmla="*/ 721392 h 721392"/>
                <a:gd name="connsiteX30" fmla="*/ 75119 w 270502"/>
                <a:gd name="connsiteY30" fmla="*/ 721392 h 721392"/>
                <a:gd name="connsiteX31" fmla="*/ 60151 w 270502"/>
                <a:gd name="connsiteY31" fmla="*/ 707475 h 721392"/>
                <a:gd name="connsiteX32" fmla="*/ 43558 w 270502"/>
                <a:gd name="connsiteY32" fmla="*/ 482882 h 721392"/>
                <a:gd name="connsiteX33" fmla="*/ 12689 w 270502"/>
                <a:gd name="connsiteY33" fmla="*/ 467703 h 721392"/>
                <a:gd name="connsiteX34" fmla="*/ 335 w 270502"/>
                <a:gd name="connsiteY34" fmla="*/ 427937 h 721392"/>
                <a:gd name="connsiteX35" fmla="*/ 20264 w 270502"/>
                <a:gd name="connsiteY35" fmla="*/ 253359 h 721392"/>
                <a:gd name="connsiteX36" fmla="*/ 96852 w 270502"/>
                <a:gd name="connsiteY36" fmla="*/ 180349 h 721392"/>
                <a:gd name="connsiteX37" fmla="*/ 135235 w 270502"/>
                <a:gd name="connsiteY37" fmla="*/ 120232 h 721392"/>
                <a:gd name="connsiteX38" fmla="*/ 135234 w 270502"/>
                <a:gd name="connsiteY38" fmla="*/ 120232 h 721392"/>
                <a:gd name="connsiteX39" fmla="*/ 135235 w 270502"/>
                <a:gd name="connsiteY39" fmla="*/ 120232 h 721392"/>
                <a:gd name="connsiteX40" fmla="*/ 135234 w 270502"/>
                <a:gd name="connsiteY40" fmla="*/ 0 h 721392"/>
                <a:gd name="connsiteX41" fmla="*/ 210379 w 270502"/>
                <a:gd name="connsiteY41" fmla="*/ 75145 h 721392"/>
                <a:gd name="connsiteX42" fmla="*/ 135234 w 270502"/>
                <a:gd name="connsiteY42" fmla="*/ 150290 h 721392"/>
                <a:gd name="connsiteX43" fmla="*/ 60089 w 270502"/>
                <a:gd name="connsiteY43" fmla="*/ 75145 h 721392"/>
                <a:gd name="connsiteX44" fmla="*/ 135234 w 270502"/>
                <a:gd name="connsiteY44" fmla="*/ 0 h 721392"/>
                <a:gd name="connsiteX0" fmla="*/ 57565 w 270502"/>
                <a:gd name="connsiteY0" fmla="*/ 452883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57565 w 270502"/>
                <a:gd name="connsiteY20" fmla="*/ 452883 h 721392"/>
                <a:gd name="connsiteX21" fmla="*/ 96852 w 270502"/>
                <a:gd name="connsiteY21" fmla="*/ 180349 h 721392"/>
                <a:gd name="connsiteX22" fmla="*/ 173589 w 270502"/>
                <a:gd name="connsiteY22" fmla="*/ 180349 h 721392"/>
                <a:gd name="connsiteX23" fmla="*/ 250238 w 270502"/>
                <a:gd name="connsiteY23" fmla="*/ 253359 h 721392"/>
                <a:gd name="connsiteX24" fmla="*/ 270166 w 270502"/>
                <a:gd name="connsiteY24" fmla="*/ 427937 h 721392"/>
                <a:gd name="connsiteX25" fmla="*/ 257782 w 270502"/>
                <a:gd name="connsiteY25" fmla="*/ 467703 h 721392"/>
                <a:gd name="connsiteX26" fmla="*/ 226913 w 270502"/>
                <a:gd name="connsiteY26" fmla="*/ 482882 h 721392"/>
                <a:gd name="connsiteX27" fmla="*/ 210320 w 270502"/>
                <a:gd name="connsiteY27" fmla="*/ 707475 h 721392"/>
                <a:gd name="connsiteX28" fmla="*/ 195351 w 270502"/>
                <a:gd name="connsiteY28" fmla="*/ 721392 h 721392"/>
                <a:gd name="connsiteX29" fmla="*/ 75119 w 270502"/>
                <a:gd name="connsiteY29" fmla="*/ 721392 h 721392"/>
                <a:gd name="connsiteX30" fmla="*/ 60151 w 270502"/>
                <a:gd name="connsiteY30" fmla="*/ 707475 h 721392"/>
                <a:gd name="connsiteX31" fmla="*/ 43558 w 270502"/>
                <a:gd name="connsiteY31" fmla="*/ 482882 h 721392"/>
                <a:gd name="connsiteX32" fmla="*/ 12689 w 270502"/>
                <a:gd name="connsiteY32" fmla="*/ 467703 h 721392"/>
                <a:gd name="connsiteX33" fmla="*/ 335 w 270502"/>
                <a:gd name="connsiteY33" fmla="*/ 427937 h 721392"/>
                <a:gd name="connsiteX34" fmla="*/ 20264 w 270502"/>
                <a:gd name="connsiteY34" fmla="*/ 253359 h 721392"/>
                <a:gd name="connsiteX35" fmla="*/ 96852 w 270502"/>
                <a:gd name="connsiteY35" fmla="*/ 180349 h 721392"/>
                <a:gd name="connsiteX36" fmla="*/ 135235 w 270502"/>
                <a:gd name="connsiteY36" fmla="*/ 120232 h 721392"/>
                <a:gd name="connsiteX37" fmla="*/ 135234 w 270502"/>
                <a:gd name="connsiteY37" fmla="*/ 120232 h 721392"/>
                <a:gd name="connsiteX38" fmla="*/ 135235 w 270502"/>
                <a:gd name="connsiteY38" fmla="*/ 120232 h 721392"/>
                <a:gd name="connsiteX39" fmla="*/ 135234 w 270502"/>
                <a:gd name="connsiteY39" fmla="*/ 0 h 721392"/>
                <a:gd name="connsiteX40" fmla="*/ 210379 w 270502"/>
                <a:gd name="connsiteY40" fmla="*/ 75145 h 721392"/>
                <a:gd name="connsiteX41" fmla="*/ 135234 w 270502"/>
                <a:gd name="connsiteY41" fmla="*/ 150290 h 721392"/>
                <a:gd name="connsiteX42" fmla="*/ 60089 w 270502"/>
                <a:gd name="connsiteY42" fmla="*/ 75145 h 721392"/>
                <a:gd name="connsiteX43" fmla="*/ 135234 w 270502"/>
                <a:gd name="connsiteY43" fmla="*/ 0 h 721392"/>
                <a:gd name="connsiteX0" fmla="*/ 72565 w 270502"/>
                <a:gd name="connsiteY0" fmla="*/ 466800 h 721392"/>
                <a:gd name="connsiteX1" fmla="*/ 35142 w 270502"/>
                <a:gd name="connsiteY1" fmla="*/ 447685 h 721392"/>
                <a:gd name="connsiteX2" fmla="*/ 46144 w 270502"/>
                <a:gd name="connsiteY2" fmla="*/ 452884 h 721392"/>
                <a:gd name="connsiteX3" fmla="*/ 57565 w 270502"/>
                <a:gd name="connsiteY3" fmla="*/ 452884 h 721392"/>
                <a:gd name="connsiteX4" fmla="*/ 72565 w 270502"/>
                <a:gd name="connsiteY4" fmla="*/ 466801 h 721392"/>
                <a:gd name="connsiteX5" fmla="*/ 89097 w 270502"/>
                <a:gd name="connsiteY5" fmla="*/ 691334 h 721392"/>
                <a:gd name="connsiteX6" fmla="*/ 181404 w 270502"/>
                <a:gd name="connsiteY6" fmla="*/ 691334 h 721392"/>
                <a:gd name="connsiteX7" fmla="*/ 197967 w 270502"/>
                <a:gd name="connsiteY7" fmla="*/ 466801 h 721392"/>
                <a:gd name="connsiteX8" fmla="*/ 212965 w 270502"/>
                <a:gd name="connsiteY8" fmla="*/ 452884 h 721392"/>
                <a:gd name="connsiteX9" fmla="*/ 224418 w 270502"/>
                <a:gd name="connsiteY9" fmla="*/ 452884 h 721392"/>
                <a:gd name="connsiteX10" fmla="*/ 235419 w 270502"/>
                <a:gd name="connsiteY10" fmla="*/ 447685 h 721392"/>
                <a:gd name="connsiteX11" fmla="*/ 240348 w 270502"/>
                <a:gd name="connsiteY11" fmla="*/ 431333 h 721392"/>
                <a:gd name="connsiteX12" fmla="*/ 240348 w 270502"/>
                <a:gd name="connsiteY12" fmla="*/ 431332 h 721392"/>
                <a:gd name="connsiteX13" fmla="*/ 235419 w 270502"/>
                <a:gd name="connsiteY13" fmla="*/ 447684 h 721392"/>
                <a:gd name="connsiteX14" fmla="*/ 224418 w 270502"/>
                <a:gd name="connsiteY14" fmla="*/ 452883 h 721392"/>
                <a:gd name="connsiteX15" fmla="*/ 212965 w 270502"/>
                <a:gd name="connsiteY15" fmla="*/ 452883 h 721392"/>
                <a:gd name="connsiteX16" fmla="*/ 197967 w 270502"/>
                <a:gd name="connsiteY16" fmla="*/ 466800 h 721392"/>
                <a:gd name="connsiteX17" fmla="*/ 181404 w 270502"/>
                <a:gd name="connsiteY17" fmla="*/ 691333 h 721392"/>
                <a:gd name="connsiteX18" fmla="*/ 89097 w 270502"/>
                <a:gd name="connsiteY18" fmla="*/ 691333 h 721392"/>
                <a:gd name="connsiteX19" fmla="*/ 72565 w 270502"/>
                <a:gd name="connsiteY19" fmla="*/ 466800 h 721392"/>
                <a:gd name="connsiteX20" fmla="*/ 96852 w 270502"/>
                <a:gd name="connsiteY20" fmla="*/ 180349 h 721392"/>
                <a:gd name="connsiteX21" fmla="*/ 173589 w 270502"/>
                <a:gd name="connsiteY21" fmla="*/ 180349 h 721392"/>
                <a:gd name="connsiteX22" fmla="*/ 250238 w 270502"/>
                <a:gd name="connsiteY22" fmla="*/ 253359 h 721392"/>
                <a:gd name="connsiteX23" fmla="*/ 270166 w 270502"/>
                <a:gd name="connsiteY23" fmla="*/ 427937 h 721392"/>
                <a:gd name="connsiteX24" fmla="*/ 257782 w 270502"/>
                <a:gd name="connsiteY24" fmla="*/ 467703 h 721392"/>
                <a:gd name="connsiteX25" fmla="*/ 226913 w 270502"/>
                <a:gd name="connsiteY25" fmla="*/ 482882 h 721392"/>
                <a:gd name="connsiteX26" fmla="*/ 210320 w 270502"/>
                <a:gd name="connsiteY26" fmla="*/ 707475 h 721392"/>
                <a:gd name="connsiteX27" fmla="*/ 195351 w 270502"/>
                <a:gd name="connsiteY27" fmla="*/ 721392 h 721392"/>
                <a:gd name="connsiteX28" fmla="*/ 75119 w 270502"/>
                <a:gd name="connsiteY28" fmla="*/ 721392 h 721392"/>
                <a:gd name="connsiteX29" fmla="*/ 60151 w 270502"/>
                <a:gd name="connsiteY29" fmla="*/ 707475 h 721392"/>
                <a:gd name="connsiteX30" fmla="*/ 43558 w 270502"/>
                <a:gd name="connsiteY30" fmla="*/ 482882 h 721392"/>
                <a:gd name="connsiteX31" fmla="*/ 12689 w 270502"/>
                <a:gd name="connsiteY31" fmla="*/ 467703 h 721392"/>
                <a:gd name="connsiteX32" fmla="*/ 335 w 270502"/>
                <a:gd name="connsiteY32" fmla="*/ 427937 h 721392"/>
                <a:gd name="connsiteX33" fmla="*/ 20264 w 270502"/>
                <a:gd name="connsiteY33" fmla="*/ 253359 h 721392"/>
                <a:gd name="connsiteX34" fmla="*/ 96852 w 270502"/>
                <a:gd name="connsiteY34" fmla="*/ 180349 h 721392"/>
                <a:gd name="connsiteX35" fmla="*/ 135235 w 270502"/>
                <a:gd name="connsiteY35" fmla="*/ 120232 h 721392"/>
                <a:gd name="connsiteX36" fmla="*/ 135234 w 270502"/>
                <a:gd name="connsiteY36" fmla="*/ 120232 h 721392"/>
                <a:gd name="connsiteX37" fmla="*/ 135235 w 270502"/>
                <a:gd name="connsiteY37" fmla="*/ 120232 h 721392"/>
                <a:gd name="connsiteX38" fmla="*/ 135234 w 270502"/>
                <a:gd name="connsiteY38" fmla="*/ 0 h 721392"/>
                <a:gd name="connsiteX39" fmla="*/ 210379 w 270502"/>
                <a:gd name="connsiteY39" fmla="*/ 75145 h 721392"/>
                <a:gd name="connsiteX40" fmla="*/ 135234 w 270502"/>
                <a:gd name="connsiteY40" fmla="*/ 150290 h 721392"/>
                <a:gd name="connsiteX41" fmla="*/ 60089 w 270502"/>
                <a:gd name="connsiteY41" fmla="*/ 75145 h 721392"/>
                <a:gd name="connsiteX42" fmla="*/ 135234 w 270502"/>
                <a:gd name="connsiteY42" fmla="*/ 0 h 721392"/>
                <a:gd name="connsiteX0" fmla="*/ 72565 w 270502"/>
                <a:gd name="connsiteY0" fmla="*/ 466800 h 721392"/>
                <a:gd name="connsiteX1" fmla="*/ 35142 w 270502"/>
                <a:gd name="connsiteY1" fmla="*/ 447685 h 721392"/>
                <a:gd name="connsiteX2" fmla="*/ 57565 w 270502"/>
                <a:gd name="connsiteY2" fmla="*/ 452884 h 721392"/>
                <a:gd name="connsiteX3" fmla="*/ 72565 w 270502"/>
                <a:gd name="connsiteY3" fmla="*/ 466801 h 721392"/>
                <a:gd name="connsiteX4" fmla="*/ 89097 w 270502"/>
                <a:gd name="connsiteY4" fmla="*/ 691334 h 721392"/>
                <a:gd name="connsiteX5" fmla="*/ 181404 w 270502"/>
                <a:gd name="connsiteY5" fmla="*/ 691334 h 721392"/>
                <a:gd name="connsiteX6" fmla="*/ 197967 w 270502"/>
                <a:gd name="connsiteY6" fmla="*/ 466801 h 721392"/>
                <a:gd name="connsiteX7" fmla="*/ 212965 w 270502"/>
                <a:gd name="connsiteY7" fmla="*/ 452884 h 721392"/>
                <a:gd name="connsiteX8" fmla="*/ 224418 w 270502"/>
                <a:gd name="connsiteY8" fmla="*/ 452884 h 721392"/>
                <a:gd name="connsiteX9" fmla="*/ 235419 w 270502"/>
                <a:gd name="connsiteY9" fmla="*/ 447685 h 721392"/>
                <a:gd name="connsiteX10" fmla="*/ 240348 w 270502"/>
                <a:gd name="connsiteY10" fmla="*/ 431333 h 721392"/>
                <a:gd name="connsiteX11" fmla="*/ 240348 w 270502"/>
                <a:gd name="connsiteY11" fmla="*/ 431332 h 721392"/>
                <a:gd name="connsiteX12" fmla="*/ 235419 w 270502"/>
                <a:gd name="connsiteY12" fmla="*/ 447684 h 721392"/>
                <a:gd name="connsiteX13" fmla="*/ 224418 w 270502"/>
                <a:gd name="connsiteY13" fmla="*/ 452883 h 721392"/>
                <a:gd name="connsiteX14" fmla="*/ 212965 w 270502"/>
                <a:gd name="connsiteY14" fmla="*/ 452883 h 721392"/>
                <a:gd name="connsiteX15" fmla="*/ 197967 w 270502"/>
                <a:gd name="connsiteY15" fmla="*/ 466800 h 721392"/>
                <a:gd name="connsiteX16" fmla="*/ 181404 w 270502"/>
                <a:gd name="connsiteY16" fmla="*/ 691333 h 721392"/>
                <a:gd name="connsiteX17" fmla="*/ 89097 w 270502"/>
                <a:gd name="connsiteY17" fmla="*/ 691333 h 721392"/>
                <a:gd name="connsiteX18" fmla="*/ 72565 w 270502"/>
                <a:gd name="connsiteY18" fmla="*/ 466800 h 721392"/>
                <a:gd name="connsiteX19" fmla="*/ 96852 w 270502"/>
                <a:gd name="connsiteY19" fmla="*/ 180349 h 721392"/>
                <a:gd name="connsiteX20" fmla="*/ 173589 w 270502"/>
                <a:gd name="connsiteY20" fmla="*/ 180349 h 721392"/>
                <a:gd name="connsiteX21" fmla="*/ 250238 w 270502"/>
                <a:gd name="connsiteY21" fmla="*/ 253359 h 721392"/>
                <a:gd name="connsiteX22" fmla="*/ 270166 w 270502"/>
                <a:gd name="connsiteY22" fmla="*/ 427937 h 721392"/>
                <a:gd name="connsiteX23" fmla="*/ 257782 w 270502"/>
                <a:gd name="connsiteY23" fmla="*/ 467703 h 721392"/>
                <a:gd name="connsiteX24" fmla="*/ 226913 w 270502"/>
                <a:gd name="connsiteY24" fmla="*/ 482882 h 721392"/>
                <a:gd name="connsiteX25" fmla="*/ 210320 w 270502"/>
                <a:gd name="connsiteY25" fmla="*/ 707475 h 721392"/>
                <a:gd name="connsiteX26" fmla="*/ 195351 w 270502"/>
                <a:gd name="connsiteY26" fmla="*/ 721392 h 721392"/>
                <a:gd name="connsiteX27" fmla="*/ 75119 w 270502"/>
                <a:gd name="connsiteY27" fmla="*/ 721392 h 721392"/>
                <a:gd name="connsiteX28" fmla="*/ 60151 w 270502"/>
                <a:gd name="connsiteY28" fmla="*/ 707475 h 721392"/>
                <a:gd name="connsiteX29" fmla="*/ 43558 w 270502"/>
                <a:gd name="connsiteY29" fmla="*/ 482882 h 721392"/>
                <a:gd name="connsiteX30" fmla="*/ 12689 w 270502"/>
                <a:gd name="connsiteY30" fmla="*/ 467703 h 721392"/>
                <a:gd name="connsiteX31" fmla="*/ 335 w 270502"/>
                <a:gd name="connsiteY31" fmla="*/ 427937 h 721392"/>
                <a:gd name="connsiteX32" fmla="*/ 20264 w 270502"/>
                <a:gd name="connsiteY32" fmla="*/ 253359 h 721392"/>
                <a:gd name="connsiteX33" fmla="*/ 96852 w 270502"/>
                <a:gd name="connsiteY33" fmla="*/ 180349 h 721392"/>
                <a:gd name="connsiteX34" fmla="*/ 135235 w 270502"/>
                <a:gd name="connsiteY34" fmla="*/ 120232 h 721392"/>
                <a:gd name="connsiteX35" fmla="*/ 135234 w 270502"/>
                <a:gd name="connsiteY35" fmla="*/ 120232 h 721392"/>
                <a:gd name="connsiteX36" fmla="*/ 135235 w 270502"/>
                <a:gd name="connsiteY36" fmla="*/ 120232 h 721392"/>
                <a:gd name="connsiteX37" fmla="*/ 135234 w 270502"/>
                <a:gd name="connsiteY37" fmla="*/ 0 h 721392"/>
                <a:gd name="connsiteX38" fmla="*/ 210379 w 270502"/>
                <a:gd name="connsiteY38" fmla="*/ 75145 h 721392"/>
                <a:gd name="connsiteX39" fmla="*/ 135234 w 270502"/>
                <a:gd name="connsiteY39" fmla="*/ 150290 h 721392"/>
                <a:gd name="connsiteX40" fmla="*/ 60089 w 270502"/>
                <a:gd name="connsiteY40" fmla="*/ 75145 h 721392"/>
                <a:gd name="connsiteX41" fmla="*/ 135234 w 270502"/>
                <a:gd name="connsiteY41" fmla="*/ 0 h 721392"/>
                <a:gd name="connsiteX0" fmla="*/ 72565 w 270502"/>
                <a:gd name="connsiteY0" fmla="*/ 466800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72565 w 270502"/>
                <a:gd name="connsiteY17" fmla="*/ 466800 h 721392"/>
                <a:gd name="connsiteX18" fmla="*/ 96852 w 270502"/>
                <a:gd name="connsiteY18" fmla="*/ 180349 h 721392"/>
                <a:gd name="connsiteX19" fmla="*/ 173589 w 270502"/>
                <a:gd name="connsiteY19" fmla="*/ 180349 h 721392"/>
                <a:gd name="connsiteX20" fmla="*/ 250238 w 270502"/>
                <a:gd name="connsiteY20" fmla="*/ 253359 h 721392"/>
                <a:gd name="connsiteX21" fmla="*/ 270166 w 270502"/>
                <a:gd name="connsiteY21" fmla="*/ 427937 h 721392"/>
                <a:gd name="connsiteX22" fmla="*/ 257782 w 270502"/>
                <a:gd name="connsiteY22" fmla="*/ 467703 h 721392"/>
                <a:gd name="connsiteX23" fmla="*/ 226913 w 270502"/>
                <a:gd name="connsiteY23" fmla="*/ 482882 h 721392"/>
                <a:gd name="connsiteX24" fmla="*/ 210320 w 270502"/>
                <a:gd name="connsiteY24" fmla="*/ 707475 h 721392"/>
                <a:gd name="connsiteX25" fmla="*/ 195351 w 270502"/>
                <a:gd name="connsiteY25" fmla="*/ 721392 h 721392"/>
                <a:gd name="connsiteX26" fmla="*/ 75119 w 270502"/>
                <a:gd name="connsiteY26" fmla="*/ 721392 h 721392"/>
                <a:gd name="connsiteX27" fmla="*/ 60151 w 270502"/>
                <a:gd name="connsiteY27" fmla="*/ 707475 h 721392"/>
                <a:gd name="connsiteX28" fmla="*/ 43558 w 270502"/>
                <a:gd name="connsiteY28" fmla="*/ 482882 h 721392"/>
                <a:gd name="connsiteX29" fmla="*/ 12689 w 270502"/>
                <a:gd name="connsiteY29" fmla="*/ 467703 h 721392"/>
                <a:gd name="connsiteX30" fmla="*/ 335 w 270502"/>
                <a:gd name="connsiteY30" fmla="*/ 427937 h 721392"/>
                <a:gd name="connsiteX31" fmla="*/ 20264 w 270502"/>
                <a:gd name="connsiteY31" fmla="*/ 253359 h 721392"/>
                <a:gd name="connsiteX32" fmla="*/ 96852 w 270502"/>
                <a:gd name="connsiteY32" fmla="*/ 180349 h 721392"/>
                <a:gd name="connsiteX33" fmla="*/ 135235 w 270502"/>
                <a:gd name="connsiteY33" fmla="*/ 120232 h 721392"/>
                <a:gd name="connsiteX34" fmla="*/ 135234 w 270502"/>
                <a:gd name="connsiteY34" fmla="*/ 120232 h 721392"/>
                <a:gd name="connsiteX35" fmla="*/ 135235 w 270502"/>
                <a:gd name="connsiteY35" fmla="*/ 120232 h 721392"/>
                <a:gd name="connsiteX36" fmla="*/ 135234 w 270502"/>
                <a:gd name="connsiteY36" fmla="*/ 0 h 721392"/>
                <a:gd name="connsiteX37" fmla="*/ 210379 w 270502"/>
                <a:gd name="connsiteY37" fmla="*/ 75145 h 721392"/>
                <a:gd name="connsiteX38" fmla="*/ 135234 w 270502"/>
                <a:gd name="connsiteY38" fmla="*/ 150290 h 721392"/>
                <a:gd name="connsiteX39" fmla="*/ 60089 w 270502"/>
                <a:gd name="connsiteY39" fmla="*/ 75145 h 721392"/>
                <a:gd name="connsiteX40" fmla="*/ 135234 w 270502"/>
                <a:gd name="connsiteY40" fmla="*/ 0 h 721392"/>
                <a:gd name="connsiteX0" fmla="*/ 89097 w 270502"/>
                <a:gd name="connsiteY0" fmla="*/ 691333 h 721392"/>
                <a:gd name="connsiteX1" fmla="*/ 57565 w 270502"/>
                <a:gd name="connsiteY1" fmla="*/ 452884 h 721392"/>
                <a:gd name="connsiteX2" fmla="*/ 72565 w 270502"/>
                <a:gd name="connsiteY2" fmla="*/ 466801 h 721392"/>
                <a:gd name="connsiteX3" fmla="*/ 89097 w 270502"/>
                <a:gd name="connsiteY3" fmla="*/ 691334 h 721392"/>
                <a:gd name="connsiteX4" fmla="*/ 181404 w 270502"/>
                <a:gd name="connsiteY4" fmla="*/ 691334 h 721392"/>
                <a:gd name="connsiteX5" fmla="*/ 197967 w 270502"/>
                <a:gd name="connsiteY5" fmla="*/ 466801 h 721392"/>
                <a:gd name="connsiteX6" fmla="*/ 212965 w 270502"/>
                <a:gd name="connsiteY6" fmla="*/ 452884 h 721392"/>
                <a:gd name="connsiteX7" fmla="*/ 224418 w 270502"/>
                <a:gd name="connsiteY7" fmla="*/ 452884 h 721392"/>
                <a:gd name="connsiteX8" fmla="*/ 235419 w 270502"/>
                <a:gd name="connsiteY8" fmla="*/ 447685 h 721392"/>
                <a:gd name="connsiteX9" fmla="*/ 240348 w 270502"/>
                <a:gd name="connsiteY9" fmla="*/ 431333 h 721392"/>
                <a:gd name="connsiteX10" fmla="*/ 240348 w 270502"/>
                <a:gd name="connsiteY10" fmla="*/ 431332 h 721392"/>
                <a:gd name="connsiteX11" fmla="*/ 235419 w 270502"/>
                <a:gd name="connsiteY11" fmla="*/ 447684 h 721392"/>
                <a:gd name="connsiteX12" fmla="*/ 224418 w 270502"/>
                <a:gd name="connsiteY12" fmla="*/ 452883 h 721392"/>
                <a:gd name="connsiteX13" fmla="*/ 212965 w 270502"/>
                <a:gd name="connsiteY13" fmla="*/ 452883 h 721392"/>
                <a:gd name="connsiteX14" fmla="*/ 197967 w 270502"/>
                <a:gd name="connsiteY14" fmla="*/ 466800 h 721392"/>
                <a:gd name="connsiteX15" fmla="*/ 181404 w 270502"/>
                <a:gd name="connsiteY15" fmla="*/ 691333 h 721392"/>
                <a:gd name="connsiteX16" fmla="*/ 89097 w 270502"/>
                <a:gd name="connsiteY16" fmla="*/ 691333 h 721392"/>
                <a:gd name="connsiteX17" fmla="*/ 96852 w 270502"/>
                <a:gd name="connsiteY17" fmla="*/ 180349 h 721392"/>
                <a:gd name="connsiteX18" fmla="*/ 173589 w 270502"/>
                <a:gd name="connsiteY18" fmla="*/ 180349 h 721392"/>
                <a:gd name="connsiteX19" fmla="*/ 250238 w 270502"/>
                <a:gd name="connsiteY19" fmla="*/ 253359 h 721392"/>
                <a:gd name="connsiteX20" fmla="*/ 270166 w 270502"/>
                <a:gd name="connsiteY20" fmla="*/ 427937 h 721392"/>
                <a:gd name="connsiteX21" fmla="*/ 257782 w 270502"/>
                <a:gd name="connsiteY21" fmla="*/ 467703 h 721392"/>
                <a:gd name="connsiteX22" fmla="*/ 226913 w 270502"/>
                <a:gd name="connsiteY22" fmla="*/ 482882 h 721392"/>
                <a:gd name="connsiteX23" fmla="*/ 210320 w 270502"/>
                <a:gd name="connsiteY23" fmla="*/ 707475 h 721392"/>
                <a:gd name="connsiteX24" fmla="*/ 195351 w 270502"/>
                <a:gd name="connsiteY24" fmla="*/ 721392 h 721392"/>
                <a:gd name="connsiteX25" fmla="*/ 75119 w 270502"/>
                <a:gd name="connsiteY25" fmla="*/ 721392 h 721392"/>
                <a:gd name="connsiteX26" fmla="*/ 60151 w 270502"/>
                <a:gd name="connsiteY26" fmla="*/ 707475 h 721392"/>
                <a:gd name="connsiteX27" fmla="*/ 43558 w 270502"/>
                <a:gd name="connsiteY27" fmla="*/ 482882 h 721392"/>
                <a:gd name="connsiteX28" fmla="*/ 12689 w 270502"/>
                <a:gd name="connsiteY28" fmla="*/ 467703 h 721392"/>
                <a:gd name="connsiteX29" fmla="*/ 335 w 270502"/>
                <a:gd name="connsiteY29" fmla="*/ 427937 h 721392"/>
                <a:gd name="connsiteX30" fmla="*/ 20264 w 270502"/>
                <a:gd name="connsiteY30" fmla="*/ 253359 h 721392"/>
                <a:gd name="connsiteX31" fmla="*/ 96852 w 270502"/>
                <a:gd name="connsiteY31" fmla="*/ 180349 h 721392"/>
                <a:gd name="connsiteX32" fmla="*/ 135235 w 270502"/>
                <a:gd name="connsiteY32" fmla="*/ 120232 h 721392"/>
                <a:gd name="connsiteX33" fmla="*/ 135234 w 270502"/>
                <a:gd name="connsiteY33" fmla="*/ 120232 h 721392"/>
                <a:gd name="connsiteX34" fmla="*/ 135235 w 270502"/>
                <a:gd name="connsiteY34" fmla="*/ 120232 h 721392"/>
                <a:gd name="connsiteX35" fmla="*/ 135234 w 270502"/>
                <a:gd name="connsiteY35" fmla="*/ 0 h 721392"/>
                <a:gd name="connsiteX36" fmla="*/ 210379 w 270502"/>
                <a:gd name="connsiteY36" fmla="*/ 75145 h 721392"/>
                <a:gd name="connsiteX37" fmla="*/ 135234 w 270502"/>
                <a:gd name="connsiteY37" fmla="*/ 150290 h 721392"/>
                <a:gd name="connsiteX38" fmla="*/ 60089 w 270502"/>
                <a:gd name="connsiteY38" fmla="*/ 75145 h 721392"/>
                <a:gd name="connsiteX39" fmla="*/ 135234 w 270502"/>
                <a:gd name="connsiteY39" fmla="*/ 0 h 721392"/>
                <a:gd name="connsiteX0" fmla="*/ 89097 w 270502"/>
                <a:gd name="connsiteY0" fmla="*/ 691333 h 721392"/>
                <a:gd name="connsiteX1" fmla="*/ 57565 w 270502"/>
                <a:gd name="connsiteY1" fmla="*/ 452884 h 721392"/>
                <a:gd name="connsiteX2" fmla="*/ 89097 w 270502"/>
                <a:gd name="connsiteY2" fmla="*/ 691334 h 721392"/>
                <a:gd name="connsiteX3" fmla="*/ 181404 w 270502"/>
                <a:gd name="connsiteY3" fmla="*/ 691334 h 721392"/>
                <a:gd name="connsiteX4" fmla="*/ 197967 w 270502"/>
                <a:gd name="connsiteY4" fmla="*/ 466801 h 721392"/>
                <a:gd name="connsiteX5" fmla="*/ 212965 w 270502"/>
                <a:gd name="connsiteY5" fmla="*/ 452884 h 721392"/>
                <a:gd name="connsiteX6" fmla="*/ 224418 w 270502"/>
                <a:gd name="connsiteY6" fmla="*/ 452884 h 721392"/>
                <a:gd name="connsiteX7" fmla="*/ 235419 w 270502"/>
                <a:gd name="connsiteY7" fmla="*/ 447685 h 721392"/>
                <a:gd name="connsiteX8" fmla="*/ 240348 w 270502"/>
                <a:gd name="connsiteY8" fmla="*/ 431333 h 721392"/>
                <a:gd name="connsiteX9" fmla="*/ 240348 w 270502"/>
                <a:gd name="connsiteY9" fmla="*/ 431332 h 721392"/>
                <a:gd name="connsiteX10" fmla="*/ 235419 w 270502"/>
                <a:gd name="connsiteY10" fmla="*/ 447684 h 721392"/>
                <a:gd name="connsiteX11" fmla="*/ 224418 w 270502"/>
                <a:gd name="connsiteY11" fmla="*/ 452883 h 721392"/>
                <a:gd name="connsiteX12" fmla="*/ 212965 w 270502"/>
                <a:gd name="connsiteY12" fmla="*/ 452883 h 721392"/>
                <a:gd name="connsiteX13" fmla="*/ 197967 w 270502"/>
                <a:gd name="connsiteY13" fmla="*/ 466800 h 721392"/>
                <a:gd name="connsiteX14" fmla="*/ 181404 w 270502"/>
                <a:gd name="connsiteY14" fmla="*/ 691333 h 721392"/>
                <a:gd name="connsiteX15" fmla="*/ 89097 w 270502"/>
                <a:gd name="connsiteY15" fmla="*/ 691333 h 721392"/>
                <a:gd name="connsiteX16" fmla="*/ 96852 w 270502"/>
                <a:gd name="connsiteY16" fmla="*/ 180349 h 721392"/>
                <a:gd name="connsiteX17" fmla="*/ 173589 w 270502"/>
                <a:gd name="connsiteY17" fmla="*/ 180349 h 721392"/>
                <a:gd name="connsiteX18" fmla="*/ 250238 w 270502"/>
                <a:gd name="connsiteY18" fmla="*/ 253359 h 721392"/>
                <a:gd name="connsiteX19" fmla="*/ 270166 w 270502"/>
                <a:gd name="connsiteY19" fmla="*/ 427937 h 721392"/>
                <a:gd name="connsiteX20" fmla="*/ 257782 w 270502"/>
                <a:gd name="connsiteY20" fmla="*/ 467703 h 721392"/>
                <a:gd name="connsiteX21" fmla="*/ 226913 w 270502"/>
                <a:gd name="connsiteY21" fmla="*/ 482882 h 721392"/>
                <a:gd name="connsiteX22" fmla="*/ 210320 w 270502"/>
                <a:gd name="connsiteY22" fmla="*/ 707475 h 721392"/>
                <a:gd name="connsiteX23" fmla="*/ 195351 w 270502"/>
                <a:gd name="connsiteY23" fmla="*/ 721392 h 721392"/>
                <a:gd name="connsiteX24" fmla="*/ 75119 w 270502"/>
                <a:gd name="connsiteY24" fmla="*/ 721392 h 721392"/>
                <a:gd name="connsiteX25" fmla="*/ 60151 w 270502"/>
                <a:gd name="connsiteY25" fmla="*/ 707475 h 721392"/>
                <a:gd name="connsiteX26" fmla="*/ 43558 w 270502"/>
                <a:gd name="connsiteY26" fmla="*/ 482882 h 721392"/>
                <a:gd name="connsiteX27" fmla="*/ 12689 w 270502"/>
                <a:gd name="connsiteY27" fmla="*/ 467703 h 721392"/>
                <a:gd name="connsiteX28" fmla="*/ 335 w 270502"/>
                <a:gd name="connsiteY28" fmla="*/ 427937 h 721392"/>
                <a:gd name="connsiteX29" fmla="*/ 20264 w 270502"/>
                <a:gd name="connsiteY29" fmla="*/ 253359 h 721392"/>
                <a:gd name="connsiteX30" fmla="*/ 96852 w 270502"/>
                <a:gd name="connsiteY30" fmla="*/ 180349 h 721392"/>
                <a:gd name="connsiteX31" fmla="*/ 135235 w 270502"/>
                <a:gd name="connsiteY31" fmla="*/ 120232 h 721392"/>
                <a:gd name="connsiteX32" fmla="*/ 135234 w 270502"/>
                <a:gd name="connsiteY32" fmla="*/ 120232 h 721392"/>
                <a:gd name="connsiteX33" fmla="*/ 135235 w 270502"/>
                <a:gd name="connsiteY33" fmla="*/ 120232 h 721392"/>
                <a:gd name="connsiteX34" fmla="*/ 135234 w 270502"/>
                <a:gd name="connsiteY34" fmla="*/ 0 h 721392"/>
                <a:gd name="connsiteX35" fmla="*/ 210379 w 270502"/>
                <a:gd name="connsiteY35" fmla="*/ 75145 h 721392"/>
                <a:gd name="connsiteX36" fmla="*/ 135234 w 270502"/>
                <a:gd name="connsiteY36" fmla="*/ 150290 h 721392"/>
                <a:gd name="connsiteX37" fmla="*/ 60089 w 270502"/>
                <a:gd name="connsiteY37" fmla="*/ 75145 h 721392"/>
                <a:gd name="connsiteX38" fmla="*/ 135234 w 270502"/>
                <a:gd name="connsiteY3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97967 w 270502"/>
                <a:gd name="connsiteY12" fmla="*/ 466800 h 721392"/>
                <a:gd name="connsiteX13" fmla="*/ 181404 w 270502"/>
                <a:gd name="connsiteY13" fmla="*/ 691333 h 721392"/>
                <a:gd name="connsiteX14" fmla="*/ 89097 w 270502"/>
                <a:gd name="connsiteY14" fmla="*/ 691333 h 721392"/>
                <a:gd name="connsiteX15" fmla="*/ 96852 w 270502"/>
                <a:gd name="connsiteY15" fmla="*/ 180349 h 721392"/>
                <a:gd name="connsiteX16" fmla="*/ 173589 w 270502"/>
                <a:gd name="connsiteY16" fmla="*/ 180349 h 721392"/>
                <a:gd name="connsiteX17" fmla="*/ 250238 w 270502"/>
                <a:gd name="connsiteY17" fmla="*/ 253359 h 721392"/>
                <a:gd name="connsiteX18" fmla="*/ 270166 w 270502"/>
                <a:gd name="connsiteY18" fmla="*/ 427937 h 721392"/>
                <a:gd name="connsiteX19" fmla="*/ 257782 w 270502"/>
                <a:gd name="connsiteY19" fmla="*/ 467703 h 721392"/>
                <a:gd name="connsiteX20" fmla="*/ 226913 w 270502"/>
                <a:gd name="connsiteY20" fmla="*/ 482882 h 721392"/>
                <a:gd name="connsiteX21" fmla="*/ 210320 w 270502"/>
                <a:gd name="connsiteY21" fmla="*/ 707475 h 721392"/>
                <a:gd name="connsiteX22" fmla="*/ 195351 w 270502"/>
                <a:gd name="connsiteY22" fmla="*/ 721392 h 721392"/>
                <a:gd name="connsiteX23" fmla="*/ 75119 w 270502"/>
                <a:gd name="connsiteY23" fmla="*/ 721392 h 721392"/>
                <a:gd name="connsiteX24" fmla="*/ 60151 w 270502"/>
                <a:gd name="connsiteY24" fmla="*/ 707475 h 721392"/>
                <a:gd name="connsiteX25" fmla="*/ 43558 w 270502"/>
                <a:gd name="connsiteY25" fmla="*/ 482882 h 721392"/>
                <a:gd name="connsiteX26" fmla="*/ 12689 w 270502"/>
                <a:gd name="connsiteY26" fmla="*/ 467703 h 721392"/>
                <a:gd name="connsiteX27" fmla="*/ 335 w 270502"/>
                <a:gd name="connsiteY27" fmla="*/ 427937 h 721392"/>
                <a:gd name="connsiteX28" fmla="*/ 20264 w 270502"/>
                <a:gd name="connsiteY28" fmla="*/ 253359 h 721392"/>
                <a:gd name="connsiteX29" fmla="*/ 96852 w 270502"/>
                <a:gd name="connsiteY29" fmla="*/ 180349 h 721392"/>
                <a:gd name="connsiteX30" fmla="*/ 135235 w 270502"/>
                <a:gd name="connsiteY30" fmla="*/ 120232 h 721392"/>
                <a:gd name="connsiteX31" fmla="*/ 135234 w 270502"/>
                <a:gd name="connsiteY31" fmla="*/ 120232 h 721392"/>
                <a:gd name="connsiteX32" fmla="*/ 135235 w 270502"/>
                <a:gd name="connsiteY32" fmla="*/ 120232 h 721392"/>
                <a:gd name="connsiteX33" fmla="*/ 135234 w 270502"/>
                <a:gd name="connsiteY33" fmla="*/ 0 h 721392"/>
                <a:gd name="connsiteX34" fmla="*/ 210379 w 270502"/>
                <a:gd name="connsiteY34" fmla="*/ 75145 h 721392"/>
                <a:gd name="connsiteX35" fmla="*/ 135234 w 270502"/>
                <a:gd name="connsiteY35" fmla="*/ 150290 h 721392"/>
                <a:gd name="connsiteX36" fmla="*/ 60089 w 270502"/>
                <a:gd name="connsiteY36" fmla="*/ 75145 h 721392"/>
                <a:gd name="connsiteX37" fmla="*/ 135234 w 270502"/>
                <a:gd name="connsiteY3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212965 w 270502"/>
                <a:gd name="connsiteY11" fmla="*/ 452883 h 721392"/>
                <a:gd name="connsiteX12" fmla="*/ 181404 w 270502"/>
                <a:gd name="connsiteY12" fmla="*/ 691333 h 721392"/>
                <a:gd name="connsiteX13" fmla="*/ 89097 w 270502"/>
                <a:gd name="connsiteY13" fmla="*/ 691333 h 721392"/>
                <a:gd name="connsiteX14" fmla="*/ 96852 w 270502"/>
                <a:gd name="connsiteY14" fmla="*/ 180349 h 721392"/>
                <a:gd name="connsiteX15" fmla="*/ 173589 w 270502"/>
                <a:gd name="connsiteY15" fmla="*/ 180349 h 721392"/>
                <a:gd name="connsiteX16" fmla="*/ 250238 w 270502"/>
                <a:gd name="connsiteY16" fmla="*/ 253359 h 721392"/>
                <a:gd name="connsiteX17" fmla="*/ 270166 w 270502"/>
                <a:gd name="connsiteY17" fmla="*/ 427937 h 721392"/>
                <a:gd name="connsiteX18" fmla="*/ 257782 w 270502"/>
                <a:gd name="connsiteY18" fmla="*/ 467703 h 721392"/>
                <a:gd name="connsiteX19" fmla="*/ 226913 w 270502"/>
                <a:gd name="connsiteY19" fmla="*/ 482882 h 721392"/>
                <a:gd name="connsiteX20" fmla="*/ 210320 w 270502"/>
                <a:gd name="connsiteY20" fmla="*/ 707475 h 721392"/>
                <a:gd name="connsiteX21" fmla="*/ 195351 w 270502"/>
                <a:gd name="connsiteY21" fmla="*/ 721392 h 721392"/>
                <a:gd name="connsiteX22" fmla="*/ 75119 w 270502"/>
                <a:gd name="connsiteY22" fmla="*/ 721392 h 721392"/>
                <a:gd name="connsiteX23" fmla="*/ 60151 w 270502"/>
                <a:gd name="connsiteY23" fmla="*/ 707475 h 721392"/>
                <a:gd name="connsiteX24" fmla="*/ 43558 w 270502"/>
                <a:gd name="connsiteY24" fmla="*/ 482882 h 721392"/>
                <a:gd name="connsiteX25" fmla="*/ 12689 w 270502"/>
                <a:gd name="connsiteY25" fmla="*/ 467703 h 721392"/>
                <a:gd name="connsiteX26" fmla="*/ 335 w 270502"/>
                <a:gd name="connsiteY26" fmla="*/ 427937 h 721392"/>
                <a:gd name="connsiteX27" fmla="*/ 20264 w 270502"/>
                <a:gd name="connsiteY27" fmla="*/ 253359 h 721392"/>
                <a:gd name="connsiteX28" fmla="*/ 96852 w 270502"/>
                <a:gd name="connsiteY28" fmla="*/ 180349 h 721392"/>
                <a:gd name="connsiteX29" fmla="*/ 135235 w 270502"/>
                <a:gd name="connsiteY29" fmla="*/ 120232 h 721392"/>
                <a:gd name="connsiteX30" fmla="*/ 135234 w 270502"/>
                <a:gd name="connsiteY30" fmla="*/ 120232 h 721392"/>
                <a:gd name="connsiteX31" fmla="*/ 135235 w 270502"/>
                <a:gd name="connsiteY31" fmla="*/ 120232 h 721392"/>
                <a:gd name="connsiteX32" fmla="*/ 135234 w 270502"/>
                <a:gd name="connsiteY32" fmla="*/ 0 h 721392"/>
                <a:gd name="connsiteX33" fmla="*/ 210379 w 270502"/>
                <a:gd name="connsiteY33" fmla="*/ 75145 h 721392"/>
                <a:gd name="connsiteX34" fmla="*/ 135234 w 270502"/>
                <a:gd name="connsiteY34" fmla="*/ 150290 h 721392"/>
                <a:gd name="connsiteX35" fmla="*/ 60089 w 270502"/>
                <a:gd name="connsiteY35" fmla="*/ 75145 h 721392"/>
                <a:gd name="connsiteX36" fmla="*/ 135234 w 270502"/>
                <a:gd name="connsiteY36"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224418 w 270502"/>
                <a:gd name="connsiteY10" fmla="*/ 452883 h 721392"/>
                <a:gd name="connsiteX11" fmla="*/ 181404 w 270502"/>
                <a:gd name="connsiteY11" fmla="*/ 691333 h 721392"/>
                <a:gd name="connsiteX12" fmla="*/ 89097 w 270502"/>
                <a:gd name="connsiteY12" fmla="*/ 691333 h 721392"/>
                <a:gd name="connsiteX13" fmla="*/ 96852 w 270502"/>
                <a:gd name="connsiteY13" fmla="*/ 180349 h 721392"/>
                <a:gd name="connsiteX14" fmla="*/ 173589 w 270502"/>
                <a:gd name="connsiteY14" fmla="*/ 180349 h 721392"/>
                <a:gd name="connsiteX15" fmla="*/ 250238 w 270502"/>
                <a:gd name="connsiteY15" fmla="*/ 253359 h 721392"/>
                <a:gd name="connsiteX16" fmla="*/ 270166 w 270502"/>
                <a:gd name="connsiteY16" fmla="*/ 427937 h 721392"/>
                <a:gd name="connsiteX17" fmla="*/ 257782 w 270502"/>
                <a:gd name="connsiteY17" fmla="*/ 467703 h 721392"/>
                <a:gd name="connsiteX18" fmla="*/ 226913 w 270502"/>
                <a:gd name="connsiteY18" fmla="*/ 482882 h 721392"/>
                <a:gd name="connsiteX19" fmla="*/ 210320 w 270502"/>
                <a:gd name="connsiteY19" fmla="*/ 707475 h 721392"/>
                <a:gd name="connsiteX20" fmla="*/ 195351 w 270502"/>
                <a:gd name="connsiteY20" fmla="*/ 721392 h 721392"/>
                <a:gd name="connsiteX21" fmla="*/ 75119 w 270502"/>
                <a:gd name="connsiteY21" fmla="*/ 721392 h 721392"/>
                <a:gd name="connsiteX22" fmla="*/ 60151 w 270502"/>
                <a:gd name="connsiteY22" fmla="*/ 707475 h 721392"/>
                <a:gd name="connsiteX23" fmla="*/ 43558 w 270502"/>
                <a:gd name="connsiteY23" fmla="*/ 482882 h 721392"/>
                <a:gd name="connsiteX24" fmla="*/ 12689 w 270502"/>
                <a:gd name="connsiteY24" fmla="*/ 467703 h 721392"/>
                <a:gd name="connsiteX25" fmla="*/ 335 w 270502"/>
                <a:gd name="connsiteY25" fmla="*/ 427937 h 721392"/>
                <a:gd name="connsiteX26" fmla="*/ 20264 w 270502"/>
                <a:gd name="connsiteY26" fmla="*/ 253359 h 721392"/>
                <a:gd name="connsiteX27" fmla="*/ 96852 w 270502"/>
                <a:gd name="connsiteY27" fmla="*/ 180349 h 721392"/>
                <a:gd name="connsiteX28" fmla="*/ 135235 w 270502"/>
                <a:gd name="connsiteY28" fmla="*/ 120232 h 721392"/>
                <a:gd name="connsiteX29" fmla="*/ 135234 w 270502"/>
                <a:gd name="connsiteY29" fmla="*/ 120232 h 721392"/>
                <a:gd name="connsiteX30" fmla="*/ 135235 w 270502"/>
                <a:gd name="connsiteY30" fmla="*/ 120232 h 721392"/>
                <a:gd name="connsiteX31" fmla="*/ 135234 w 270502"/>
                <a:gd name="connsiteY31" fmla="*/ 0 h 721392"/>
                <a:gd name="connsiteX32" fmla="*/ 210379 w 270502"/>
                <a:gd name="connsiteY32" fmla="*/ 75145 h 721392"/>
                <a:gd name="connsiteX33" fmla="*/ 135234 w 270502"/>
                <a:gd name="connsiteY33" fmla="*/ 150290 h 721392"/>
                <a:gd name="connsiteX34" fmla="*/ 60089 w 270502"/>
                <a:gd name="connsiteY34" fmla="*/ 75145 h 721392"/>
                <a:gd name="connsiteX35" fmla="*/ 135234 w 270502"/>
                <a:gd name="connsiteY35"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97967 w 270502"/>
                <a:gd name="connsiteY3" fmla="*/ 466801 h 721392"/>
                <a:gd name="connsiteX4" fmla="*/ 212965 w 270502"/>
                <a:gd name="connsiteY4" fmla="*/ 452884 h 721392"/>
                <a:gd name="connsiteX5" fmla="*/ 224418 w 270502"/>
                <a:gd name="connsiteY5" fmla="*/ 452884 h 721392"/>
                <a:gd name="connsiteX6" fmla="*/ 235419 w 270502"/>
                <a:gd name="connsiteY6" fmla="*/ 447685 h 721392"/>
                <a:gd name="connsiteX7" fmla="*/ 240348 w 270502"/>
                <a:gd name="connsiteY7" fmla="*/ 431333 h 721392"/>
                <a:gd name="connsiteX8" fmla="*/ 240348 w 270502"/>
                <a:gd name="connsiteY8" fmla="*/ 431332 h 721392"/>
                <a:gd name="connsiteX9" fmla="*/ 235419 w 270502"/>
                <a:gd name="connsiteY9" fmla="*/ 447684 h 721392"/>
                <a:gd name="connsiteX10" fmla="*/ 181404 w 270502"/>
                <a:gd name="connsiteY10" fmla="*/ 691333 h 721392"/>
                <a:gd name="connsiteX11" fmla="*/ 89097 w 270502"/>
                <a:gd name="connsiteY11" fmla="*/ 691333 h 721392"/>
                <a:gd name="connsiteX12" fmla="*/ 96852 w 270502"/>
                <a:gd name="connsiteY12" fmla="*/ 180349 h 721392"/>
                <a:gd name="connsiteX13" fmla="*/ 173589 w 270502"/>
                <a:gd name="connsiteY13" fmla="*/ 180349 h 721392"/>
                <a:gd name="connsiteX14" fmla="*/ 250238 w 270502"/>
                <a:gd name="connsiteY14" fmla="*/ 253359 h 721392"/>
                <a:gd name="connsiteX15" fmla="*/ 270166 w 270502"/>
                <a:gd name="connsiteY15" fmla="*/ 427937 h 721392"/>
                <a:gd name="connsiteX16" fmla="*/ 257782 w 270502"/>
                <a:gd name="connsiteY16" fmla="*/ 467703 h 721392"/>
                <a:gd name="connsiteX17" fmla="*/ 226913 w 270502"/>
                <a:gd name="connsiteY17" fmla="*/ 482882 h 721392"/>
                <a:gd name="connsiteX18" fmla="*/ 210320 w 270502"/>
                <a:gd name="connsiteY18" fmla="*/ 707475 h 721392"/>
                <a:gd name="connsiteX19" fmla="*/ 195351 w 270502"/>
                <a:gd name="connsiteY19" fmla="*/ 721392 h 721392"/>
                <a:gd name="connsiteX20" fmla="*/ 75119 w 270502"/>
                <a:gd name="connsiteY20" fmla="*/ 721392 h 721392"/>
                <a:gd name="connsiteX21" fmla="*/ 60151 w 270502"/>
                <a:gd name="connsiteY21" fmla="*/ 707475 h 721392"/>
                <a:gd name="connsiteX22" fmla="*/ 43558 w 270502"/>
                <a:gd name="connsiteY22" fmla="*/ 482882 h 721392"/>
                <a:gd name="connsiteX23" fmla="*/ 12689 w 270502"/>
                <a:gd name="connsiteY23" fmla="*/ 467703 h 721392"/>
                <a:gd name="connsiteX24" fmla="*/ 335 w 270502"/>
                <a:gd name="connsiteY24" fmla="*/ 427937 h 721392"/>
                <a:gd name="connsiteX25" fmla="*/ 20264 w 270502"/>
                <a:gd name="connsiteY25" fmla="*/ 253359 h 721392"/>
                <a:gd name="connsiteX26" fmla="*/ 96852 w 270502"/>
                <a:gd name="connsiteY26" fmla="*/ 180349 h 721392"/>
                <a:gd name="connsiteX27" fmla="*/ 135235 w 270502"/>
                <a:gd name="connsiteY27" fmla="*/ 120232 h 721392"/>
                <a:gd name="connsiteX28" fmla="*/ 135234 w 270502"/>
                <a:gd name="connsiteY28" fmla="*/ 120232 h 721392"/>
                <a:gd name="connsiteX29" fmla="*/ 135235 w 270502"/>
                <a:gd name="connsiteY29" fmla="*/ 120232 h 721392"/>
                <a:gd name="connsiteX30" fmla="*/ 135234 w 270502"/>
                <a:gd name="connsiteY30" fmla="*/ 0 h 721392"/>
                <a:gd name="connsiteX31" fmla="*/ 210379 w 270502"/>
                <a:gd name="connsiteY31" fmla="*/ 75145 h 721392"/>
                <a:gd name="connsiteX32" fmla="*/ 135234 w 270502"/>
                <a:gd name="connsiteY32" fmla="*/ 150290 h 721392"/>
                <a:gd name="connsiteX33" fmla="*/ 60089 w 270502"/>
                <a:gd name="connsiteY33" fmla="*/ 75145 h 721392"/>
                <a:gd name="connsiteX34" fmla="*/ 135234 w 270502"/>
                <a:gd name="connsiteY34"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235419 w 270502"/>
                <a:gd name="connsiteY8" fmla="*/ 447684 h 721392"/>
                <a:gd name="connsiteX9" fmla="*/ 181404 w 270502"/>
                <a:gd name="connsiteY9" fmla="*/ 691333 h 721392"/>
                <a:gd name="connsiteX10" fmla="*/ 89097 w 270502"/>
                <a:gd name="connsiteY10" fmla="*/ 691333 h 721392"/>
                <a:gd name="connsiteX11" fmla="*/ 96852 w 270502"/>
                <a:gd name="connsiteY11" fmla="*/ 180349 h 721392"/>
                <a:gd name="connsiteX12" fmla="*/ 173589 w 270502"/>
                <a:gd name="connsiteY12" fmla="*/ 180349 h 721392"/>
                <a:gd name="connsiteX13" fmla="*/ 250238 w 270502"/>
                <a:gd name="connsiteY13" fmla="*/ 253359 h 721392"/>
                <a:gd name="connsiteX14" fmla="*/ 270166 w 270502"/>
                <a:gd name="connsiteY14" fmla="*/ 427937 h 721392"/>
                <a:gd name="connsiteX15" fmla="*/ 257782 w 270502"/>
                <a:gd name="connsiteY15" fmla="*/ 467703 h 721392"/>
                <a:gd name="connsiteX16" fmla="*/ 226913 w 270502"/>
                <a:gd name="connsiteY16" fmla="*/ 482882 h 721392"/>
                <a:gd name="connsiteX17" fmla="*/ 210320 w 270502"/>
                <a:gd name="connsiteY17" fmla="*/ 707475 h 721392"/>
                <a:gd name="connsiteX18" fmla="*/ 195351 w 270502"/>
                <a:gd name="connsiteY18" fmla="*/ 721392 h 721392"/>
                <a:gd name="connsiteX19" fmla="*/ 75119 w 270502"/>
                <a:gd name="connsiteY19" fmla="*/ 721392 h 721392"/>
                <a:gd name="connsiteX20" fmla="*/ 60151 w 270502"/>
                <a:gd name="connsiteY20" fmla="*/ 707475 h 721392"/>
                <a:gd name="connsiteX21" fmla="*/ 43558 w 270502"/>
                <a:gd name="connsiteY21" fmla="*/ 482882 h 721392"/>
                <a:gd name="connsiteX22" fmla="*/ 12689 w 270502"/>
                <a:gd name="connsiteY22" fmla="*/ 467703 h 721392"/>
                <a:gd name="connsiteX23" fmla="*/ 335 w 270502"/>
                <a:gd name="connsiteY23" fmla="*/ 427937 h 721392"/>
                <a:gd name="connsiteX24" fmla="*/ 20264 w 270502"/>
                <a:gd name="connsiteY24" fmla="*/ 253359 h 721392"/>
                <a:gd name="connsiteX25" fmla="*/ 96852 w 270502"/>
                <a:gd name="connsiteY25" fmla="*/ 180349 h 721392"/>
                <a:gd name="connsiteX26" fmla="*/ 135235 w 270502"/>
                <a:gd name="connsiteY26" fmla="*/ 120232 h 721392"/>
                <a:gd name="connsiteX27" fmla="*/ 135234 w 270502"/>
                <a:gd name="connsiteY27" fmla="*/ 120232 h 721392"/>
                <a:gd name="connsiteX28" fmla="*/ 135235 w 270502"/>
                <a:gd name="connsiteY28" fmla="*/ 120232 h 721392"/>
                <a:gd name="connsiteX29" fmla="*/ 135234 w 270502"/>
                <a:gd name="connsiteY29" fmla="*/ 0 h 721392"/>
                <a:gd name="connsiteX30" fmla="*/ 210379 w 270502"/>
                <a:gd name="connsiteY30" fmla="*/ 75145 h 721392"/>
                <a:gd name="connsiteX31" fmla="*/ 135234 w 270502"/>
                <a:gd name="connsiteY31" fmla="*/ 150290 h 721392"/>
                <a:gd name="connsiteX32" fmla="*/ 60089 w 270502"/>
                <a:gd name="connsiteY32" fmla="*/ 75145 h 721392"/>
                <a:gd name="connsiteX33" fmla="*/ 135234 w 270502"/>
                <a:gd name="connsiteY33"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240348 w 270502"/>
                <a:gd name="connsiteY7" fmla="*/ 431332 h 721392"/>
                <a:gd name="connsiteX8" fmla="*/ 181404 w 270502"/>
                <a:gd name="connsiteY8" fmla="*/ 691333 h 721392"/>
                <a:gd name="connsiteX9" fmla="*/ 89097 w 270502"/>
                <a:gd name="connsiteY9" fmla="*/ 691333 h 721392"/>
                <a:gd name="connsiteX10" fmla="*/ 96852 w 270502"/>
                <a:gd name="connsiteY10" fmla="*/ 180349 h 721392"/>
                <a:gd name="connsiteX11" fmla="*/ 173589 w 270502"/>
                <a:gd name="connsiteY11" fmla="*/ 180349 h 721392"/>
                <a:gd name="connsiteX12" fmla="*/ 250238 w 270502"/>
                <a:gd name="connsiteY12" fmla="*/ 253359 h 721392"/>
                <a:gd name="connsiteX13" fmla="*/ 270166 w 270502"/>
                <a:gd name="connsiteY13" fmla="*/ 427937 h 721392"/>
                <a:gd name="connsiteX14" fmla="*/ 257782 w 270502"/>
                <a:gd name="connsiteY14" fmla="*/ 467703 h 721392"/>
                <a:gd name="connsiteX15" fmla="*/ 226913 w 270502"/>
                <a:gd name="connsiteY15" fmla="*/ 482882 h 721392"/>
                <a:gd name="connsiteX16" fmla="*/ 210320 w 270502"/>
                <a:gd name="connsiteY16" fmla="*/ 707475 h 721392"/>
                <a:gd name="connsiteX17" fmla="*/ 195351 w 270502"/>
                <a:gd name="connsiteY17" fmla="*/ 721392 h 721392"/>
                <a:gd name="connsiteX18" fmla="*/ 75119 w 270502"/>
                <a:gd name="connsiteY18" fmla="*/ 721392 h 721392"/>
                <a:gd name="connsiteX19" fmla="*/ 60151 w 270502"/>
                <a:gd name="connsiteY19" fmla="*/ 707475 h 721392"/>
                <a:gd name="connsiteX20" fmla="*/ 43558 w 270502"/>
                <a:gd name="connsiteY20" fmla="*/ 482882 h 721392"/>
                <a:gd name="connsiteX21" fmla="*/ 12689 w 270502"/>
                <a:gd name="connsiteY21" fmla="*/ 467703 h 721392"/>
                <a:gd name="connsiteX22" fmla="*/ 335 w 270502"/>
                <a:gd name="connsiteY22" fmla="*/ 427937 h 721392"/>
                <a:gd name="connsiteX23" fmla="*/ 20264 w 270502"/>
                <a:gd name="connsiteY23" fmla="*/ 253359 h 721392"/>
                <a:gd name="connsiteX24" fmla="*/ 96852 w 270502"/>
                <a:gd name="connsiteY24" fmla="*/ 180349 h 721392"/>
                <a:gd name="connsiteX25" fmla="*/ 135235 w 270502"/>
                <a:gd name="connsiteY25" fmla="*/ 120232 h 721392"/>
                <a:gd name="connsiteX26" fmla="*/ 135234 w 270502"/>
                <a:gd name="connsiteY26" fmla="*/ 120232 h 721392"/>
                <a:gd name="connsiteX27" fmla="*/ 135235 w 270502"/>
                <a:gd name="connsiteY27" fmla="*/ 120232 h 721392"/>
                <a:gd name="connsiteX28" fmla="*/ 135234 w 270502"/>
                <a:gd name="connsiteY28" fmla="*/ 0 h 721392"/>
                <a:gd name="connsiteX29" fmla="*/ 210379 w 270502"/>
                <a:gd name="connsiteY29" fmla="*/ 75145 h 721392"/>
                <a:gd name="connsiteX30" fmla="*/ 135234 w 270502"/>
                <a:gd name="connsiteY30" fmla="*/ 150290 h 721392"/>
                <a:gd name="connsiteX31" fmla="*/ 60089 w 270502"/>
                <a:gd name="connsiteY31" fmla="*/ 75145 h 721392"/>
                <a:gd name="connsiteX32" fmla="*/ 135234 w 270502"/>
                <a:gd name="connsiteY32"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24418 w 270502"/>
                <a:gd name="connsiteY4" fmla="*/ 452884 h 721392"/>
                <a:gd name="connsiteX5" fmla="*/ 235419 w 270502"/>
                <a:gd name="connsiteY5" fmla="*/ 447685 h 721392"/>
                <a:gd name="connsiteX6" fmla="*/ 240348 w 270502"/>
                <a:gd name="connsiteY6" fmla="*/ 431333 h 721392"/>
                <a:gd name="connsiteX7" fmla="*/ 181404 w 270502"/>
                <a:gd name="connsiteY7" fmla="*/ 691333 h 721392"/>
                <a:gd name="connsiteX8" fmla="*/ 89097 w 270502"/>
                <a:gd name="connsiteY8" fmla="*/ 691333 h 721392"/>
                <a:gd name="connsiteX9" fmla="*/ 96852 w 270502"/>
                <a:gd name="connsiteY9" fmla="*/ 180349 h 721392"/>
                <a:gd name="connsiteX10" fmla="*/ 173589 w 270502"/>
                <a:gd name="connsiteY10" fmla="*/ 180349 h 721392"/>
                <a:gd name="connsiteX11" fmla="*/ 250238 w 270502"/>
                <a:gd name="connsiteY11" fmla="*/ 253359 h 721392"/>
                <a:gd name="connsiteX12" fmla="*/ 270166 w 270502"/>
                <a:gd name="connsiteY12" fmla="*/ 427937 h 721392"/>
                <a:gd name="connsiteX13" fmla="*/ 257782 w 270502"/>
                <a:gd name="connsiteY13" fmla="*/ 467703 h 721392"/>
                <a:gd name="connsiteX14" fmla="*/ 226913 w 270502"/>
                <a:gd name="connsiteY14" fmla="*/ 482882 h 721392"/>
                <a:gd name="connsiteX15" fmla="*/ 210320 w 270502"/>
                <a:gd name="connsiteY15" fmla="*/ 707475 h 721392"/>
                <a:gd name="connsiteX16" fmla="*/ 195351 w 270502"/>
                <a:gd name="connsiteY16" fmla="*/ 721392 h 721392"/>
                <a:gd name="connsiteX17" fmla="*/ 75119 w 270502"/>
                <a:gd name="connsiteY17" fmla="*/ 721392 h 721392"/>
                <a:gd name="connsiteX18" fmla="*/ 60151 w 270502"/>
                <a:gd name="connsiteY18" fmla="*/ 707475 h 721392"/>
                <a:gd name="connsiteX19" fmla="*/ 43558 w 270502"/>
                <a:gd name="connsiteY19" fmla="*/ 482882 h 721392"/>
                <a:gd name="connsiteX20" fmla="*/ 12689 w 270502"/>
                <a:gd name="connsiteY20" fmla="*/ 467703 h 721392"/>
                <a:gd name="connsiteX21" fmla="*/ 335 w 270502"/>
                <a:gd name="connsiteY21" fmla="*/ 427937 h 721392"/>
                <a:gd name="connsiteX22" fmla="*/ 20264 w 270502"/>
                <a:gd name="connsiteY22" fmla="*/ 253359 h 721392"/>
                <a:gd name="connsiteX23" fmla="*/ 96852 w 270502"/>
                <a:gd name="connsiteY23" fmla="*/ 180349 h 721392"/>
                <a:gd name="connsiteX24" fmla="*/ 135235 w 270502"/>
                <a:gd name="connsiteY24" fmla="*/ 120232 h 721392"/>
                <a:gd name="connsiteX25" fmla="*/ 135234 w 270502"/>
                <a:gd name="connsiteY25" fmla="*/ 120232 h 721392"/>
                <a:gd name="connsiteX26" fmla="*/ 135235 w 270502"/>
                <a:gd name="connsiteY26" fmla="*/ 120232 h 721392"/>
                <a:gd name="connsiteX27" fmla="*/ 135234 w 270502"/>
                <a:gd name="connsiteY27" fmla="*/ 0 h 721392"/>
                <a:gd name="connsiteX28" fmla="*/ 210379 w 270502"/>
                <a:gd name="connsiteY28" fmla="*/ 75145 h 721392"/>
                <a:gd name="connsiteX29" fmla="*/ 135234 w 270502"/>
                <a:gd name="connsiteY29" fmla="*/ 150290 h 721392"/>
                <a:gd name="connsiteX30" fmla="*/ 60089 w 270502"/>
                <a:gd name="connsiteY30" fmla="*/ 75145 h 721392"/>
                <a:gd name="connsiteX31" fmla="*/ 135234 w 270502"/>
                <a:gd name="connsiteY31"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240348 w 270502"/>
                <a:gd name="connsiteY5" fmla="*/ 431333 h 721392"/>
                <a:gd name="connsiteX6" fmla="*/ 181404 w 270502"/>
                <a:gd name="connsiteY6" fmla="*/ 691333 h 721392"/>
                <a:gd name="connsiteX7" fmla="*/ 89097 w 270502"/>
                <a:gd name="connsiteY7" fmla="*/ 691333 h 721392"/>
                <a:gd name="connsiteX8" fmla="*/ 96852 w 270502"/>
                <a:gd name="connsiteY8" fmla="*/ 180349 h 721392"/>
                <a:gd name="connsiteX9" fmla="*/ 173589 w 270502"/>
                <a:gd name="connsiteY9" fmla="*/ 180349 h 721392"/>
                <a:gd name="connsiteX10" fmla="*/ 250238 w 270502"/>
                <a:gd name="connsiteY10" fmla="*/ 253359 h 721392"/>
                <a:gd name="connsiteX11" fmla="*/ 270166 w 270502"/>
                <a:gd name="connsiteY11" fmla="*/ 427937 h 721392"/>
                <a:gd name="connsiteX12" fmla="*/ 257782 w 270502"/>
                <a:gd name="connsiteY12" fmla="*/ 467703 h 721392"/>
                <a:gd name="connsiteX13" fmla="*/ 226913 w 270502"/>
                <a:gd name="connsiteY13" fmla="*/ 482882 h 721392"/>
                <a:gd name="connsiteX14" fmla="*/ 210320 w 270502"/>
                <a:gd name="connsiteY14" fmla="*/ 707475 h 721392"/>
                <a:gd name="connsiteX15" fmla="*/ 195351 w 270502"/>
                <a:gd name="connsiteY15" fmla="*/ 721392 h 721392"/>
                <a:gd name="connsiteX16" fmla="*/ 75119 w 270502"/>
                <a:gd name="connsiteY16" fmla="*/ 721392 h 721392"/>
                <a:gd name="connsiteX17" fmla="*/ 60151 w 270502"/>
                <a:gd name="connsiteY17" fmla="*/ 707475 h 721392"/>
                <a:gd name="connsiteX18" fmla="*/ 43558 w 270502"/>
                <a:gd name="connsiteY18" fmla="*/ 482882 h 721392"/>
                <a:gd name="connsiteX19" fmla="*/ 12689 w 270502"/>
                <a:gd name="connsiteY19" fmla="*/ 467703 h 721392"/>
                <a:gd name="connsiteX20" fmla="*/ 335 w 270502"/>
                <a:gd name="connsiteY20" fmla="*/ 427937 h 721392"/>
                <a:gd name="connsiteX21" fmla="*/ 20264 w 270502"/>
                <a:gd name="connsiteY21" fmla="*/ 253359 h 721392"/>
                <a:gd name="connsiteX22" fmla="*/ 96852 w 270502"/>
                <a:gd name="connsiteY22" fmla="*/ 180349 h 721392"/>
                <a:gd name="connsiteX23" fmla="*/ 135235 w 270502"/>
                <a:gd name="connsiteY23" fmla="*/ 120232 h 721392"/>
                <a:gd name="connsiteX24" fmla="*/ 135234 w 270502"/>
                <a:gd name="connsiteY24" fmla="*/ 120232 h 721392"/>
                <a:gd name="connsiteX25" fmla="*/ 135235 w 270502"/>
                <a:gd name="connsiteY25" fmla="*/ 120232 h 721392"/>
                <a:gd name="connsiteX26" fmla="*/ 135234 w 270502"/>
                <a:gd name="connsiteY26" fmla="*/ 0 h 721392"/>
                <a:gd name="connsiteX27" fmla="*/ 210379 w 270502"/>
                <a:gd name="connsiteY27" fmla="*/ 75145 h 721392"/>
                <a:gd name="connsiteX28" fmla="*/ 135234 w 270502"/>
                <a:gd name="connsiteY28" fmla="*/ 150290 h 721392"/>
                <a:gd name="connsiteX29" fmla="*/ 60089 w 270502"/>
                <a:gd name="connsiteY29" fmla="*/ 75145 h 721392"/>
                <a:gd name="connsiteX30" fmla="*/ 135234 w 270502"/>
                <a:gd name="connsiteY30"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235419 w 270502"/>
                <a:gd name="connsiteY4" fmla="*/ 447685 h 721392"/>
                <a:gd name="connsiteX5" fmla="*/ 181404 w 270502"/>
                <a:gd name="connsiteY5" fmla="*/ 691333 h 721392"/>
                <a:gd name="connsiteX6" fmla="*/ 89097 w 270502"/>
                <a:gd name="connsiteY6" fmla="*/ 691333 h 721392"/>
                <a:gd name="connsiteX7" fmla="*/ 96852 w 270502"/>
                <a:gd name="connsiteY7" fmla="*/ 180349 h 721392"/>
                <a:gd name="connsiteX8" fmla="*/ 173589 w 270502"/>
                <a:gd name="connsiteY8" fmla="*/ 180349 h 721392"/>
                <a:gd name="connsiteX9" fmla="*/ 250238 w 270502"/>
                <a:gd name="connsiteY9" fmla="*/ 253359 h 721392"/>
                <a:gd name="connsiteX10" fmla="*/ 270166 w 270502"/>
                <a:gd name="connsiteY10" fmla="*/ 427937 h 721392"/>
                <a:gd name="connsiteX11" fmla="*/ 257782 w 270502"/>
                <a:gd name="connsiteY11" fmla="*/ 467703 h 721392"/>
                <a:gd name="connsiteX12" fmla="*/ 226913 w 270502"/>
                <a:gd name="connsiteY12" fmla="*/ 482882 h 721392"/>
                <a:gd name="connsiteX13" fmla="*/ 210320 w 270502"/>
                <a:gd name="connsiteY13" fmla="*/ 707475 h 721392"/>
                <a:gd name="connsiteX14" fmla="*/ 195351 w 270502"/>
                <a:gd name="connsiteY14" fmla="*/ 721392 h 721392"/>
                <a:gd name="connsiteX15" fmla="*/ 75119 w 270502"/>
                <a:gd name="connsiteY15" fmla="*/ 721392 h 721392"/>
                <a:gd name="connsiteX16" fmla="*/ 60151 w 270502"/>
                <a:gd name="connsiteY16" fmla="*/ 707475 h 721392"/>
                <a:gd name="connsiteX17" fmla="*/ 43558 w 270502"/>
                <a:gd name="connsiteY17" fmla="*/ 482882 h 721392"/>
                <a:gd name="connsiteX18" fmla="*/ 12689 w 270502"/>
                <a:gd name="connsiteY18" fmla="*/ 467703 h 721392"/>
                <a:gd name="connsiteX19" fmla="*/ 335 w 270502"/>
                <a:gd name="connsiteY19" fmla="*/ 427937 h 721392"/>
                <a:gd name="connsiteX20" fmla="*/ 20264 w 270502"/>
                <a:gd name="connsiteY20" fmla="*/ 253359 h 721392"/>
                <a:gd name="connsiteX21" fmla="*/ 96852 w 270502"/>
                <a:gd name="connsiteY21" fmla="*/ 180349 h 721392"/>
                <a:gd name="connsiteX22" fmla="*/ 135235 w 270502"/>
                <a:gd name="connsiteY22" fmla="*/ 120232 h 721392"/>
                <a:gd name="connsiteX23" fmla="*/ 135234 w 270502"/>
                <a:gd name="connsiteY23" fmla="*/ 120232 h 721392"/>
                <a:gd name="connsiteX24" fmla="*/ 135235 w 270502"/>
                <a:gd name="connsiteY24" fmla="*/ 120232 h 721392"/>
                <a:gd name="connsiteX25" fmla="*/ 135234 w 270502"/>
                <a:gd name="connsiteY25" fmla="*/ 0 h 721392"/>
                <a:gd name="connsiteX26" fmla="*/ 210379 w 270502"/>
                <a:gd name="connsiteY26" fmla="*/ 75145 h 721392"/>
                <a:gd name="connsiteX27" fmla="*/ 135234 w 270502"/>
                <a:gd name="connsiteY27" fmla="*/ 150290 h 721392"/>
                <a:gd name="connsiteX28" fmla="*/ 60089 w 270502"/>
                <a:gd name="connsiteY28" fmla="*/ 75145 h 721392"/>
                <a:gd name="connsiteX29" fmla="*/ 135234 w 270502"/>
                <a:gd name="connsiteY29" fmla="*/ 0 h 721392"/>
                <a:gd name="connsiteX0" fmla="*/ 89097 w 270502"/>
                <a:gd name="connsiteY0" fmla="*/ 691333 h 721392"/>
                <a:gd name="connsiteX1" fmla="*/ 89097 w 270502"/>
                <a:gd name="connsiteY1" fmla="*/ 691334 h 721392"/>
                <a:gd name="connsiteX2" fmla="*/ 181404 w 270502"/>
                <a:gd name="connsiteY2" fmla="*/ 691334 h 721392"/>
                <a:gd name="connsiteX3" fmla="*/ 212965 w 270502"/>
                <a:gd name="connsiteY3" fmla="*/ 452884 h 721392"/>
                <a:gd name="connsiteX4" fmla="*/ 181404 w 270502"/>
                <a:gd name="connsiteY4" fmla="*/ 691333 h 721392"/>
                <a:gd name="connsiteX5" fmla="*/ 89097 w 270502"/>
                <a:gd name="connsiteY5" fmla="*/ 691333 h 721392"/>
                <a:gd name="connsiteX6" fmla="*/ 96852 w 270502"/>
                <a:gd name="connsiteY6" fmla="*/ 180349 h 721392"/>
                <a:gd name="connsiteX7" fmla="*/ 173589 w 270502"/>
                <a:gd name="connsiteY7" fmla="*/ 180349 h 721392"/>
                <a:gd name="connsiteX8" fmla="*/ 250238 w 270502"/>
                <a:gd name="connsiteY8" fmla="*/ 253359 h 721392"/>
                <a:gd name="connsiteX9" fmla="*/ 270166 w 270502"/>
                <a:gd name="connsiteY9" fmla="*/ 427937 h 721392"/>
                <a:gd name="connsiteX10" fmla="*/ 257782 w 270502"/>
                <a:gd name="connsiteY10" fmla="*/ 467703 h 721392"/>
                <a:gd name="connsiteX11" fmla="*/ 226913 w 270502"/>
                <a:gd name="connsiteY11" fmla="*/ 482882 h 721392"/>
                <a:gd name="connsiteX12" fmla="*/ 210320 w 270502"/>
                <a:gd name="connsiteY12" fmla="*/ 707475 h 721392"/>
                <a:gd name="connsiteX13" fmla="*/ 195351 w 270502"/>
                <a:gd name="connsiteY13" fmla="*/ 721392 h 721392"/>
                <a:gd name="connsiteX14" fmla="*/ 75119 w 270502"/>
                <a:gd name="connsiteY14" fmla="*/ 721392 h 721392"/>
                <a:gd name="connsiteX15" fmla="*/ 60151 w 270502"/>
                <a:gd name="connsiteY15" fmla="*/ 707475 h 721392"/>
                <a:gd name="connsiteX16" fmla="*/ 43558 w 270502"/>
                <a:gd name="connsiteY16" fmla="*/ 482882 h 721392"/>
                <a:gd name="connsiteX17" fmla="*/ 12689 w 270502"/>
                <a:gd name="connsiteY17" fmla="*/ 467703 h 721392"/>
                <a:gd name="connsiteX18" fmla="*/ 335 w 270502"/>
                <a:gd name="connsiteY18" fmla="*/ 427937 h 721392"/>
                <a:gd name="connsiteX19" fmla="*/ 20264 w 270502"/>
                <a:gd name="connsiteY19" fmla="*/ 253359 h 721392"/>
                <a:gd name="connsiteX20" fmla="*/ 96852 w 270502"/>
                <a:gd name="connsiteY20" fmla="*/ 180349 h 721392"/>
                <a:gd name="connsiteX21" fmla="*/ 135235 w 270502"/>
                <a:gd name="connsiteY21" fmla="*/ 120232 h 721392"/>
                <a:gd name="connsiteX22" fmla="*/ 135234 w 270502"/>
                <a:gd name="connsiteY22" fmla="*/ 120232 h 721392"/>
                <a:gd name="connsiteX23" fmla="*/ 135235 w 270502"/>
                <a:gd name="connsiteY23" fmla="*/ 120232 h 721392"/>
                <a:gd name="connsiteX24" fmla="*/ 135234 w 270502"/>
                <a:gd name="connsiteY24" fmla="*/ 0 h 721392"/>
                <a:gd name="connsiteX25" fmla="*/ 210379 w 270502"/>
                <a:gd name="connsiteY25" fmla="*/ 75145 h 721392"/>
                <a:gd name="connsiteX26" fmla="*/ 135234 w 270502"/>
                <a:gd name="connsiteY26" fmla="*/ 150290 h 721392"/>
                <a:gd name="connsiteX27" fmla="*/ 60089 w 270502"/>
                <a:gd name="connsiteY27" fmla="*/ 75145 h 721392"/>
                <a:gd name="connsiteX28" fmla="*/ 135234 w 270502"/>
                <a:gd name="connsiteY28" fmla="*/ 0 h 721392"/>
                <a:gd name="connsiteX0" fmla="*/ 89097 w 270502"/>
                <a:gd name="connsiteY0" fmla="*/ 691333 h 721392"/>
                <a:gd name="connsiteX1" fmla="*/ 89097 w 270502"/>
                <a:gd name="connsiteY1" fmla="*/ 691334 h 721392"/>
                <a:gd name="connsiteX2" fmla="*/ 181404 w 270502"/>
                <a:gd name="connsiteY2" fmla="*/ 691334 h 721392"/>
                <a:gd name="connsiteX3" fmla="*/ 181404 w 270502"/>
                <a:gd name="connsiteY3" fmla="*/ 691333 h 721392"/>
                <a:gd name="connsiteX4" fmla="*/ 89097 w 270502"/>
                <a:gd name="connsiteY4" fmla="*/ 691333 h 721392"/>
                <a:gd name="connsiteX5" fmla="*/ 96852 w 270502"/>
                <a:gd name="connsiteY5" fmla="*/ 180349 h 721392"/>
                <a:gd name="connsiteX6" fmla="*/ 173589 w 270502"/>
                <a:gd name="connsiteY6" fmla="*/ 180349 h 721392"/>
                <a:gd name="connsiteX7" fmla="*/ 250238 w 270502"/>
                <a:gd name="connsiteY7" fmla="*/ 253359 h 721392"/>
                <a:gd name="connsiteX8" fmla="*/ 270166 w 270502"/>
                <a:gd name="connsiteY8" fmla="*/ 427937 h 721392"/>
                <a:gd name="connsiteX9" fmla="*/ 257782 w 270502"/>
                <a:gd name="connsiteY9" fmla="*/ 467703 h 721392"/>
                <a:gd name="connsiteX10" fmla="*/ 226913 w 270502"/>
                <a:gd name="connsiteY10" fmla="*/ 482882 h 721392"/>
                <a:gd name="connsiteX11" fmla="*/ 210320 w 270502"/>
                <a:gd name="connsiteY11" fmla="*/ 707475 h 721392"/>
                <a:gd name="connsiteX12" fmla="*/ 195351 w 270502"/>
                <a:gd name="connsiteY12" fmla="*/ 721392 h 721392"/>
                <a:gd name="connsiteX13" fmla="*/ 75119 w 270502"/>
                <a:gd name="connsiteY13" fmla="*/ 721392 h 721392"/>
                <a:gd name="connsiteX14" fmla="*/ 60151 w 270502"/>
                <a:gd name="connsiteY14" fmla="*/ 707475 h 721392"/>
                <a:gd name="connsiteX15" fmla="*/ 43558 w 270502"/>
                <a:gd name="connsiteY15" fmla="*/ 482882 h 721392"/>
                <a:gd name="connsiteX16" fmla="*/ 12689 w 270502"/>
                <a:gd name="connsiteY16" fmla="*/ 467703 h 721392"/>
                <a:gd name="connsiteX17" fmla="*/ 335 w 270502"/>
                <a:gd name="connsiteY17" fmla="*/ 427937 h 721392"/>
                <a:gd name="connsiteX18" fmla="*/ 20264 w 270502"/>
                <a:gd name="connsiteY18" fmla="*/ 253359 h 721392"/>
                <a:gd name="connsiteX19" fmla="*/ 96852 w 270502"/>
                <a:gd name="connsiteY19" fmla="*/ 180349 h 721392"/>
                <a:gd name="connsiteX20" fmla="*/ 135235 w 270502"/>
                <a:gd name="connsiteY20" fmla="*/ 120232 h 721392"/>
                <a:gd name="connsiteX21" fmla="*/ 135234 w 270502"/>
                <a:gd name="connsiteY21" fmla="*/ 120232 h 721392"/>
                <a:gd name="connsiteX22" fmla="*/ 135235 w 270502"/>
                <a:gd name="connsiteY22" fmla="*/ 120232 h 721392"/>
                <a:gd name="connsiteX23" fmla="*/ 135234 w 270502"/>
                <a:gd name="connsiteY23" fmla="*/ 0 h 721392"/>
                <a:gd name="connsiteX24" fmla="*/ 210379 w 270502"/>
                <a:gd name="connsiteY24" fmla="*/ 75145 h 721392"/>
                <a:gd name="connsiteX25" fmla="*/ 135234 w 270502"/>
                <a:gd name="connsiteY25" fmla="*/ 150290 h 721392"/>
                <a:gd name="connsiteX26" fmla="*/ 60089 w 270502"/>
                <a:gd name="connsiteY26" fmla="*/ 75145 h 721392"/>
                <a:gd name="connsiteX27" fmla="*/ 135234 w 270502"/>
                <a:gd name="connsiteY27" fmla="*/ 0 h 721392"/>
                <a:gd name="connsiteX0" fmla="*/ 89097 w 270502"/>
                <a:gd name="connsiteY0" fmla="*/ 691333 h 721392"/>
                <a:gd name="connsiteX1" fmla="*/ 89097 w 270502"/>
                <a:gd name="connsiteY1" fmla="*/ 691334 h 721392"/>
                <a:gd name="connsiteX2" fmla="*/ 181404 w 270502"/>
                <a:gd name="connsiteY2" fmla="*/ 691334 h 721392"/>
                <a:gd name="connsiteX3" fmla="*/ 89097 w 270502"/>
                <a:gd name="connsiteY3" fmla="*/ 691333 h 721392"/>
                <a:gd name="connsiteX4" fmla="*/ 96852 w 270502"/>
                <a:gd name="connsiteY4" fmla="*/ 180349 h 721392"/>
                <a:gd name="connsiteX5" fmla="*/ 173589 w 270502"/>
                <a:gd name="connsiteY5" fmla="*/ 180349 h 721392"/>
                <a:gd name="connsiteX6" fmla="*/ 250238 w 270502"/>
                <a:gd name="connsiteY6" fmla="*/ 253359 h 721392"/>
                <a:gd name="connsiteX7" fmla="*/ 270166 w 270502"/>
                <a:gd name="connsiteY7" fmla="*/ 427937 h 721392"/>
                <a:gd name="connsiteX8" fmla="*/ 257782 w 270502"/>
                <a:gd name="connsiteY8" fmla="*/ 467703 h 721392"/>
                <a:gd name="connsiteX9" fmla="*/ 226913 w 270502"/>
                <a:gd name="connsiteY9" fmla="*/ 482882 h 721392"/>
                <a:gd name="connsiteX10" fmla="*/ 210320 w 270502"/>
                <a:gd name="connsiteY10" fmla="*/ 707475 h 721392"/>
                <a:gd name="connsiteX11" fmla="*/ 195351 w 270502"/>
                <a:gd name="connsiteY11" fmla="*/ 721392 h 721392"/>
                <a:gd name="connsiteX12" fmla="*/ 75119 w 270502"/>
                <a:gd name="connsiteY12" fmla="*/ 721392 h 721392"/>
                <a:gd name="connsiteX13" fmla="*/ 60151 w 270502"/>
                <a:gd name="connsiteY13" fmla="*/ 707475 h 721392"/>
                <a:gd name="connsiteX14" fmla="*/ 43558 w 270502"/>
                <a:gd name="connsiteY14" fmla="*/ 482882 h 721392"/>
                <a:gd name="connsiteX15" fmla="*/ 12689 w 270502"/>
                <a:gd name="connsiteY15" fmla="*/ 467703 h 721392"/>
                <a:gd name="connsiteX16" fmla="*/ 335 w 270502"/>
                <a:gd name="connsiteY16" fmla="*/ 427937 h 721392"/>
                <a:gd name="connsiteX17" fmla="*/ 20264 w 270502"/>
                <a:gd name="connsiteY17" fmla="*/ 253359 h 721392"/>
                <a:gd name="connsiteX18" fmla="*/ 96852 w 270502"/>
                <a:gd name="connsiteY18" fmla="*/ 180349 h 721392"/>
                <a:gd name="connsiteX19" fmla="*/ 135235 w 270502"/>
                <a:gd name="connsiteY19" fmla="*/ 120232 h 721392"/>
                <a:gd name="connsiteX20" fmla="*/ 135234 w 270502"/>
                <a:gd name="connsiteY20" fmla="*/ 120232 h 721392"/>
                <a:gd name="connsiteX21" fmla="*/ 135235 w 270502"/>
                <a:gd name="connsiteY21" fmla="*/ 120232 h 721392"/>
                <a:gd name="connsiteX22" fmla="*/ 135234 w 270502"/>
                <a:gd name="connsiteY22" fmla="*/ 0 h 721392"/>
                <a:gd name="connsiteX23" fmla="*/ 210379 w 270502"/>
                <a:gd name="connsiteY23" fmla="*/ 75145 h 721392"/>
                <a:gd name="connsiteX24" fmla="*/ 135234 w 270502"/>
                <a:gd name="connsiteY24" fmla="*/ 150290 h 721392"/>
                <a:gd name="connsiteX25" fmla="*/ 60089 w 270502"/>
                <a:gd name="connsiteY25" fmla="*/ 75145 h 721392"/>
                <a:gd name="connsiteX26" fmla="*/ 135234 w 270502"/>
                <a:gd name="connsiteY26" fmla="*/ 0 h 721392"/>
                <a:gd name="connsiteX0" fmla="*/ 89097 w 270502"/>
                <a:gd name="connsiteY0" fmla="*/ 691333 h 721392"/>
                <a:gd name="connsiteX1" fmla="*/ 89097 w 270502"/>
                <a:gd name="connsiteY1" fmla="*/ 691334 h 721392"/>
                <a:gd name="connsiteX2" fmla="*/ 89097 w 270502"/>
                <a:gd name="connsiteY2" fmla="*/ 691333 h 721392"/>
                <a:gd name="connsiteX3" fmla="*/ 96852 w 270502"/>
                <a:gd name="connsiteY3" fmla="*/ 180349 h 721392"/>
                <a:gd name="connsiteX4" fmla="*/ 173589 w 270502"/>
                <a:gd name="connsiteY4" fmla="*/ 180349 h 721392"/>
                <a:gd name="connsiteX5" fmla="*/ 250238 w 270502"/>
                <a:gd name="connsiteY5" fmla="*/ 253359 h 721392"/>
                <a:gd name="connsiteX6" fmla="*/ 270166 w 270502"/>
                <a:gd name="connsiteY6" fmla="*/ 427937 h 721392"/>
                <a:gd name="connsiteX7" fmla="*/ 257782 w 270502"/>
                <a:gd name="connsiteY7" fmla="*/ 467703 h 721392"/>
                <a:gd name="connsiteX8" fmla="*/ 226913 w 270502"/>
                <a:gd name="connsiteY8" fmla="*/ 482882 h 721392"/>
                <a:gd name="connsiteX9" fmla="*/ 210320 w 270502"/>
                <a:gd name="connsiteY9" fmla="*/ 707475 h 721392"/>
                <a:gd name="connsiteX10" fmla="*/ 195351 w 270502"/>
                <a:gd name="connsiteY10" fmla="*/ 721392 h 721392"/>
                <a:gd name="connsiteX11" fmla="*/ 75119 w 270502"/>
                <a:gd name="connsiteY11" fmla="*/ 721392 h 721392"/>
                <a:gd name="connsiteX12" fmla="*/ 60151 w 270502"/>
                <a:gd name="connsiteY12" fmla="*/ 707475 h 721392"/>
                <a:gd name="connsiteX13" fmla="*/ 43558 w 270502"/>
                <a:gd name="connsiteY13" fmla="*/ 482882 h 721392"/>
                <a:gd name="connsiteX14" fmla="*/ 12689 w 270502"/>
                <a:gd name="connsiteY14" fmla="*/ 467703 h 721392"/>
                <a:gd name="connsiteX15" fmla="*/ 335 w 270502"/>
                <a:gd name="connsiteY15" fmla="*/ 427937 h 721392"/>
                <a:gd name="connsiteX16" fmla="*/ 20264 w 270502"/>
                <a:gd name="connsiteY16" fmla="*/ 253359 h 721392"/>
                <a:gd name="connsiteX17" fmla="*/ 96852 w 270502"/>
                <a:gd name="connsiteY17" fmla="*/ 180349 h 721392"/>
                <a:gd name="connsiteX18" fmla="*/ 135235 w 270502"/>
                <a:gd name="connsiteY18" fmla="*/ 120232 h 721392"/>
                <a:gd name="connsiteX19" fmla="*/ 135234 w 270502"/>
                <a:gd name="connsiteY19" fmla="*/ 120232 h 721392"/>
                <a:gd name="connsiteX20" fmla="*/ 135235 w 270502"/>
                <a:gd name="connsiteY20" fmla="*/ 120232 h 721392"/>
                <a:gd name="connsiteX21" fmla="*/ 135234 w 270502"/>
                <a:gd name="connsiteY21" fmla="*/ 0 h 721392"/>
                <a:gd name="connsiteX22" fmla="*/ 210379 w 270502"/>
                <a:gd name="connsiteY22" fmla="*/ 75145 h 721392"/>
                <a:gd name="connsiteX23" fmla="*/ 135234 w 270502"/>
                <a:gd name="connsiteY23" fmla="*/ 150290 h 721392"/>
                <a:gd name="connsiteX24" fmla="*/ 60089 w 270502"/>
                <a:gd name="connsiteY24" fmla="*/ 75145 h 721392"/>
                <a:gd name="connsiteX25" fmla="*/ 135234 w 270502"/>
                <a:gd name="connsiteY25"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5 w 270502"/>
                <a:gd name="connsiteY15" fmla="*/ 120232 h 721392"/>
                <a:gd name="connsiteX16" fmla="*/ 135234 w 270502"/>
                <a:gd name="connsiteY16" fmla="*/ 120232 h 721392"/>
                <a:gd name="connsiteX17" fmla="*/ 135235 w 270502"/>
                <a:gd name="connsiteY17" fmla="*/ 120232 h 721392"/>
                <a:gd name="connsiteX18" fmla="*/ 135234 w 270502"/>
                <a:gd name="connsiteY18" fmla="*/ 0 h 721392"/>
                <a:gd name="connsiteX19" fmla="*/ 210379 w 270502"/>
                <a:gd name="connsiteY19" fmla="*/ 75145 h 721392"/>
                <a:gd name="connsiteX20" fmla="*/ 135234 w 270502"/>
                <a:gd name="connsiteY20" fmla="*/ 150290 h 721392"/>
                <a:gd name="connsiteX21" fmla="*/ 60089 w 270502"/>
                <a:gd name="connsiteY21" fmla="*/ 75145 h 721392"/>
                <a:gd name="connsiteX22" fmla="*/ 135234 w 270502"/>
                <a:gd name="connsiteY22" fmla="*/ 0 h 721392"/>
                <a:gd name="connsiteX0" fmla="*/ 96852 w 270502"/>
                <a:gd name="connsiteY0" fmla="*/ 180349 h 721392"/>
                <a:gd name="connsiteX1" fmla="*/ 173589 w 270502"/>
                <a:gd name="connsiteY1" fmla="*/ 180349 h 721392"/>
                <a:gd name="connsiteX2" fmla="*/ 250238 w 270502"/>
                <a:gd name="connsiteY2" fmla="*/ 253359 h 721392"/>
                <a:gd name="connsiteX3" fmla="*/ 270166 w 270502"/>
                <a:gd name="connsiteY3" fmla="*/ 427937 h 721392"/>
                <a:gd name="connsiteX4" fmla="*/ 257782 w 270502"/>
                <a:gd name="connsiteY4" fmla="*/ 467703 h 721392"/>
                <a:gd name="connsiteX5" fmla="*/ 226913 w 270502"/>
                <a:gd name="connsiteY5" fmla="*/ 482882 h 721392"/>
                <a:gd name="connsiteX6" fmla="*/ 210320 w 270502"/>
                <a:gd name="connsiteY6" fmla="*/ 707475 h 721392"/>
                <a:gd name="connsiteX7" fmla="*/ 195351 w 270502"/>
                <a:gd name="connsiteY7" fmla="*/ 721392 h 721392"/>
                <a:gd name="connsiteX8" fmla="*/ 75119 w 270502"/>
                <a:gd name="connsiteY8" fmla="*/ 721392 h 721392"/>
                <a:gd name="connsiteX9" fmla="*/ 60151 w 270502"/>
                <a:gd name="connsiteY9" fmla="*/ 707475 h 721392"/>
                <a:gd name="connsiteX10" fmla="*/ 43558 w 270502"/>
                <a:gd name="connsiteY10" fmla="*/ 482882 h 721392"/>
                <a:gd name="connsiteX11" fmla="*/ 12689 w 270502"/>
                <a:gd name="connsiteY11" fmla="*/ 467703 h 721392"/>
                <a:gd name="connsiteX12" fmla="*/ 335 w 270502"/>
                <a:gd name="connsiteY12" fmla="*/ 427937 h 721392"/>
                <a:gd name="connsiteX13" fmla="*/ 20264 w 270502"/>
                <a:gd name="connsiteY13" fmla="*/ 253359 h 721392"/>
                <a:gd name="connsiteX14" fmla="*/ 96852 w 270502"/>
                <a:gd name="connsiteY14" fmla="*/ 180349 h 721392"/>
                <a:gd name="connsiteX15" fmla="*/ 135234 w 270502"/>
                <a:gd name="connsiteY15" fmla="*/ 0 h 721392"/>
                <a:gd name="connsiteX16" fmla="*/ 210379 w 270502"/>
                <a:gd name="connsiteY16" fmla="*/ 75145 h 721392"/>
                <a:gd name="connsiteX17" fmla="*/ 135234 w 270502"/>
                <a:gd name="connsiteY17" fmla="*/ 150290 h 721392"/>
                <a:gd name="connsiteX18" fmla="*/ 60089 w 270502"/>
                <a:gd name="connsiteY18" fmla="*/ 75145 h 721392"/>
                <a:gd name="connsiteX19" fmla="*/ 135234 w 270502"/>
                <a:gd name="connsiteY19" fmla="*/ 0 h 72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0502" h="721392">
                  <a:moveTo>
                    <a:pt x="96852" y="180349"/>
                  </a:moveTo>
                  <a:lnTo>
                    <a:pt x="173589" y="180349"/>
                  </a:lnTo>
                  <a:cubicBezTo>
                    <a:pt x="212545" y="180349"/>
                    <a:pt x="245518" y="211730"/>
                    <a:pt x="250238" y="253359"/>
                  </a:cubicBezTo>
                  <a:lnTo>
                    <a:pt x="270166" y="427937"/>
                  </a:lnTo>
                  <a:cubicBezTo>
                    <a:pt x="271819" y="442545"/>
                    <a:pt x="267341" y="457033"/>
                    <a:pt x="257782" y="467703"/>
                  </a:cubicBezTo>
                  <a:cubicBezTo>
                    <a:pt x="249576" y="476901"/>
                    <a:pt x="238695" y="482221"/>
                    <a:pt x="226913" y="482882"/>
                  </a:cubicBezTo>
                  <a:lnTo>
                    <a:pt x="210320" y="707475"/>
                  </a:lnTo>
                  <a:cubicBezTo>
                    <a:pt x="209779" y="715320"/>
                    <a:pt x="203227" y="721392"/>
                    <a:pt x="195351" y="721392"/>
                  </a:cubicBezTo>
                  <a:lnTo>
                    <a:pt x="75119" y="721392"/>
                  </a:lnTo>
                  <a:cubicBezTo>
                    <a:pt x="67274" y="721392"/>
                    <a:pt x="60722" y="715320"/>
                    <a:pt x="60151" y="707475"/>
                  </a:cubicBezTo>
                  <a:lnTo>
                    <a:pt x="43558" y="482882"/>
                  </a:lnTo>
                  <a:cubicBezTo>
                    <a:pt x="31746" y="482221"/>
                    <a:pt x="20895" y="476870"/>
                    <a:pt x="12689" y="467703"/>
                  </a:cubicBezTo>
                  <a:cubicBezTo>
                    <a:pt x="3191" y="457062"/>
                    <a:pt x="-1318" y="442545"/>
                    <a:pt x="335" y="427937"/>
                  </a:cubicBezTo>
                  <a:lnTo>
                    <a:pt x="20264" y="253359"/>
                  </a:lnTo>
                  <a:cubicBezTo>
                    <a:pt x="25013" y="211730"/>
                    <a:pt x="57957" y="180349"/>
                    <a:pt x="96852" y="180349"/>
                  </a:cubicBezTo>
                  <a:close/>
                  <a:moveTo>
                    <a:pt x="135234" y="0"/>
                  </a:moveTo>
                  <a:cubicBezTo>
                    <a:pt x="176684" y="0"/>
                    <a:pt x="210379" y="33725"/>
                    <a:pt x="210379" y="75145"/>
                  </a:cubicBezTo>
                  <a:cubicBezTo>
                    <a:pt x="210379" y="116565"/>
                    <a:pt x="176655" y="150290"/>
                    <a:pt x="135234" y="150290"/>
                  </a:cubicBezTo>
                  <a:cubicBezTo>
                    <a:pt x="93814" y="150290"/>
                    <a:pt x="60089" y="116565"/>
                    <a:pt x="60089" y="75145"/>
                  </a:cubicBezTo>
                  <a:cubicBezTo>
                    <a:pt x="60089" y="33725"/>
                    <a:pt x="93814" y="0"/>
                    <a:pt x="135234" y="0"/>
                  </a:cubicBezTo>
                  <a:close/>
                </a:path>
              </a:pathLst>
            </a:custGeom>
            <a:solidFill>
              <a:schemeClr val="bg1"/>
            </a:solidFill>
            <a:ln w="12700"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noProof="0">
                <a:solidFill>
                  <a:schemeClr val="tx1"/>
                </a:solidFill>
              </a:endParaRPr>
            </a:p>
          </p:txBody>
        </p:sp>
      </p:grpSp>
      <p:sp>
        <p:nvSpPr>
          <p:cNvPr id="6" name="Footer Placeholder 19">
            <a:extLst>
              <a:ext uri="{FF2B5EF4-FFF2-40B4-BE49-F238E27FC236}">
                <a16:creationId xmlns:a16="http://schemas.microsoft.com/office/drawing/2014/main" id="{A178E01F-A9CE-4D1D-484B-55D1B72BC5CE}"/>
              </a:ext>
            </a:extLst>
          </p:cNvPr>
          <p:cNvSpPr>
            <a:spLocks noGrp="1"/>
          </p:cNvSpPr>
          <p:nvPr>
            <p:ph type="ftr" sz="quarter" idx="11"/>
          </p:nvPr>
        </p:nvSpPr>
        <p:spPr>
          <a:xfrm>
            <a:off x="904875" y="6332995"/>
            <a:ext cx="10944226" cy="350865"/>
          </a:xfrm>
        </p:spPr>
        <p:txBody>
          <a:bodyPr/>
          <a:lstStyle/>
          <a:p>
            <a:r>
              <a:rPr lang="en-US">
                <a:solidFill>
                  <a:srgbClr val="5A5A5A"/>
                </a:solidFill>
              </a:rPr>
              <a:t>BMI, body mass index; CRF, case report form; CSM, Core Set Measures; IIM, idiopathic inflammatory myopathy; MDGA, Medical Doctor (Physician) Global Assessment; MMT8, Manual Muscle Testing 8; MSA, myositis-specific antibodies; PGA, Patient Global Assessment; PH20, recombinant human hyaluronidase PH20; Q, quartile; SC, subcutaneous; SD, standard deviation; Q, quartile.</a:t>
            </a:r>
            <a:br>
              <a:rPr lang="en-US">
                <a:solidFill>
                  <a:srgbClr val="5A5A5A"/>
                </a:solidFill>
              </a:rPr>
            </a:br>
            <a:r>
              <a:rPr lang="en-US">
                <a:solidFill>
                  <a:srgbClr val="5A5A5A"/>
                </a:solidFill>
              </a:rPr>
              <a:t>*Counts all participants independent of any other concomitant use.</a:t>
            </a:r>
            <a:endParaRPr lang="en-US" noProof="0">
              <a:solidFill>
                <a:srgbClr val="5A5A5A"/>
              </a:solidFill>
            </a:endParaRPr>
          </a:p>
        </p:txBody>
      </p:sp>
    </p:spTree>
    <p:extLst>
      <p:ext uri="{BB962C8B-B14F-4D97-AF65-F5344CB8AC3E}">
        <p14:creationId xmlns:p14="http://schemas.microsoft.com/office/powerpoint/2010/main" val="1810112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9359D-A03E-C4D7-B680-DC9AC9BEC5F8}"/>
            </a:ext>
          </a:extLst>
        </p:cNvPr>
        <p:cNvGrpSpPr/>
        <p:nvPr/>
      </p:nvGrpSpPr>
      <p:grpSpPr>
        <a:xfrm>
          <a:off x="0" y="0"/>
          <a:ext cx="0" cy="0"/>
          <a:chOff x="0" y="0"/>
          <a:chExt cx="0" cy="0"/>
        </a:xfrm>
      </p:grpSpPr>
      <p:sp>
        <p:nvSpPr>
          <p:cNvPr id="6" name="Content Placeholder 5">
            <a:extLst>
              <a:ext uri="{FF2B5EF4-FFF2-40B4-BE49-F238E27FC236}">
                <a16:creationId xmlns:a16="http://schemas.microsoft.com/office/drawing/2014/main" id="{98E4E8E8-7CF2-968C-959F-E8BB559D0F10}"/>
              </a:ext>
            </a:extLst>
          </p:cNvPr>
          <p:cNvSpPr>
            <a:spLocks noGrp="1"/>
          </p:cNvSpPr>
          <p:nvPr>
            <p:ph idx="1"/>
          </p:nvPr>
        </p:nvSpPr>
        <p:spPr>
          <a:xfrm>
            <a:off x="353980" y="1600200"/>
            <a:ext cx="3323616" cy="4423325"/>
          </a:xfrm>
        </p:spPr>
        <p:txBody>
          <a:bodyPr/>
          <a:lstStyle/>
          <a:p>
            <a:pPr lvl="1"/>
            <a:r>
              <a:rPr lang="en-US" noProof="0"/>
              <a:t>Least-squares mean TIS at Week 24 was </a:t>
            </a:r>
            <a:r>
              <a:rPr lang="en-US" b="1" noProof="0">
                <a:solidFill>
                  <a:schemeClr val="accent3"/>
                </a:solidFill>
              </a:rPr>
              <a:t>statistically significantly higher in the efgartigimod PH20 SC arm </a:t>
            </a:r>
            <a:r>
              <a:rPr lang="en-US" noProof="0"/>
              <a:t>than the placebo PH20 SC arm (50.45 vs 35.65, 2-sided </a:t>
            </a:r>
            <a:r>
              <a:rPr lang="en-US" i="1" noProof="0"/>
              <a:t>P</a:t>
            </a:r>
            <a:r>
              <a:rPr lang="en-US" noProof="0"/>
              <a:t>=.0004) </a:t>
            </a:r>
          </a:p>
          <a:p>
            <a:pPr lvl="1"/>
            <a:endParaRPr lang="en-US" noProof="0"/>
          </a:p>
          <a:p>
            <a:pPr lvl="1"/>
            <a:r>
              <a:rPr lang="en-US" noProof="0"/>
              <a:t>The </a:t>
            </a:r>
            <a:r>
              <a:rPr lang="en-US" b="1" noProof="0">
                <a:solidFill>
                  <a:schemeClr val="accent3"/>
                </a:solidFill>
              </a:rPr>
              <a:t>efgartigimod PH20 SC arm demonstrated a significant improvement </a:t>
            </a:r>
            <a:r>
              <a:rPr lang="en-US" noProof="0"/>
              <a:t>compared with </a:t>
            </a:r>
            <a:br>
              <a:rPr lang="en-US" noProof="0"/>
            </a:br>
            <a:r>
              <a:rPr lang="en-US" noProof="0"/>
              <a:t>the placebo PH20 SC arm in </a:t>
            </a:r>
            <a:br>
              <a:rPr lang="en-US" noProof="0"/>
            </a:br>
            <a:r>
              <a:rPr lang="en-US" noProof="0"/>
              <a:t>mean TIS over time from Week 8 onward</a:t>
            </a:r>
          </a:p>
        </p:txBody>
      </p:sp>
      <p:sp>
        <p:nvSpPr>
          <p:cNvPr id="5" name="Slide Number Placeholder 4">
            <a:extLst>
              <a:ext uri="{FF2B5EF4-FFF2-40B4-BE49-F238E27FC236}">
                <a16:creationId xmlns:a16="http://schemas.microsoft.com/office/drawing/2014/main" id="{A90F6D07-AB08-64C2-434A-269E32CA4DBE}"/>
              </a:ext>
            </a:extLst>
          </p:cNvPr>
          <p:cNvSpPr>
            <a:spLocks noGrp="1"/>
          </p:cNvSpPr>
          <p:nvPr>
            <p:ph type="sldNum" sz="quarter" idx="4"/>
          </p:nvPr>
        </p:nvSpPr>
        <p:spPr/>
        <p:txBody>
          <a:bodyPr/>
          <a:lstStyle/>
          <a:p>
            <a:fld id="{A366880C-2072-4A02-B747-1981AA856017}" type="slidenum">
              <a:rPr lang="en-US" noProof="0" smtClean="0"/>
              <a:pPr/>
              <a:t>9</a:t>
            </a:fld>
            <a:endParaRPr lang="en-US" noProof="0"/>
          </a:p>
        </p:txBody>
      </p:sp>
      <p:sp>
        <p:nvSpPr>
          <p:cNvPr id="12" name="Footer Placeholder 12">
            <a:extLst>
              <a:ext uri="{FF2B5EF4-FFF2-40B4-BE49-F238E27FC236}">
                <a16:creationId xmlns:a16="http://schemas.microsoft.com/office/drawing/2014/main" id="{551C84E1-7DAD-F73A-BB20-E36C805B05B8}"/>
              </a:ext>
            </a:extLst>
          </p:cNvPr>
          <p:cNvSpPr>
            <a:spLocks noGrp="1"/>
          </p:cNvSpPr>
          <p:nvPr>
            <p:ph type="ftr" sz="quarter" idx="3"/>
          </p:nvPr>
        </p:nvSpPr>
        <p:spPr>
          <a:xfrm>
            <a:off x="904875" y="6449950"/>
            <a:ext cx="10972800" cy="233910"/>
          </a:xfrm>
          <a:noFill/>
        </p:spPr>
        <p:txBody>
          <a:bodyPr vert="horz" wrap="square" lIns="0" tIns="0" rIns="0" bIns="0" rtlCol="0" anchor="b">
            <a:spAutoFit/>
          </a:bodyPr>
          <a:lstStyle>
            <a:lvl1pPr algn="l">
              <a:lnSpc>
                <a:spcPct val="95000"/>
              </a:lnSpc>
              <a:spcBef>
                <a:spcPts val="400"/>
              </a:spcBef>
              <a:defRPr lang="en-US" sz="800" b="0">
                <a:solidFill>
                  <a:schemeClr val="tx2">
                    <a:lumMod val="75000"/>
                  </a:schemeClr>
                </a:solidFill>
                <a:latin typeface="+mn-lt"/>
              </a:defRPr>
            </a:lvl1pPr>
          </a:lstStyle>
          <a:p>
            <a:r>
              <a:rPr lang="en-US"/>
              <a:t>LSM, least-squares mean; </a:t>
            </a:r>
            <a:r>
              <a:rPr lang="en-US" noProof="0"/>
              <a:t>PH20, recombinant human hyaluronidase PH20; SC, subcutaneous; SE, standard error; TIS, Total Improvement Score.</a:t>
            </a:r>
            <a:br>
              <a:rPr lang="en-US" noProof="0"/>
            </a:br>
            <a:r>
              <a:rPr lang="en-US"/>
              <a:t>Note: All </a:t>
            </a:r>
            <a:r>
              <a:rPr lang="en-US" i="1"/>
              <a:t>P</a:t>
            </a:r>
            <a:r>
              <a:rPr lang="en-US"/>
              <a:t> values provided are nominal </a:t>
            </a:r>
            <a:r>
              <a:rPr lang="en-US" i="1"/>
              <a:t>P</a:t>
            </a:r>
            <a:r>
              <a:rPr lang="en-US"/>
              <a:t> values.</a:t>
            </a:r>
          </a:p>
        </p:txBody>
      </p:sp>
      <p:sp>
        <p:nvSpPr>
          <p:cNvPr id="21" name="Title 20">
            <a:extLst>
              <a:ext uri="{FF2B5EF4-FFF2-40B4-BE49-F238E27FC236}">
                <a16:creationId xmlns:a16="http://schemas.microsoft.com/office/drawing/2014/main" id="{14828143-1428-E0D4-A6D7-86365B1BEE53}"/>
              </a:ext>
            </a:extLst>
          </p:cNvPr>
          <p:cNvSpPr>
            <a:spLocks noGrp="1"/>
          </p:cNvSpPr>
          <p:nvPr>
            <p:ph type="title"/>
          </p:nvPr>
        </p:nvSpPr>
        <p:spPr/>
        <p:txBody>
          <a:bodyPr/>
          <a:lstStyle/>
          <a:p>
            <a:r>
              <a:rPr kumimoji="0" lang="en-US" sz="2200" b="0" i="0" u="none" strike="noStrike" kern="0" cap="none" spc="0" normalizeH="0" baseline="0" noProof="0">
                <a:ln>
                  <a:noFill/>
                </a:ln>
                <a:solidFill>
                  <a:srgbClr val="0B436E"/>
                </a:solidFill>
                <a:effectLst/>
                <a:uLnTx/>
                <a:uFillTx/>
                <a:latin typeface="Calibri" panose="020F0502020204030204"/>
                <a:ea typeface="+mn-ea"/>
                <a:cs typeface="+mn-cs"/>
              </a:rPr>
              <a:t>                              Efgartigimod PH20 SC Led to </a:t>
            </a:r>
            <a:r>
              <a:rPr kumimoji="0" lang="en-US" sz="2200" b="1" i="0" u="none" strike="noStrike" kern="0" cap="none" spc="0" normalizeH="0" baseline="0" noProof="0">
                <a:ln>
                  <a:noFill/>
                </a:ln>
                <a:solidFill>
                  <a:srgbClr val="0B436E"/>
                </a:solidFill>
                <a:effectLst/>
                <a:uLnTx/>
                <a:uFillTx/>
                <a:latin typeface="Calibri" panose="020F0502020204030204"/>
                <a:ea typeface="+mn-ea"/>
                <a:cs typeface="+mn-cs"/>
              </a:rPr>
              <a:t>Significant Clinical Improvement </a:t>
            </a:r>
            <a:r>
              <a:rPr kumimoji="0" lang="en-US" sz="2200" b="0" i="0" u="none" strike="noStrike" kern="0" cap="none" spc="0" normalizeH="0" baseline="0" noProof="0">
                <a:ln>
                  <a:noFill/>
                </a:ln>
                <a:solidFill>
                  <a:srgbClr val="0B436E"/>
                </a:solidFill>
                <a:effectLst/>
                <a:uLnTx/>
                <a:uFillTx/>
                <a:latin typeface="Calibri" panose="020F0502020204030204"/>
                <a:ea typeface="+mn-ea"/>
                <a:cs typeface="+mn-cs"/>
              </a:rPr>
              <a:t>as Measured by TIS</a:t>
            </a:r>
            <a:endParaRPr lang="en-US" b="1" noProof="0"/>
          </a:p>
        </p:txBody>
      </p:sp>
      <p:grpSp>
        <p:nvGrpSpPr>
          <p:cNvPr id="25" name="Group 24">
            <a:extLst>
              <a:ext uri="{FF2B5EF4-FFF2-40B4-BE49-F238E27FC236}">
                <a16:creationId xmlns:a16="http://schemas.microsoft.com/office/drawing/2014/main" id="{DFE0A7E9-F12F-5111-154C-DC7774E8DDFA}"/>
              </a:ext>
            </a:extLst>
          </p:cNvPr>
          <p:cNvGrpSpPr>
            <a:grpSpLocks noChangeAspect="1"/>
          </p:cNvGrpSpPr>
          <p:nvPr/>
        </p:nvGrpSpPr>
        <p:grpSpPr>
          <a:xfrm>
            <a:off x="346394" y="285342"/>
            <a:ext cx="659339" cy="821889"/>
            <a:chOff x="13528693" y="6233969"/>
            <a:chExt cx="1165114" cy="1452360"/>
          </a:xfrm>
        </p:grpSpPr>
        <p:grpSp>
          <p:nvGrpSpPr>
            <p:cNvPr id="26" name="Graphic 3107">
              <a:extLst>
                <a:ext uri="{FF2B5EF4-FFF2-40B4-BE49-F238E27FC236}">
                  <a16:creationId xmlns:a16="http://schemas.microsoft.com/office/drawing/2014/main" id="{79052C94-1C59-4B9D-2451-CE8A44F50D16}"/>
                </a:ext>
              </a:extLst>
            </p:cNvPr>
            <p:cNvGrpSpPr/>
            <p:nvPr/>
          </p:nvGrpSpPr>
          <p:grpSpPr>
            <a:xfrm>
              <a:off x="13528693" y="6233969"/>
              <a:ext cx="1066957" cy="1044525"/>
              <a:chOff x="13528184" y="3653831"/>
              <a:chExt cx="1066957" cy="1044525"/>
            </a:xfrm>
            <a:noFill/>
          </p:grpSpPr>
          <p:sp>
            <p:nvSpPr>
              <p:cNvPr id="28" name="Freeform 27">
                <a:extLst>
                  <a:ext uri="{FF2B5EF4-FFF2-40B4-BE49-F238E27FC236}">
                    <a16:creationId xmlns:a16="http://schemas.microsoft.com/office/drawing/2014/main" id="{DAC34381-415F-05B8-17DD-CDE81A131E0A}"/>
                  </a:ext>
                </a:extLst>
              </p:cNvPr>
              <p:cNvSpPr/>
              <p:nvPr/>
            </p:nvSpPr>
            <p:spPr>
              <a:xfrm flipV="1">
                <a:off x="13922502" y="3856131"/>
                <a:ext cx="190458" cy="714495"/>
              </a:xfrm>
              <a:custGeom>
                <a:avLst/>
                <a:gdLst>
                  <a:gd name="connsiteX0" fmla="*/ 190817 w 190458"/>
                  <a:gd name="connsiteY0" fmla="*/ 98653 h 714495"/>
                  <a:gd name="connsiteX1" fmla="*/ 190817 w 190458"/>
                  <a:gd name="connsiteY1" fmla="*/ 714740 h 714495"/>
                  <a:gd name="connsiteX2" fmla="*/ 20743 w 190458"/>
                  <a:gd name="connsiteY2" fmla="*/ 714740 h 714495"/>
                  <a:gd name="connsiteX3" fmla="*/ 358 w 190458"/>
                  <a:gd name="connsiteY3" fmla="*/ 694357 h 714495"/>
                  <a:gd name="connsiteX4" fmla="*/ 358 w 190458"/>
                  <a:gd name="connsiteY4" fmla="*/ 244 h 714495"/>
                  <a:gd name="connsiteX5" fmla="*/ 190817 w 190458"/>
                  <a:gd name="connsiteY5" fmla="*/ 98653 h 71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458" h="714495">
                    <a:moveTo>
                      <a:pt x="190817" y="98653"/>
                    </a:moveTo>
                    <a:lnTo>
                      <a:pt x="190817" y="714740"/>
                    </a:lnTo>
                    <a:lnTo>
                      <a:pt x="20743" y="714740"/>
                    </a:lnTo>
                    <a:cubicBezTo>
                      <a:pt x="9485" y="714740"/>
                      <a:pt x="358" y="705613"/>
                      <a:pt x="358" y="694357"/>
                    </a:cubicBezTo>
                    <a:lnTo>
                      <a:pt x="358" y="244"/>
                    </a:lnTo>
                    <a:cubicBezTo>
                      <a:pt x="62845" y="26864"/>
                      <a:pt x="126933" y="59254"/>
                      <a:pt x="190817" y="98653"/>
                    </a:cubicBezTo>
                    <a:close/>
                  </a:path>
                </a:pathLst>
              </a:custGeom>
              <a:solidFill>
                <a:schemeClr val="accent2">
                  <a:lumMod val="90000"/>
                </a:schemeClr>
              </a:solidFill>
              <a:ln w="19050" cap="rnd">
                <a:noFill/>
                <a:prstDash val="solid"/>
                <a:round/>
              </a:ln>
            </p:spPr>
            <p:txBody>
              <a:bodyPr rtlCol="0" anchor="ctr"/>
              <a:lstStyle/>
              <a:p>
                <a:endParaRPr lang="en-US" noProof="0"/>
              </a:p>
            </p:txBody>
          </p:sp>
          <p:sp>
            <p:nvSpPr>
              <p:cNvPr id="29" name="Freeform 28">
                <a:extLst>
                  <a:ext uri="{FF2B5EF4-FFF2-40B4-BE49-F238E27FC236}">
                    <a16:creationId xmlns:a16="http://schemas.microsoft.com/office/drawing/2014/main" id="{389034F7-545E-7FE3-4865-47BB70CDB6B9}"/>
                  </a:ext>
                </a:extLst>
              </p:cNvPr>
              <p:cNvSpPr/>
              <p:nvPr/>
            </p:nvSpPr>
            <p:spPr>
              <a:xfrm flipV="1">
                <a:off x="13732045" y="4058431"/>
                <a:ext cx="190458" cy="578726"/>
              </a:xfrm>
              <a:custGeom>
                <a:avLst/>
                <a:gdLst>
                  <a:gd name="connsiteX0" fmla="*/ 190698 w 190458"/>
                  <a:gd name="connsiteY0" fmla="*/ 66873 h 578726"/>
                  <a:gd name="connsiteX1" fmla="*/ 190698 w 190458"/>
                  <a:gd name="connsiteY1" fmla="*/ 579070 h 578726"/>
                  <a:gd name="connsiteX2" fmla="*/ 20625 w 190458"/>
                  <a:gd name="connsiteY2" fmla="*/ 579070 h 578726"/>
                  <a:gd name="connsiteX3" fmla="*/ 240 w 190458"/>
                  <a:gd name="connsiteY3" fmla="*/ 558685 h 578726"/>
                  <a:gd name="connsiteX4" fmla="*/ 240 w 190458"/>
                  <a:gd name="connsiteY4" fmla="*/ 344 h 578726"/>
                  <a:gd name="connsiteX5" fmla="*/ 190698 w 190458"/>
                  <a:gd name="connsiteY5" fmla="*/ 66873 h 57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458" h="578726">
                    <a:moveTo>
                      <a:pt x="190698" y="66873"/>
                    </a:moveTo>
                    <a:lnTo>
                      <a:pt x="190698" y="579070"/>
                    </a:lnTo>
                    <a:lnTo>
                      <a:pt x="20625" y="579070"/>
                    </a:lnTo>
                    <a:cubicBezTo>
                      <a:pt x="9367" y="579070"/>
                      <a:pt x="240" y="569944"/>
                      <a:pt x="240" y="558685"/>
                    </a:cubicBezTo>
                    <a:lnTo>
                      <a:pt x="240" y="344"/>
                    </a:lnTo>
                    <a:cubicBezTo>
                      <a:pt x="60504" y="17054"/>
                      <a:pt x="124706" y="38757"/>
                      <a:pt x="190698" y="66873"/>
                    </a:cubicBezTo>
                    <a:close/>
                  </a:path>
                </a:pathLst>
              </a:custGeom>
              <a:solidFill>
                <a:schemeClr val="bg1">
                  <a:lumMod val="85000"/>
                </a:schemeClr>
              </a:solidFill>
              <a:ln w="19050" cap="rnd">
                <a:noFill/>
                <a:prstDash val="solid"/>
                <a:round/>
              </a:ln>
            </p:spPr>
            <p:txBody>
              <a:bodyPr rtlCol="0" anchor="ctr"/>
              <a:lstStyle/>
              <a:p>
                <a:endParaRPr lang="en-US" noProof="0"/>
              </a:p>
            </p:txBody>
          </p:sp>
          <p:sp>
            <p:nvSpPr>
              <p:cNvPr id="30" name="Freeform 29">
                <a:extLst>
                  <a:ext uri="{FF2B5EF4-FFF2-40B4-BE49-F238E27FC236}">
                    <a16:creationId xmlns:a16="http://schemas.microsoft.com/office/drawing/2014/main" id="{4E2663CE-CDD8-7B96-593B-3C44EE2732EB}"/>
                  </a:ext>
                </a:extLst>
              </p:cNvPr>
              <p:cNvSpPr/>
              <p:nvPr/>
            </p:nvSpPr>
            <p:spPr>
              <a:xfrm flipV="1">
                <a:off x="13541587" y="4260733"/>
                <a:ext cx="190458" cy="416781"/>
              </a:xfrm>
              <a:custGeom>
                <a:avLst/>
                <a:gdLst>
                  <a:gd name="connsiteX0" fmla="*/ 190580 w 190458"/>
                  <a:gd name="connsiteY0" fmla="*/ 40801 h 416781"/>
                  <a:gd name="connsiteX1" fmla="*/ 190580 w 190458"/>
                  <a:gd name="connsiteY1" fmla="*/ 417226 h 416781"/>
                  <a:gd name="connsiteX2" fmla="*/ 20505 w 190458"/>
                  <a:gd name="connsiteY2" fmla="*/ 417226 h 416781"/>
                  <a:gd name="connsiteX3" fmla="*/ 122 w 190458"/>
                  <a:gd name="connsiteY3" fmla="*/ 396841 h 416781"/>
                  <a:gd name="connsiteX4" fmla="*/ 122 w 190458"/>
                  <a:gd name="connsiteY4" fmla="*/ 445 h 416781"/>
                  <a:gd name="connsiteX5" fmla="*/ 190580 w 190458"/>
                  <a:gd name="connsiteY5" fmla="*/ 40801 h 4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458" h="416781">
                    <a:moveTo>
                      <a:pt x="190580" y="40801"/>
                    </a:moveTo>
                    <a:lnTo>
                      <a:pt x="190580" y="417226"/>
                    </a:lnTo>
                    <a:lnTo>
                      <a:pt x="20505" y="417226"/>
                    </a:lnTo>
                    <a:cubicBezTo>
                      <a:pt x="9248" y="417226"/>
                      <a:pt x="122" y="408102"/>
                      <a:pt x="122" y="396841"/>
                    </a:cubicBezTo>
                    <a:lnTo>
                      <a:pt x="122" y="445"/>
                    </a:lnTo>
                    <a:cubicBezTo>
                      <a:pt x="56094" y="8730"/>
                      <a:pt x="120678" y="21416"/>
                      <a:pt x="190580" y="40801"/>
                    </a:cubicBezTo>
                    <a:close/>
                  </a:path>
                </a:pathLst>
              </a:custGeom>
              <a:solidFill>
                <a:schemeClr val="accent1"/>
              </a:solidFill>
              <a:ln w="19050" cap="rnd">
                <a:noFill/>
                <a:prstDash val="solid"/>
                <a:round/>
              </a:ln>
            </p:spPr>
            <p:txBody>
              <a:bodyPr rtlCol="0" anchor="ctr"/>
              <a:lstStyle/>
              <a:p>
                <a:endParaRPr lang="en-US" noProof="0"/>
              </a:p>
            </p:txBody>
          </p:sp>
          <p:sp>
            <p:nvSpPr>
              <p:cNvPr id="31" name="Freeform 30">
                <a:extLst>
                  <a:ext uri="{FF2B5EF4-FFF2-40B4-BE49-F238E27FC236}">
                    <a16:creationId xmlns:a16="http://schemas.microsoft.com/office/drawing/2014/main" id="{B9779BC8-B637-C714-7573-E73234CD9258}"/>
                  </a:ext>
                </a:extLst>
              </p:cNvPr>
              <p:cNvSpPr/>
              <p:nvPr/>
            </p:nvSpPr>
            <p:spPr>
              <a:xfrm flipV="1">
                <a:off x="13528184" y="4122574"/>
                <a:ext cx="1066957" cy="575782"/>
              </a:xfrm>
              <a:custGeom>
                <a:avLst/>
                <a:gdLst>
                  <a:gd name="connsiteX0" fmla="*/ 638593 w 1066957"/>
                  <a:gd name="connsiteY0" fmla="*/ 157117 h 575782"/>
                  <a:gd name="connsiteX1" fmla="*/ 989920 w 1066957"/>
                  <a:gd name="connsiteY1" fmla="*/ 393808 h 575782"/>
                  <a:gd name="connsiteX2" fmla="*/ 999818 w 1066957"/>
                  <a:gd name="connsiteY2" fmla="*/ 393909 h 575782"/>
                  <a:gd name="connsiteX3" fmla="*/ 1055251 w 1066957"/>
                  <a:gd name="connsiteY3" fmla="*/ 342475 h 575782"/>
                  <a:gd name="connsiteX4" fmla="*/ 1067347 w 1066957"/>
                  <a:gd name="connsiteY4" fmla="*/ 347752 h 575782"/>
                  <a:gd name="connsiteX5" fmla="*/ 1067347 w 1066957"/>
                  <a:gd name="connsiteY5" fmla="*/ 569008 h 575782"/>
                  <a:gd name="connsiteX6" fmla="*/ 1060149 w 1066957"/>
                  <a:gd name="connsiteY6" fmla="*/ 576209 h 575782"/>
                  <a:gd name="connsiteX7" fmla="*/ 847596 w 1066957"/>
                  <a:gd name="connsiteY7" fmla="*/ 576209 h 575782"/>
                  <a:gd name="connsiteX8" fmla="*/ 842418 w 1066957"/>
                  <a:gd name="connsiteY8" fmla="*/ 564005 h 575782"/>
                  <a:gd name="connsiteX9" fmla="*/ 900151 w 1066957"/>
                  <a:gd name="connsiteY9" fmla="*/ 504267 h 575782"/>
                  <a:gd name="connsiteX10" fmla="*/ 900423 w 1066957"/>
                  <a:gd name="connsiteY10" fmla="*/ 494537 h 575782"/>
                  <a:gd name="connsiteX11" fmla="*/ 9034 w 1066957"/>
                  <a:gd name="connsiteY11" fmla="*/ 20564 h 575782"/>
                  <a:gd name="connsiteX12" fmla="*/ 390 w 1066957"/>
                  <a:gd name="connsiteY12" fmla="*/ 10557 h 575782"/>
                  <a:gd name="connsiteX13" fmla="*/ 10856 w 1066957"/>
                  <a:gd name="connsiteY13" fmla="*/ 432 h 575782"/>
                  <a:gd name="connsiteX14" fmla="*/ 569541 w 1066957"/>
                  <a:gd name="connsiteY14" fmla="*/ 125592 h 5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6957" h="575782">
                    <a:moveTo>
                      <a:pt x="638593" y="157117"/>
                    </a:moveTo>
                    <a:cubicBezTo>
                      <a:pt x="842210" y="256059"/>
                      <a:pt x="964760" y="369384"/>
                      <a:pt x="989920" y="393808"/>
                    </a:cubicBezTo>
                    <a:cubicBezTo>
                      <a:pt x="992668" y="396476"/>
                      <a:pt x="997009" y="396513"/>
                      <a:pt x="999818" y="393909"/>
                    </a:cubicBezTo>
                    <a:lnTo>
                      <a:pt x="1055251" y="342475"/>
                    </a:lnTo>
                    <a:cubicBezTo>
                      <a:pt x="1059859" y="338202"/>
                      <a:pt x="1067347" y="341470"/>
                      <a:pt x="1067347" y="347752"/>
                    </a:cubicBezTo>
                    <a:lnTo>
                      <a:pt x="1067347" y="569008"/>
                    </a:lnTo>
                    <a:cubicBezTo>
                      <a:pt x="1067347" y="572984"/>
                      <a:pt x="1064123" y="576209"/>
                      <a:pt x="1060149" y="576209"/>
                    </a:cubicBezTo>
                    <a:lnTo>
                      <a:pt x="847596" y="576209"/>
                    </a:lnTo>
                    <a:cubicBezTo>
                      <a:pt x="841241" y="576209"/>
                      <a:pt x="838002" y="568574"/>
                      <a:pt x="842418" y="564005"/>
                    </a:cubicBezTo>
                    <a:lnTo>
                      <a:pt x="900151" y="504267"/>
                    </a:lnTo>
                    <a:cubicBezTo>
                      <a:pt x="902744" y="501586"/>
                      <a:pt x="902865" y="497354"/>
                      <a:pt x="900423" y="494537"/>
                    </a:cubicBezTo>
                    <a:cubicBezTo>
                      <a:pt x="609886" y="159262"/>
                      <a:pt x="236252" y="53483"/>
                      <a:pt x="9034" y="20564"/>
                    </a:cubicBezTo>
                    <a:cubicBezTo>
                      <a:pt x="4064" y="19843"/>
                      <a:pt x="390" y="15579"/>
                      <a:pt x="390" y="10557"/>
                    </a:cubicBezTo>
                    <a:cubicBezTo>
                      <a:pt x="390" y="4836"/>
                      <a:pt x="5139" y="228"/>
                      <a:pt x="10856" y="432"/>
                    </a:cubicBezTo>
                    <a:cubicBezTo>
                      <a:pt x="230663" y="8269"/>
                      <a:pt x="418586" y="60969"/>
                      <a:pt x="569541" y="125592"/>
                    </a:cubicBezTo>
                  </a:path>
                </a:pathLst>
              </a:custGeom>
              <a:solidFill>
                <a:schemeClr val="bg1">
                  <a:lumMod val="95000"/>
                </a:schemeClr>
              </a:solidFill>
              <a:ln w="15875" cap="rnd">
                <a:solidFill>
                  <a:schemeClr val="tx2"/>
                </a:solidFill>
                <a:prstDash val="solid"/>
                <a:round/>
              </a:ln>
            </p:spPr>
            <p:txBody>
              <a:bodyPr rtlCol="0" anchor="ctr"/>
              <a:lstStyle/>
              <a:p>
                <a:endParaRPr lang="en-US" noProof="0"/>
              </a:p>
            </p:txBody>
          </p:sp>
          <p:sp>
            <p:nvSpPr>
              <p:cNvPr id="32" name="Freeform 31">
                <a:extLst>
                  <a:ext uri="{FF2B5EF4-FFF2-40B4-BE49-F238E27FC236}">
                    <a16:creationId xmlns:a16="http://schemas.microsoft.com/office/drawing/2014/main" id="{A110315B-3E56-25A9-C47A-63A407AE45B8}"/>
                  </a:ext>
                </a:extLst>
              </p:cNvPr>
              <p:cNvSpPr/>
              <p:nvPr/>
            </p:nvSpPr>
            <p:spPr>
              <a:xfrm flipV="1">
                <a:off x="14112960" y="3653831"/>
                <a:ext cx="190458" cy="818387"/>
              </a:xfrm>
              <a:custGeom>
                <a:avLst/>
                <a:gdLst>
                  <a:gd name="connsiteX0" fmla="*/ 190935 w 190458"/>
                  <a:gd name="connsiteY0" fmla="*/ 498458 h 818387"/>
                  <a:gd name="connsiteX1" fmla="*/ 190935 w 190458"/>
                  <a:gd name="connsiteY1" fmla="*/ 798315 h 818387"/>
                  <a:gd name="connsiteX2" fmla="*/ 170550 w 190458"/>
                  <a:gd name="connsiteY2" fmla="*/ 818700 h 818387"/>
                  <a:gd name="connsiteX3" fmla="*/ 20862 w 190458"/>
                  <a:gd name="connsiteY3" fmla="*/ 818700 h 818387"/>
                  <a:gd name="connsiteX4" fmla="*/ 477 w 190458"/>
                  <a:gd name="connsiteY4" fmla="*/ 798315 h 818387"/>
                  <a:gd name="connsiteX5" fmla="*/ 477 w 190458"/>
                  <a:gd name="connsiteY5" fmla="*/ 313 h 818387"/>
                  <a:gd name="connsiteX6" fmla="*/ 190935 w 190458"/>
                  <a:gd name="connsiteY6" fmla="*/ 141875 h 818387"/>
                  <a:gd name="connsiteX7" fmla="*/ 190935 w 190458"/>
                  <a:gd name="connsiteY7" fmla="*/ 423315 h 81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458" h="818387">
                    <a:moveTo>
                      <a:pt x="190935" y="498458"/>
                    </a:moveTo>
                    <a:lnTo>
                      <a:pt x="190935" y="798315"/>
                    </a:lnTo>
                    <a:cubicBezTo>
                      <a:pt x="190935" y="809576"/>
                      <a:pt x="181808" y="818700"/>
                      <a:pt x="170550" y="818700"/>
                    </a:cubicBezTo>
                    <a:lnTo>
                      <a:pt x="20862" y="818700"/>
                    </a:lnTo>
                    <a:cubicBezTo>
                      <a:pt x="9603" y="818700"/>
                      <a:pt x="477" y="809576"/>
                      <a:pt x="477" y="798315"/>
                    </a:cubicBezTo>
                    <a:lnTo>
                      <a:pt x="477" y="313"/>
                    </a:lnTo>
                    <a:cubicBezTo>
                      <a:pt x="64797" y="39977"/>
                      <a:pt x="128897" y="86737"/>
                      <a:pt x="190935" y="141875"/>
                    </a:cubicBezTo>
                    <a:lnTo>
                      <a:pt x="190935" y="423315"/>
                    </a:lnTo>
                  </a:path>
                </a:pathLst>
              </a:custGeom>
              <a:solidFill>
                <a:schemeClr val="bg1">
                  <a:lumMod val="65000"/>
                </a:schemeClr>
              </a:solidFill>
              <a:ln w="19050" cap="rnd">
                <a:noFill/>
                <a:prstDash val="solid"/>
                <a:round/>
              </a:ln>
            </p:spPr>
            <p:txBody>
              <a:bodyPr rtlCol="0" anchor="ctr"/>
              <a:lstStyle/>
              <a:p>
                <a:endParaRPr lang="en-US" noProof="0"/>
              </a:p>
            </p:txBody>
          </p:sp>
        </p:grpSp>
        <p:sp>
          <p:nvSpPr>
            <p:cNvPr id="27" name="Graphic 3493">
              <a:extLst>
                <a:ext uri="{FF2B5EF4-FFF2-40B4-BE49-F238E27FC236}">
                  <a16:creationId xmlns:a16="http://schemas.microsoft.com/office/drawing/2014/main" id="{C3A23F7B-67AD-FEF8-A9CA-FA322060C2FC}"/>
                </a:ext>
              </a:extLst>
            </p:cNvPr>
            <p:cNvSpPr/>
            <p:nvPr/>
          </p:nvSpPr>
          <p:spPr>
            <a:xfrm flipH="1">
              <a:off x="13849944" y="6842478"/>
              <a:ext cx="843863" cy="843851"/>
            </a:xfrm>
            <a:custGeom>
              <a:avLst/>
              <a:gdLst>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15254 w 1079629"/>
                <a:gd name="connsiteY13" fmla="*/ 314410 h 1276592"/>
                <a:gd name="connsiteX14" fmla="*/ 962197 w 1079629"/>
                <a:gd name="connsiteY14" fmla="*/ 314416 h 1276592"/>
                <a:gd name="connsiteX15" fmla="*/ 962197 w 1079629"/>
                <a:gd name="connsiteY15" fmla="*/ 761353 h 1276592"/>
                <a:gd name="connsiteX16" fmla="*/ 515254 w 1079629"/>
                <a:gd name="connsiteY16" fmla="*/ 761353 h 1276592"/>
                <a:gd name="connsiteX17" fmla="*/ 515254 w 1079629"/>
                <a:gd name="connsiteY17" fmla="*/ 314410 h 1276592"/>
                <a:gd name="connsiteX18" fmla="*/ 476495 w 1079629"/>
                <a:gd name="connsiteY18" fmla="*/ 755879 h 1276592"/>
                <a:gd name="connsiteX19" fmla="*/ 520725 w 1079629"/>
                <a:gd name="connsiteY19" fmla="*/ 800112 h 1276592"/>
                <a:gd name="connsiteX20" fmla="*/ 485729 w 1079629"/>
                <a:gd name="connsiteY20" fmla="*/ 835108 h 1276592"/>
                <a:gd name="connsiteX21" fmla="*/ 441497 w 1079629"/>
                <a:gd name="connsiteY21" fmla="*/ 790876 h 1276592"/>
                <a:gd name="connsiteX22" fmla="*/ 45632 w 1079629"/>
                <a:gd name="connsiteY22" fmla="*/ 1110210 h 1276592"/>
                <a:gd name="connsiteX23" fmla="*/ 365231 w 1079629"/>
                <a:gd name="connsiteY23" fmla="*/ 824183 h 1276592"/>
                <a:gd name="connsiteX24" fmla="*/ 452424 w 1079629"/>
                <a:gd name="connsiteY24" fmla="*/ 911376 h 1276592"/>
                <a:gd name="connsiteX25" fmla="*/ 166397 w 1079629"/>
                <a:gd name="connsiteY25" fmla="*/ 1230975 h 1276592"/>
                <a:gd name="connsiteX26" fmla="*/ 76717 w 1079629"/>
                <a:gd name="connsiteY26" fmla="*/ 1233463 h 1276592"/>
                <a:gd name="connsiteX27" fmla="*/ 43144 w 1079629"/>
                <a:gd name="connsiteY27" fmla="*/ 1199890 h 1276592"/>
                <a:gd name="connsiteX28" fmla="*/ 45632 w 1079629"/>
                <a:gd name="connsiteY28" fmla="*/ 1110210 h 1276592"/>
                <a:gd name="connsiteX29" fmla="*/ 922345 w 1079629"/>
                <a:gd name="connsiteY29" fmla="*/ 721509 h 1276592"/>
                <a:gd name="connsiteX30" fmla="*/ 922345 w 1079629"/>
                <a:gd name="connsiteY30" fmla="*/ 354260 h 1276592"/>
                <a:gd name="connsiteX31" fmla="*/ 555095 w 1079629"/>
                <a:gd name="connsiteY31" fmla="*/ 354260 h 1276592"/>
                <a:gd name="connsiteX32" fmla="*/ 555095 w 1079629"/>
                <a:gd name="connsiteY32" fmla="*/ 721509 h 1276592"/>
                <a:gd name="connsiteX33" fmla="*/ 922345 w 1079629"/>
                <a:gd name="connsiteY33" fmla="*/ 721509 h 1276592"/>
                <a:gd name="connsiteX34" fmla="*/ 572794 w 1079629"/>
                <a:gd name="connsiteY34" fmla="*/ 371958 h 1276592"/>
                <a:gd name="connsiteX35" fmla="*/ 904646 w 1079629"/>
                <a:gd name="connsiteY35" fmla="*/ 371958 h 1276592"/>
                <a:gd name="connsiteX36" fmla="*/ 904646 w 1079629"/>
                <a:gd name="connsiteY36" fmla="*/ 703811 h 1276592"/>
                <a:gd name="connsiteX37" fmla="*/ 572794 w 1079629"/>
                <a:gd name="connsiteY37" fmla="*/ 703811 h 1276592"/>
                <a:gd name="connsiteX38" fmla="*/ 572794 w 1079629"/>
                <a:gd name="connsiteY38" fmla="*/ 371958 h 1276592"/>
                <a:gd name="connsiteX39" fmla="*/ 574334 w 1079629"/>
                <a:gd name="connsiteY39" fmla="*/ 550402 h 1276592"/>
                <a:gd name="connsiteX40" fmla="*/ 561818 w 1079629"/>
                <a:gd name="connsiteY40" fmla="*/ 537886 h 1276592"/>
                <a:gd name="connsiteX41" fmla="*/ 738726 w 1079629"/>
                <a:gd name="connsiteY41" fmla="*/ 361008 h 1276592"/>
                <a:gd name="connsiteX42" fmla="*/ 751242 w 1079629"/>
                <a:gd name="connsiteY42" fmla="*/ 373524 h 1276592"/>
                <a:gd name="connsiteX43" fmla="*/ 738726 w 1079629"/>
                <a:gd name="connsiteY43" fmla="*/ 386040 h 1276592"/>
                <a:gd name="connsiteX44" fmla="*/ 586850 w 1079629"/>
                <a:gd name="connsiteY44" fmla="*/ 537886 h 1276592"/>
                <a:gd name="connsiteX45" fmla="*/ 574334 w 1079629"/>
                <a:gd name="connsiteY45" fmla="*/ 550402 h 1276592"/>
                <a:gd name="connsiteX46" fmla="*/ 446725 w 1079629"/>
                <a:gd name="connsiteY46" fmla="*/ 184871 h 1276592"/>
                <a:gd name="connsiteX47" fmla="*/ 306948 w 1079629"/>
                <a:gd name="connsiteY47" fmla="*/ 45086 h 1276592"/>
                <a:gd name="connsiteX48" fmla="*/ 306948 w 1079629"/>
                <a:gd name="connsiteY48" fmla="*/ 27388 h 1276592"/>
                <a:gd name="connsiteX49" fmla="*/ 324647 w 1079629"/>
                <a:gd name="connsiteY49" fmla="*/ 27388 h 1276592"/>
                <a:gd name="connsiteX50" fmla="*/ 464424 w 1079629"/>
                <a:gd name="connsiteY50" fmla="*/ 167172 h 1276592"/>
                <a:gd name="connsiteX51" fmla="*/ 464424 w 1079629"/>
                <a:gd name="connsiteY51" fmla="*/ 184871 h 1276592"/>
                <a:gd name="connsiteX52" fmla="*/ 446725 w 1079629"/>
                <a:gd name="connsiteY52" fmla="*/ 184871 h 1276592"/>
                <a:gd name="connsiteX53" fmla="*/ 573156 w 1079629"/>
                <a:gd name="connsiteY53" fmla="*/ 11132 h 1276592"/>
                <a:gd name="connsiteX54" fmla="*/ 582720 w 1079629"/>
                <a:gd name="connsiteY54" fmla="*/ 96368 h 1276592"/>
                <a:gd name="connsiteX55" fmla="*/ 570265 w 1079629"/>
                <a:gd name="connsiteY55" fmla="*/ 110276 h 1276592"/>
                <a:gd name="connsiteX56" fmla="*/ 557846 w 1079629"/>
                <a:gd name="connsiteY56" fmla="*/ 99155 h 1276592"/>
                <a:gd name="connsiteX57" fmla="*/ 548283 w 1079629"/>
                <a:gd name="connsiteY57" fmla="*/ 13919 h 1276592"/>
                <a:gd name="connsiteX58" fmla="*/ 559325 w 1079629"/>
                <a:gd name="connsiteY58" fmla="*/ 90 h 1276592"/>
                <a:gd name="connsiteX59" fmla="*/ 573156 w 1079629"/>
                <a:gd name="connsiteY59" fmla="*/ 11132 h 1276592"/>
                <a:gd name="connsiteX60" fmla="*/ 378708 w 1079629"/>
                <a:gd name="connsiteY60" fmla="*/ 278296 h 1276592"/>
                <a:gd name="connsiteX61" fmla="*/ 389750 w 1079629"/>
                <a:gd name="connsiteY61" fmla="*/ 292124 h 1276592"/>
                <a:gd name="connsiteX62" fmla="*/ 375921 w 1079629"/>
                <a:gd name="connsiteY62" fmla="*/ 303167 h 1276592"/>
                <a:gd name="connsiteX63" fmla="*/ 290685 w 1079629"/>
                <a:gd name="connsiteY63" fmla="*/ 293603 h 1276592"/>
                <a:gd name="connsiteX64" fmla="*/ 279643 w 1079629"/>
                <a:gd name="connsiteY64" fmla="*/ 279775 h 1276592"/>
                <a:gd name="connsiteX65" fmla="*/ 293472 w 1079629"/>
                <a:gd name="connsiteY65" fmla="*/ 268732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4334 w 1079629"/>
                <a:gd name="connsiteY41" fmla="*/ 550402 h 1276592"/>
                <a:gd name="connsiteX42" fmla="*/ 561818 w 1079629"/>
                <a:gd name="connsiteY42" fmla="*/ 537886 h 1276592"/>
                <a:gd name="connsiteX43" fmla="*/ 738726 w 1079629"/>
                <a:gd name="connsiteY43" fmla="*/ 361008 h 1276592"/>
                <a:gd name="connsiteX44" fmla="*/ 751242 w 1079629"/>
                <a:gd name="connsiteY44" fmla="*/ 373524 h 1276592"/>
                <a:gd name="connsiteX45" fmla="*/ 586850 w 1079629"/>
                <a:gd name="connsiteY45" fmla="*/ 537886 h 1276592"/>
                <a:gd name="connsiteX46" fmla="*/ 574334 w 1079629"/>
                <a:gd name="connsiteY46" fmla="*/ 550402 h 1276592"/>
                <a:gd name="connsiteX47" fmla="*/ 446725 w 1079629"/>
                <a:gd name="connsiteY47" fmla="*/ 184871 h 1276592"/>
                <a:gd name="connsiteX48" fmla="*/ 306948 w 1079629"/>
                <a:gd name="connsiteY48" fmla="*/ 45086 h 1276592"/>
                <a:gd name="connsiteX49" fmla="*/ 306948 w 1079629"/>
                <a:gd name="connsiteY49" fmla="*/ 27388 h 1276592"/>
                <a:gd name="connsiteX50" fmla="*/ 324647 w 1079629"/>
                <a:gd name="connsiteY50" fmla="*/ 27388 h 1276592"/>
                <a:gd name="connsiteX51" fmla="*/ 464424 w 1079629"/>
                <a:gd name="connsiteY51" fmla="*/ 167172 h 1276592"/>
                <a:gd name="connsiteX52" fmla="*/ 464424 w 1079629"/>
                <a:gd name="connsiteY52" fmla="*/ 184871 h 1276592"/>
                <a:gd name="connsiteX53" fmla="*/ 446725 w 1079629"/>
                <a:gd name="connsiteY53" fmla="*/ 184871 h 1276592"/>
                <a:gd name="connsiteX54" fmla="*/ 573156 w 1079629"/>
                <a:gd name="connsiteY54" fmla="*/ 11132 h 1276592"/>
                <a:gd name="connsiteX55" fmla="*/ 582720 w 1079629"/>
                <a:gd name="connsiteY55" fmla="*/ 96368 h 1276592"/>
                <a:gd name="connsiteX56" fmla="*/ 570265 w 1079629"/>
                <a:gd name="connsiteY56" fmla="*/ 110276 h 1276592"/>
                <a:gd name="connsiteX57" fmla="*/ 557846 w 1079629"/>
                <a:gd name="connsiteY57" fmla="*/ 99155 h 1276592"/>
                <a:gd name="connsiteX58" fmla="*/ 548283 w 1079629"/>
                <a:gd name="connsiteY58" fmla="*/ 13919 h 1276592"/>
                <a:gd name="connsiteX59" fmla="*/ 559325 w 1079629"/>
                <a:gd name="connsiteY59" fmla="*/ 90 h 1276592"/>
                <a:gd name="connsiteX60" fmla="*/ 573156 w 1079629"/>
                <a:gd name="connsiteY60" fmla="*/ 11132 h 1276592"/>
                <a:gd name="connsiteX61" fmla="*/ 378708 w 1079629"/>
                <a:gd name="connsiteY61" fmla="*/ 278296 h 1276592"/>
                <a:gd name="connsiteX62" fmla="*/ 389750 w 1079629"/>
                <a:gd name="connsiteY62" fmla="*/ 292124 h 1276592"/>
                <a:gd name="connsiteX63" fmla="*/ 375921 w 1079629"/>
                <a:gd name="connsiteY63" fmla="*/ 303167 h 1276592"/>
                <a:gd name="connsiteX64" fmla="*/ 290685 w 1079629"/>
                <a:gd name="connsiteY64" fmla="*/ 293603 h 1276592"/>
                <a:gd name="connsiteX65" fmla="*/ 279643 w 1079629"/>
                <a:gd name="connsiteY65" fmla="*/ 279775 h 1276592"/>
                <a:gd name="connsiteX66" fmla="*/ 293472 w 1079629"/>
                <a:gd name="connsiteY66" fmla="*/ 268732 h 1276592"/>
                <a:gd name="connsiteX67" fmla="*/ 378708 w 1079629"/>
                <a:gd name="connsiteY67"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4334 w 1079629"/>
                <a:gd name="connsiteY41" fmla="*/ 550402 h 1276592"/>
                <a:gd name="connsiteX42" fmla="*/ 561818 w 1079629"/>
                <a:gd name="connsiteY42" fmla="*/ 537886 h 1276592"/>
                <a:gd name="connsiteX43" fmla="*/ 738726 w 1079629"/>
                <a:gd name="connsiteY43" fmla="*/ 361008 h 1276592"/>
                <a:gd name="connsiteX44" fmla="*/ 586850 w 1079629"/>
                <a:gd name="connsiteY44" fmla="*/ 537886 h 1276592"/>
                <a:gd name="connsiteX45" fmla="*/ 574334 w 1079629"/>
                <a:gd name="connsiteY45" fmla="*/ 550402 h 1276592"/>
                <a:gd name="connsiteX46" fmla="*/ 446725 w 1079629"/>
                <a:gd name="connsiteY46" fmla="*/ 184871 h 1276592"/>
                <a:gd name="connsiteX47" fmla="*/ 306948 w 1079629"/>
                <a:gd name="connsiteY47" fmla="*/ 45086 h 1276592"/>
                <a:gd name="connsiteX48" fmla="*/ 306948 w 1079629"/>
                <a:gd name="connsiteY48" fmla="*/ 27388 h 1276592"/>
                <a:gd name="connsiteX49" fmla="*/ 324647 w 1079629"/>
                <a:gd name="connsiteY49" fmla="*/ 27388 h 1276592"/>
                <a:gd name="connsiteX50" fmla="*/ 464424 w 1079629"/>
                <a:gd name="connsiteY50" fmla="*/ 167172 h 1276592"/>
                <a:gd name="connsiteX51" fmla="*/ 464424 w 1079629"/>
                <a:gd name="connsiteY51" fmla="*/ 184871 h 1276592"/>
                <a:gd name="connsiteX52" fmla="*/ 446725 w 1079629"/>
                <a:gd name="connsiteY52" fmla="*/ 184871 h 1276592"/>
                <a:gd name="connsiteX53" fmla="*/ 573156 w 1079629"/>
                <a:gd name="connsiteY53" fmla="*/ 11132 h 1276592"/>
                <a:gd name="connsiteX54" fmla="*/ 582720 w 1079629"/>
                <a:gd name="connsiteY54" fmla="*/ 96368 h 1276592"/>
                <a:gd name="connsiteX55" fmla="*/ 570265 w 1079629"/>
                <a:gd name="connsiteY55" fmla="*/ 110276 h 1276592"/>
                <a:gd name="connsiteX56" fmla="*/ 557846 w 1079629"/>
                <a:gd name="connsiteY56" fmla="*/ 99155 h 1276592"/>
                <a:gd name="connsiteX57" fmla="*/ 548283 w 1079629"/>
                <a:gd name="connsiteY57" fmla="*/ 13919 h 1276592"/>
                <a:gd name="connsiteX58" fmla="*/ 559325 w 1079629"/>
                <a:gd name="connsiteY58" fmla="*/ 90 h 1276592"/>
                <a:gd name="connsiteX59" fmla="*/ 573156 w 1079629"/>
                <a:gd name="connsiteY59" fmla="*/ 11132 h 1276592"/>
                <a:gd name="connsiteX60" fmla="*/ 378708 w 1079629"/>
                <a:gd name="connsiteY60" fmla="*/ 278296 h 1276592"/>
                <a:gd name="connsiteX61" fmla="*/ 389750 w 1079629"/>
                <a:gd name="connsiteY61" fmla="*/ 292124 h 1276592"/>
                <a:gd name="connsiteX62" fmla="*/ 375921 w 1079629"/>
                <a:gd name="connsiteY62" fmla="*/ 303167 h 1276592"/>
                <a:gd name="connsiteX63" fmla="*/ 290685 w 1079629"/>
                <a:gd name="connsiteY63" fmla="*/ 293603 h 1276592"/>
                <a:gd name="connsiteX64" fmla="*/ 279643 w 1079629"/>
                <a:gd name="connsiteY64" fmla="*/ 279775 h 1276592"/>
                <a:gd name="connsiteX65" fmla="*/ 293472 w 1079629"/>
                <a:gd name="connsiteY65" fmla="*/ 268732 h 1276592"/>
                <a:gd name="connsiteX66" fmla="*/ 378708 w 1079629"/>
                <a:gd name="connsiteY66"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4334 w 1079629"/>
                <a:gd name="connsiteY41" fmla="*/ 550402 h 1276592"/>
                <a:gd name="connsiteX42" fmla="*/ 561818 w 1079629"/>
                <a:gd name="connsiteY42" fmla="*/ 537886 h 1276592"/>
                <a:gd name="connsiteX43" fmla="*/ 586850 w 1079629"/>
                <a:gd name="connsiteY43" fmla="*/ 537886 h 1276592"/>
                <a:gd name="connsiteX44" fmla="*/ 574334 w 1079629"/>
                <a:gd name="connsiteY44" fmla="*/ 550402 h 1276592"/>
                <a:gd name="connsiteX45" fmla="*/ 446725 w 1079629"/>
                <a:gd name="connsiteY45" fmla="*/ 184871 h 1276592"/>
                <a:gd name="connsiteX46" fmla="*/ 306948 w 1079629"/>
                <a:gd name="connsiteY46" fmla="*/ 45086 h 1276592"/>
                <a:gd name="connsiteX47" fmla="*/ 306948 w 1079629"/>
                <a:gd name="connsiteY47" fmla="*/ 27388 h 1276592"/>
                <a:gd name="connsiteX48" fmla="*/ 324647 w 1079629"/>
                <a:gd name="connsiteY48" fmla="*/ 27388 h 1276592"/>
                <a:gd name="connsiteX49" fmla="*/ 464424 w 1079629"/>
                <a:gd name="connsiteY49" fmla="*/ 167172 h 1276592"/>
                <a:gd name="connsiteX50" fmla="*/ 464424 w 1079629"/>
                <a:gd name="connsiteY50" fmla="*/ 184871 h 1276592"/>
                <a:gd name="connsiteX51" fmla="*/ 446725 w 1079629"/>
                <a:gd name="connsiteY51" fmla="*/ 184871 h 1276592"/>
                <a:gd name="connsiteX52" fmla="*/ 573156 w 1079629"/>
                <a:gd name="connsiteY52" fmla="*/ 11132 h 1276592"/>
                <a:gd name="connsiteX53" fmla="*/ 582720 w 1079629"/>
                <a:gd name="connsiteY53" fmla="*/ 96368 h 1276592"/>
                <a:gd name="connsiteX54" fmla="*/ 570265 w 1079629"/>
                <a:gd name="connsiteY54" fmla="*/ 110276 h 1276592"/>
                <a:gd name="connsiteX55" fmla="*/ 557846 w 1079629"/>
                <a:gd name="connsiteY55" fmla="*/ 99155 h 1276592"/>
                <a:gd name="connsiteX56" fmla="*/ 548283 w 1079629"/>
                <a:gd name="connsiteY56" fmla="*/ 13919 h 1276592"/>
                <a:gd name="connsiteX57" fmla="*/ 559325 w 1079629"/>
                <a:gd name="connsiteY57" fmla="*/ 90 h 1276592"/>
                <a:gd name="connsiteX58" fmla="*/ 573156 w 1079629"/>
                <a:gd name="connsiteY58" fmla="*/ 11132 h 1276592"/>
                <a:gd name="connsiteX59" fmla="*/ 378708 w 1079629"/>
                <a:gd name="connsiteY59" fmla="*/ 278296 h 1276592"/>
                <a:gd name="connsiteX60" fmla="*/ 389750 w 1079629"/>
                <a:gd name="connsiteY60" fmla="*/ 292124 h 1276592"/>
                <a:gd name="connsiteX61" fmla="*/ 375921 w 1079629"/>
                <a:gd name="connsiteY61" fmla="*/ 303167 h 1276592"/>
                <a:gd name="connsiteX62" fmla="*/ 290685 w 1079629"/>
                <a:gd name="connsiteY62" fmla="*/ 293603 h 1276592"/>
                <a:gd name="connsiteX63" fmla="*/ 279643 w 1079629"/>
                <a:gd name="connsiteY63" fmla="*/ 279775 h 1276592"/>
                <a:gd name="connsiteX64" fmla="*/ 293472 w 1079629"/>
                <a:gd name="connsiteY64" fmla="*/ 268732 h 1276592"/>
                <a:gd name="connsiteX65" fmla="*/ 378708 w 1079629"/>
                <a:gd name="connsiteY65"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86850 w 1079629"/>
                <a:gd name="connsiteY41" fmla="*/ 537886 h 1276592"/>
                <a:gd name="connsiteX42" fmla="*/ 561818 w 1079629"/>
                <a:gd name="connsiteY42" fmla="*/ 537886 h 1276592"/>
                <a:gd name="connsiteX43" fmla="*/ 586850 w 1079629"/>
                <a:gd name="connsiteY43" fmla="*/ 537886 h 1276592"/>
                <a:gd name="connsiteX44" fmla="*/ 446725 w 1079629"/>
                <a:gd name="connsiteY44" fmla="*/ 184871 h 1276592"/>
                <a:gd name="connsiteX45" fmla="*/ 306948 w 1079629"/>
                <a:gd name="connsiteY45" fmla="*/ 45086 h 1276592"/>
                <a:gd name="connsiteX46" fmla="*/ 306948 w 1079629"/>
                <a:gd name="connsiteY46" fmla="*/ 27388 h 1276592"/>
                <a:gd name="connsiteX47" fmla="*/ 324647 w 1079629"/>
                <a:gd name="connsiteY47" fmla="*/ 27388 h 1276592"/>
                <a:gd name="connsiteX48" fmla="*/ 464424 w 1079629"/>
                <a:gd name="connsiteY48" fmla="*/ 167172 h 1276592"/>
                <a:gd name="connsiteX49" fmla="*/ 464424 w 1079629"/>
                <a:gd name="connsiteY49" fmla="*/ 184871 h 1276592"/>
                <a:gd name="connsiteX50" fmla="*/ 446725 w 1079629"/>
                <a:gd name="connsiteY50" fmla="*/ 184871 h 1276592"/>
                <a:gd name="connsiteX51" fmla="*/ 573156 w 1079629"/>
                <a:gd name="connsiteY51" fmla="*/ 11132 h 1276592"/>
                <a:gd name="connsiteX52" fmla="*/ 582720 w 1079629"/>
                <a:gd name="connsiteY52" fmla="*/ 96368 h 1276592"/>
                <a:gd name="connsiteX53" fmla="*/ 570265 w 1079629"/>
                <a:gd name="connsiteY53" fmla="*/ 110276 h 1276592"/>
                <a:gd name="connsiteX54" fmla="*/ 557846 w 1079629"/>
                <a:gd name="connsiteY54" fmla="*/ 99155 h 1276592"/>
                <a:gd name="connsiteX55" fmla="*/ 548283 w 1079629"/>
                <a:gd name="connsiteY55" fmla="*/ 13919 h 1276592"/>
                <a:gd name="connsiteX56" fmla="*/ 559325 w 1079629"/>
                <a:gd name="connsiteY56" fmla="*/ 90 h 1276592"/>
                <a:gd name="connsiteX57" fmla="*/ 573156 w 1079629"/>
                <a:gd name="connsiteY57" fmla="*/ 11132 h 1276592"/>
                <a:gd name="connsiteX58" fmla="*/ 378708 w 1079629"/>
                <a:gd name="connsiteY58" fmla="*/ 278296 h 1276592"/>
                <a:gd name="connsiteX59" fmla="*/ 389750 w 1079629"/>
                <a:gd name="connsiteY59" fmla="*/ 292124 h 1276592"/>
                <a:gd name="connsiteX60" fmla="*/ 375921 w 1079629"/>
                <a:gd name="connsiteY60" fmla="*/ 303167 h 1276592"/>
                <a:gd name="connsiteX61" fmla="*/ 290685 w 1079629"/>
                <a:gd name="connsiteY61" fmla="*/ 293603 h 1276592"/>
                <a:gd name="connsiteX62" fmla="*/ 279643 w 1079629"/>
                <a:gd name="connsiteY62" fmla="*/ 279775 h 1276592"/>
                <a:gd name="connsiteX63" fmla="*/ 293472 w 1079629"/>
                <a:gd name="connsiteY63" fmla="*/ 268732 h 1276592"/>
                <a:gd name="connsiteX64" fmla="*/ 378708 w 1079629"/>
                <a:gd name="connsiteY64"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446725 w 1079629"/>
                <a:gd name="connsiteY41" fmla="*/ 184871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464424 w 1079629"/>
                <a:gd name="connsiteY45" fmla="*/ 167172 h 1276592"/>
                <a:gd name="connsiteX46" fmla="*/ 464424 w 1079629"/>
                <a:gd name="connsiteY46" fmla="*/ 184871 h 1276592"/>
                <a:gd name="connsiteX47" fmla="*/ 446725 w 1079629"/>
                <a:gd name="connsiteY47" fmla="*/ 184871 h 1276592"/>
                <a:gd name="connsiteX48" fmla="*/ 573156 w 1079629"/>
                <a:gd name="connsiteY48" fmla="*/ 11132 h 1276592"/>
                <a:gd name="connsiteX49" fmla="*/ 582720 w 1079629"/>
                <a:gd name="connsiteY49" fmla="*/ 96368 h 1276592"/>
                <a:gd name="connsiteX50" fmla="*/ 570265 w 1079629"/>
                <a:gd name="connsiteY50" fmla="*/ 110276 h 1276592"/>
                <a:gd name="connsiteX51" fmla="*/ 557846 w 1079629"/>
                <a:gd name="connsiteY51" fmla="*/ 99155 h 1276592"/>
                <a:gd name="connsiteX52" fmla="*/ 548283 w 1079629"/>
                <a:gd name="connsiteY52" fmla="*/ 13919 h 1276592"/>
                <a:gd name="connsiteX53" fmla="*/ 559325 w 1079629"/>
                <a:gd name="connsiteY53" fmla="*/ 90 h 1276592"/>
                <a:gd name="connsiteX54" fmla="*/ 573156 w 1079629"/>
                <a:gd name="connsiteY54" fmla="*/ 11132 h 1276592"/>
                <a:gd name="connsiteX55" fmla="*/ 378708 w 1079629"/>
                <a:gd name="connsiteY55" fmla="*/ 278296 h 1276592"/>
                <a:gd name="connsiteX56" fmla="*/ 389750 w 1079629"/>
                <a:gd name="connsiteY56" fmla="*/ 292124 h 1276592"/>
                <a:gd name="connsiteX57" fmla="*/ 375921 w 1079629"/>
                <a:gd name="connsiteY57" fmla="*/ 303167 h 1276592"/>
                <a:gd name="connsiteX58" fmla="*/ 290685 w 1079629"/>
                <a:gd name="connsiteY58" fmla="*/ 293603 h 1276592"/>
                <a:gd name="connsiteX59" fmla="*/ 279643 w 1079629"/>
                <a:gd name="connsiteY59" fmla="*/ 279775 h 1276592"/>
                <a:gd name="connsiteX60" fmla="*/ 293472 w 1079629"/>
                <a:gd name="connsiteY60" fmla="*/ 268732 h 1276592"/>
                <a:gd name="connsiteX61" fmla="*/ 378708 w 1079629"/>
                <a:gd name="connsiteY61"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464424 w 1079629"/>
                <a:gd name="connsiteY41" fmla="*/ 184871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464424 w 1079629"/>
                <a:gd name="connsiteY45" fmla="*/ 167172 h 1276592"/>
                <a:gd name="connsiteX46" fmla="*/ 464424 w 1079629"/>
                <a:gd name="connsiteY46" fmla="*/ 184871 h 1276592"/>
                <a:gd name="connsiteX47" fmla="*/ 573156 w 1079629"/>
                <a:gd name="connsiteY47" fmla="*/ 11132 h 1276592"/>
                <a:gd name="connsiteX48" fmla="*/ 582720 w 1079629"/>
                <a:gd name="connsiteY48" fmla="*/ 96368 h 1276592"/>
                <a:gd name="connsiteX49" fmla="*/ 570265 w 1079629"/>
                <a:gd name="connsiteY49" fmla="*/ 110276 h 1276592"/>
                <a:gd name="connsiteX50" fmla="*/ 557846 w 1079629"/>
                <a:gd name="connsiteY50" fmla="*/ 99155 h 1276592"/>
                <a:gd name="connsiteX51" fmla="*/ 548283 w 1079629"/>
                <a:gd name="connsiteY51" fmla="*/ 13919 h 1276592"/>
                <a:gd name="connsiteX52" fmla="*/ 559325 w 1079629"/>
                <a:gd name="connsiteY52" fmla="*/ 90 h 1276592"/>
                <a:gd name="connsiteX53" fmla="*/ 573156 w 1079629"/>
                <a:gd name="connsiteY53" fmla="*/ 11132 h 1276592"/>
                <a:gd name="connsiteX54" fmla="*/ 378708 w 1079629"/>
                <a:gd name="connsiteY54" fmla="*/ 278296 h 1276592"/>
                <a:gd name="connsiteX55" fmla="*/ 389750 w 1079629"/>
                <a:gd name="connsiteY55" fmla="*/ 292124 h 1276592"/>
                <a:gd name="connsiteX56" fmla="*/ 375921 w 1079629"/>
                <a:gd name="connsiteY56" fmla="*/ 303167 h 1276592"/>
                <a:gd name="connsiteX57" fmla="*/ 290685 w 1079629"/>
                <a:gd name="connsiteY57" fmla="*/ 293603 h 1276592"/>
                <a:gd name="connsiteX58" fmla="*/ 279643 w 1079629"/>
                <a:gd name="connsiteY58" fmla="*/ 279775 h 1276592"/>
                <a:gd name="connsiteX59" fmla="*/ 293472 w 1079629"/>
                <a:gd name="connsiteY59" fmla="*/ 268732 h 1276592"/>
                <a:gd name="connsiteX60" fmla="*/ 378708 w 1079629"/>
                <a:gd name="connsiteY60"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464424 w 1079629"/>
                <a:gd name="connsiteY41" fmla="*/ 167172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464424 w 1079629"/>
                <a:gd name="connsiteY45" fmla="*/ 167172 h 1276592"/>
                <a:gd name="connsiteX46" fmla="*/ 573156 w 1079629"/>
                <a:gd name="connsiteY46" fmla="*/ 11132 h 1276592"/>
                <a:gd name="connsiteX47" fmla="*/ 582720 w 1079629"/>
                <a:gd name="connsiteY47" fmla="*/ 96368 h 1276592"/>
                <a:gd name="connsiteX48" fmla="*/ 570265 w 1079629"/>
                <a:gd name="connsiteY48" fmla="*/ 110276 h 1276592"/>
                <a:gd name="connsiteX49" fmla="*/ 557846 w 1079629"/>
                <a:gd name="connsiteY49" fmla="*/ 99155 h 1276592"/>
                <a:gd name="connsiteX50" fmla="*/ 548283 w 1079629"/>
                <a:gd name="connsiteY50" fmla="*/ 13919 h 1276592"/>
                <a:gd name="connsiteX51" fmla="*/ 559325 w 1079629"/>
                <a:gd name="connsiteY51" fmla="*/ 90 h 1276592"/>
                <a:gd name="connsiteX52" fmla="*/ 573156 w 1079629"/>
                <a:gd name="connsiteY52" fmla="*/ 11132 h 1276592"/>
                <a:gd name="connsiteX53" fmla="*/ 378708 w 1079629"/>
                <a:gd name="connsiteY53" fmla="*/ 278296 h 1276592"/>
                <a:gd name="connsiteX54" fmla="*/ 389750 w 1079629"/>
                <a:gd name="connsiteY54" fmla="*/ 292124 h 1276592"/>
                <a:gd name="connsiteX55" fmla="*/ 375921 w 1079629"/>
                <a:gd name="connsiteY55" fmla="*/ 303167 h 1276592"/>
                <a:gd name="connsiteX56" fmla="*/ 290685 w 1079629"/>
                <a:gd name="connsiteY56" fmla="*/ 293603 h 1276592"/>
                <a:gd name="connsiteX57" fmla="*/ 279643 w 1079629"/>
                <a:gd name="connsiteY57" fmla="*/ 279775 h 1276592"/>
                <a:gd name="connsiteX58" fmla="*/ 293472 w 1079629"/>
                <a:gd name="connsiteY58" fmla="*/ 268732 h 1276592"/>
                <a:gd name="connsiteX59" fmla="*/ 378708 w 1079629"/>
                <a:gd name="connsiteY59"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324647 w 1079629"/>
                <a:gd name="connsiteY41" fmla="*/ 27388 h 1276592"/>
                <a:gd name="connsiteX42" fmla="*/ 306948 w 1079629"/>
                <a:gd name="connsiteY42" fmla="*/ 45086 h 1276592"/>
                <a:gd name="connsiteX43" fmla="*/ 306948 w 1079629"/>
                <a:gd name="connsiteY43" fmla="*/ 27388 h 1276592"/>
                <a:gd name="connsiteX44" fmla="*/ 324647 w 1079629"/>
                <a:gd name="connsiteY44" fmla="*/ 27388 h 1276592"/>
                <a:gd name="connsiteX45" fmla="*/ 573156 w 1079629"/>
                <a:gd name="connsiteY45" fmla="*/ 11132 h 1276592"/>
                <a:gd name="connsiteX46" fmla="*/ 582720 w 1079629"/>
                <a:gd name="connsiteY46" fmla="*/ 96368 h 1276592"/>
                <a:gd name="connsiteX47" fmla="*/ 570265 w 1079629"/>
                <a:gd name="connsiteY47" fmla="*/ 110276 h 1276592"/>
                <a:gd name="connsiteX48" fmla="*/ 557846 w 1079629"/>
                <a:gd name="connsiteY48" fmla="*/ 99155 h 1276592"/>
                <a:gd name="connsiteX49" fmla="*/ 548283 w 1079629"/>
                <a:gd name="connsiteY49" fmla="*/ 13919 h 1276592"/>
                <a:gd name="connsiteX50" fmla="*/ 559325 w 1079629"/>
                <a:gd name="connsiteY50" fmla="*/ 90 h 1276592"/>
                <a:gd name="connsiteX51" fmla="*/ 573156 w 1079629"/>
                <a:gd name="connsiteY51" fmla="*/ 11132 h 1276592"/>
                <a:gd name="connsiteX52" fmla="*/ 378708 w 1079629"/>
                <a:gd name="connsiteY52" fmla="*/ 278296 h 1276592"/>
                <a:gd name="connsiteX53" fmla="*/ 389750 w 1079629"/>
                <a:gd name="connsiteY53" fmla="*/ 292124 h 1276592"/>
                <a:gd name="connsiteX54" fmla="*/ 375921 w 1079629"/>
                <a:gd name="connsiteY54" fmla="*/ 303167 h 1276592"/>
                <a:gd name="connsiteX55" fmla="*/ 290685 w 1079629"/>
                <a:gd name="connsiteY55" fmla="*/ 293603 h 1276592"/>
                <a:gd name="connsiteX56" fmla="*/ 279643 w 1079629"/>
                <a:gd name="connsiteY56" fmla="*/ 279775 h 1276592"/>
                <a:gd name="connsiteX57" fmla="*/ 293472 w 1079629"/>
                <a:gd name="connsiteY57" fmla="*/ 268732 h 1276592"/>
                <a:gd name="connsiteX58" fmla="*/ 378708 w 1079629"/>
                <a:gd name="connsiteY58"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306948 w 1079629"/>
                <a:gd name="connsiteY41" fmla="*/ 27388 h 1276592"/>
                <a:gd name="connsiteX42" fmla="*/ 306948 w 1079629"/>
                <a:gd name="connsiteY42" fmla="*/ 45086 h 1276592"/>
                <a:gd name="connsiteX43" fmla="*/ 306948 w 1079629"/>
                <a:gd name="connsiteY43" fmla="*/ 27388 h 1276592"/>
                <a:gd name="connsiteX44" fmla="*/ 573156 w 1079629"/>
                <a:gd name="connsiteY44" fmla="*/ 11132 h 1276592"/>
                <a:gd name="connsiteX45" fmla="*/ 582720 w 1079629"/>
                <a:gd name="connsiteY45" fmla="*/ 96368 h 1276592"/>
                <a:gd name="connsiteX46" fmla="*/ 570265 w 1079629"/>
                <a:gd name="connsiteY46" fmla="*/ 110276 h 1276592"/>
                <a:gd name="connsiteX47" fmla="*/ 557846 w 1079629"/>
                <a:gd name="connsiteY47" fmla="*/ 99155 h 1276592"/>
                <a:gd name="connsiteX48" fmla="*/ 548283 w 1079629"/>
                <a:gd name="connsiteY48" fmla="*/ 13919 h 1276592"/>
                <a:gd name="connsiteX49" fmla="*/ 559325 w 1079629"/>
                <a:gd name="connsiteY49" fmla="*/ 90 h 1276592"/>
                <a:gd name="connsiteX50" fmla="*/ 573156 w 1079629"/>
                <a:gd name="connsiteY50" fmla="*/ 11132 h 1276592"/>
                <a:gd name="connsiteX51" fmla="*/ 378708 w 1079629"/>
                <a:gd name="connsiteY51" fmla="*/ 278296 h 1276592"/>
                <a:gd name="connsiteX52" fmla="*/ 389750 w 1079629"/>
                <a:gd name="connsiteY52" fmla="*/ 292124 h 1276592"/>
                <a:gd name="connsiteX53" fmla="*/ 375921 w 1079629"/>
                <a:gd name="connsiteY53" fmla="*/ 303167 h 1276592"/>
                <a:gd name="connsiteX54" fmla="*/ 290685 w 1079629"/>
                <a:gd name="connsiteY54" fmla="*/ 293603 h 1276592"/>
                <a:gd name="connsiteX55" fmla="*/ 279643 w 1079629"/>
                <a:gd name="connsiteY55" fmla="*/ 279775 h 1276592"/>
                <a:gd name="connsiteX56" fmla="*/ 293472 w 1079629"/>
                <a:gd name="connsiteY56" fmla="*/ 268732 h 1276592"/>
                <a:gd name="connsiteX57" fmla="*/ 378708 w 1079629"/>
                <a:gd name="connsiteY57"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82720 w 1079629"/>
                <a:gd name="connsiteY42" fmla="*/ 96368 h 1276592"/>
                <a:gd name="connsiteX43" fmla="*/ 570265 w 1079629"/>
                <a:gd name="connsiteY43" fmla="*/ 110276 h 1276592"/>
                <a:gd name="connsiteX44" fmla="*/ 557846 w 1079629"/>
                <a:gd name="connsiteY44" fmla="*/ 99155 h 1276592"/>
                <a:gd name="connsiteX45" fmla="*/ 548283 w 1079629"/>
                <a:gd name="connsiteY45" fmla="*/ 13919 h 1276592"/>
                <a:gd name="connsiteX46" fmla="*/ 559325 w 1079629"/>
                <a:gd name="connsiteY46" fmla="*/ 90 h 1276592"/>
                <a:gd name="connsiteX47" fmla="*/ 573156 w 1079629"/>
                <a:gd name="connsiteY47" fmla="*/ 11132 h 1276592"/>
                <a:gd name="connsiteX48" fmla="*/ 378708 w 1079629"/>
                <a:gd name="connsiteY48" fmla="*/ 278296 h 1276592"/>
                <a:gd name="connsiteX49" fmla="*/ 389750 w 1079629"/>
                <a:gd name="connsiteY49" fmla="*/ 292124 h 1276592"/>
                <a:gd name="connsiteX50" fmla="*/ 375921 w 1079629"/>
                <a:gd name="connsiteY50" fmla="*/ 303167 h 1276592"/>
                <a:gd name="connsiteX51" fmla="*/ 290685 w 1079629"/>
                <a:gd name="connsiteY51" fmla="*/ 293603 h 1276592"/>
                <a:gd name="connsiteX52" fmla="*/ 279643 w 1079629"/>
                <a:gd name="connsiteY52" fmla="*/ 279775 h 1276592"/>
                <a:gd name="connsiteX53" fmla="*/ 293472 w 1079629"/>
                <a:gd name="connsiteY53" fmla="*/ 268732 h 1276592"/>
                <a:gd name="connsiteX54" fmla="*/ 378708 w 1079629"/>
                <a:gd name="connsiteY54"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82720 w 1079629"/>
                <a:gd name="connsiteY42" fmla="*/ 96368 h 1276592"/>
                <a:gd name="connsiteX43" fmla="*/ 570265 w 1079629"/>
                <a:gd name="connsiteY43" fmla="*/ 110276 h 1276592"/>
                <a:gd name="connsiteX44" fmla="*/ 548283 w 1079629"/>
                <a:gd name="connsiteY44" fmla="*/ 13919 h 1276592"/>
                <a:gd name="connsiteX45" fmla="*/ 559325 w 1079629"/>
                <a:gd name="connsiteY45" fmla="*/ 90 h 1276592"/>
                <a:gd name="connsiteX46" fmla="*/ 573156 w 1079629"/>
                <a:gd name="connsiteY46" fmla="*/ 11132 h 1276592"/>
                <a:gd name="connsiteX47" fmla="*/ 378708 w 1079629"/>
                <a:gd name="connsiteY47" fmla="*/ 278296 h 1276592"/>
                <a:gd name="connsiteX48" fmla="*/ 389750 w 1079629"/>
                <a:gd name="connsiteY48" fmla="*/ 292124 h 1276592"/>
                <a:gd name="connsiteX49" fmla="*/ 375921 w 1079629"/>
                <a:gd name="connsiteY49" fmla="*/ 303167 h 1276592"/>
                <a:gd name="connsiteX50" fmla="*/ 290685 w 1079629"/>
                <a:gd name="connsiteY50" fmla="*/ 293603 h 1276592"/>
                <a:gd name="connsiteX51" fmla="*/ 279643 w 1079629"/>
                <a:gd name="connsiteY51" fmla="*/ 279775 h 1276592"/>
                <a:gd name="connsiteX52" fmla="*/ 293472 w 1079629"/>
                <a:gd name="connsiteY52" fmla="*/ 268732 h 1276592"/>
                <a:gd name="connsiteX53" fmla="*/ 378708 w 1079629"/>
                <a:gd name="connsiteY53"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82720 w 1079629"/>
                <a:gd name="connsiteY42" fmla="*/ 96368 h 1276592"/>
                <a:gd name="connsiteX43" fmla="*/ 548283 w 1079629"/>
                <a:gd name="connsiteY43" fmla="*/ 13919 h 1276592"/>
                <a:gd name="connsiteX44" fmla="*/ 559325 w 1079629"/>
                <a:gd name="connsiteY44" fmla="*/ 90 h 1276592"/>
                <a:gd name="connsiteX45" fmla="*/ 573156 w 1079629"/>
                <a:gd name="connsiteY45" fmla="*/ 11132 h 1276592"/>
                <a:gd name="connsiteX46" fmla="*/ 378708 w 1079629"/>
                <a:gd name="connsiteY46" fmla="*/ 278296 h 1276592"/>
                <a:gd name="connsiteX47" fmla="*/ 389750 w 1079629"/>
                <a:gd name="connsiteY47" fmla="*/ 292124 h 1276592"/>
                <a:gd name="connsiteX48" fmla="*/ 375921 w 1079629"/>
                <a:gd name="connsiteY48" fmla="*/ 303167 h 1276592"/>
                <a:gd name="connsiteX49" fmla="*/ 290685 w 1079629"/>
                <a:gd name="connsiteY49" fmla="*/ 293603 h 1276592"/>
                <a:gd name="connsiteX50" fmla="*/ 279643 w 1079629"/>
                <a:gd name="connsiteY50" fmla="*/ 279775 h 1276592"/>
                <a:gd name="connsiteX51" fmla="*/ 293472 w 1079629"/>
                <a:gd name="connsiteY51" fmla="*/ 268732 h 1276592"/>
                <a:gd name="connsiteX52" fmla="*/ 378708 w 1079629"/>
                <a:gd name="connsiteY52" fmla="*/ 278296 h 1276592"/>
                <a:gd name="connsiteX0" fmla="*/ 59021 w 1079629"/>
                <a:gd name="connsiteY0" fmla="*/ 1251159 h 1276592"/>
                <a:gd name="connsiteX1" fmla="*/ 185048 w 1079629"/>
                <a:gd name="connsiteY1" fmla="*/ 1247670 h 1276592"/>
                <a:gd name="connsiteX2" fmla="*/ 471075 w 1079629"/>
                <a:gd name="connsiteY2" fmla="*/ 928070 h 1276592"/>
                <a:gd name="connsiteX3" fmla="*/ 492820 w 1079629"/>
                <a:gd name="connsiteY3" fmla="*/ 863414 h 1276592"/>
                <a:gd name="connsiteX4" fmla="*/ 540712 w 1079629"/>
                <a:gd name="connsiteY4" fmla="*/ 815522 h 1276592"/>
                <a:gd name="connsiteX5" fmla="*/ 979892 w 1079629"/>
                <a:gd name="connsiteY5" fmla="*/ 779052 h 1276592"/>
                <a:gd name="connsiteX6" fmla="*/ 979892 w 1079629"/>
                <a:gd name="connsiteY6" fmla="*/ 296720 h 1276592"/>
                <a:gd name="connsiteX7" fmla="*/ 497555 w 1079629"/>
                <a:gd name="connsiteY7" fmla="*/ 296714 h 1276592"/>
                <a:gd name="connsiteX8" fmla="*/ 461085 w 1079629"/>
                <a:gd name="connsiteY8" fmla="*/ 735895 h 1276592"/>
                <a:gd name="connsiteX9" fmla="*/ 413193 w 1079629"/>
                <a:gd name="connsiteY9" fmla="*/ 783787 h 1276592"/>
                <a:gd name="connsiteX10" fmla="*/ 348537 w 1079629"/>
                <a:gd name="connsiteY10" fmla="*/ 805532 h 1276592"/>
                <a:gd name="connsiteX11" fmla="*/ 28937 w 1079629"/>
                <a:gd name="connsiteY11" fmla="*/ 1091559 h 1276592"/>
                <a:gd name="connsiteX12" fmla="*/ 25448 w 1079629"/>
                <a:gd name="connsiteY12" fmla="*/ 1217586 h 1276592"/>
                <a:gd name="connsiteX13" fmla="*/ 59021 w 1079629"/>
                <a:gd name="connsiteY13" fmla="*/ 1251159 h 1276592"/>
                <a:gd name="connsiteX14" fmla="*/ 515254 w 1079629"/>
                <a:gd name="connsiteY14" fmla="*/ 314410 h 1276592"/>
                <a:gd name="connsiteX15" fmla="*/ 962197 w 1079629"/>
                <a:gd name="connsiteY15" fmla="*/ 314416 h 1276592"/>
                <a:gd name="connsiteX16" fmla="*/ 962197 w 1079629"/>
                <a:gd name="connsiteY16" fmla="*/ 761353 h 1276592"/>
                <a:gd name="connsiteX17" fmla="*/ 515254 w 1079629"/>
                <a:gd name="connsiteY17" fmla="*/ 761353 h 1276592"/>
                <a:gd name="connsiteX18" fmla="*/ 515254 w 1079629"/>
                <a:gd name="connsiteY18" fmla="*/ 314410 h 1276592"/>
                <a:gd name="connsiteX19" fmla="*/ 476495 w 1079629"/>
                <a:gd name="connsiteY19" fmla="*/ 755879 h 1276592"/>
                <a:gd name="connsiteX20" fmla="*/ 520725 w 1079629"/>
                <a:gd name="connsiteY20" fmla="*/ 800112 h 1276592"/>
                <a:gd name="connsiteX21" fmla="*/ 485729 w 1079629"/>
                <a:gd name="connsiteY21" fmla="*/ 835108 h 1276592"/>
                <a:gd name="connsiteX22" fmla="*/ 441497 w 1079629"/>
                <a:gd name="connsiteY22" fmla="*/ 790876 h 1276592"/>
                <a:gd name="connsiteX23" fmla="*/ 476495 w 1079629"/>
                <a:gd name="connsiteY23" fmla="*/ 755879 h 1276592"/>
                <a:gd name="connsiteX24" fmla="*/ 45632 w 1079629"/>
                <a:gd name="connsiteY24" fmla="*/ 1110210 h 1276592"/>
                <a:gd name="connsiteX25" fmla="*/ 365231 w 1079629"/>
                <a:gd name="connsiteY25" fmla="*/ 824183 h 1276592"/>
                <a:gd name="connsiteX26" fmla="*/ 452424 w 1079629"/>
                <a:gd name="connsiteY26" fmla="*/ 911376 h 1276592"/>
                <a:gd name="connsiteX27" fmla="*/ 166397 w 1079629"/>
                <a:gd name="connsiteY27" fmla="*/ 1230975 h 1276592"/>
                <a:gd name="connsiteX28" fmla="*/ 76717 w 1079629"/>
                <a:gd name="connsiteY28" fmla="*/ 1233463 h 1276592"/>
                <a:gd name="connsiteX29" fmla="*/ 43144 w 1079629"/>
                <a:gd name="connsiteY29" fmla="*/ 1199890 h 1276592"/>
                <a:gd name="connsiteX30" fmla="*/ 45632 w 1079629"/>
                <a:gd name="connsiteY30" fmla="*/ 1110210 h 1276592"/>
                <a:gd name="connsiteX31" fmla="*/ 922345 w 1079629"/>
                <a:gd name="connsiteY31" fmla="*/ 721509 h 1276592"/>
                <a:gd name="connsiteX32" fmla="*/ 922345 w 1079629"/>
                <a:gd name="connsiteY32" fmla="*/ 354260 h 1276592"/>
                <a:gd name="connsiteX33" fmla="*/ 555095 w 1079629"/>
                <a:gd name="connsiteY33" fmla="*/ 354260 h 1276592"/>
                <a:gd name="connsiteX34" fmla="*/ 555095 w 1079629"/>
                <a:gd name="connsiteY34" fmla="*/ 721509 h 1276592"/>
                <a:gd name="connsiteX35" fmla="*/ 922345 w 1079629"/>
                <a:gd name="connsiteY35" fmla="*/ 721509 h 1276592"/>
                <a:gd name="connsiteX36" fmla="*/ 572794 w 1079629"/>
                <a:gd name="connsiteY36" fmla="*/ 371958 h 1276592"/>
                <a:gd name="connsiteX37" fmla="*/ 904646 w 1079629"/>
                <a:gd name="connsiteY37" fmla="*/ 371958 h 1276592"/>
                <a:gd name="connsiteX38" fmla="*/ 904646 w 1079629"/>
                <a:gd name="connsiteY38" fmla="*/ 703811 h 1276592"/>
                <a:gd name="connsiteX39" fmla="*/ 572794 w 1079629"/>
                <a:gd name="connsiteY39" fmla="*/ 703811 h 1276592"/>
                <a:gd name="connsiteX40" fmla="*/ 572794 w 1079629"/>
                <a:gd name="connsiteY40" fmla="*/ 371958 h 1276592"/>
                <a:gd name="connsiteX41" fmla="*/ 573156 w 1079629"/>
                <a:gd name="connsiteY41" fmla="*/ 11132 h 1276592"/>
                <a:gd name="connsiteX42" fmla="*/ 548283 w 1079629"/>
                <a:gd name="connsiteY42" fmla="*/ 13919 h 1276592"/>
                <a:gd name="connsiteX43" fmla="*/ 559325 w 1079629"/>
                <a:gd name="connsiteY43" fmla="*/ 90 h 1276592"/>
                <a:gd name="connsiteX44" fmla="*/ 573156 w 1079629"/>
                <a:gd name="connsiteY44" fmla="*/ 11132 h 1276592"/>
                <a:gd name="connsiteX45" fmla="*/ 378708 w 1079629"/>
                <a:gd name="connsiteY45" fmla="*/ 278296 h 1276592"/>
                <a:gd name="connsiteX46" fmla="*/ 389750 w 1079629"/>
                <a:gd name="connsiteY46" fmla="*/ 292124 h 1276592"/>
                <a:gd name="connsiteX47" fmla="*/ 375921 w 1079629"/>
                <a:gd name="connsiteY47" fmla="*/ 303167 h 1276592"/>
                <a:gd name="connsiteX48" fmla="*/ 290685 w 1079629"/>
                <a:gd name="connsiteY48" fmla="*/ 293603 h 1276592"/>
                <a:gd name="connsiteX49" fmla="*/ 279643 w 1079629"/>
                <a:gd name="connsiteY49" fmla="*/ 279775 h 1276592"/>
                <a:gd name="connsiteX50" fmla="*/ 293472 w 1079629"/>
                <a:gd name="connsiteY50" fmla="*/ 268732 h 1276592"/>
                <a:gd name="connsiteX51" fmla="*/ 378708 w 1079629"/>
                <a:gd name="connsiteY51" fmla="*/ 278296 h 1276592"/>
                <a:gd name="connsiteX0" fmla="*/ 59021 w 1079629"/>
                <a:gd name="connsiteY0" fmla="*/ 1251069 h 1276502"/>
                <a:gd name="connsiteX1" fmla="*/ 185048 w 1079629"/>
                <a:gd name="connsiteY1" fmla="*/ 1247580 h 1276502"/>
                <a:gd name="connsiteX2" fmla="*/ 471075 w 1079629"/>
                <a:gd name="connsiteY2" fmla="*/ 927980 h 1276502"/>
                <a:gd name="connsiteX3" fmla="*/ 492820 w 1079629"/>
                <a:gd name="connsiteY3" fmla="*/ 863324 h 1276502"/>
                <a:gd name="connsiteX4" fmla="*/ 540712 w 1079629"/>
                <a:gd name="connsiteY4" fmla="*/ 815432 h 1276502"/>
                <a:gd name="connsiteX5" fmla="*/ 979892 w 1079629"/>
                <a:gd name="connsiteY5" fmla="*/ 778962 h 1276502"/>
                <a:gd name="connsiteX6" fmla="*/ 979892 w 1079629"/>
                <a:gd name="connsiteY6" fmla="*/ 296630 h 1276502"/>
                <a:gd name="connsiteX7" fmla="*/ 497555 w 1079629"/>
                <a:gd name="connsiteY7" fmla="*/ 296624 h 1276502"/>
                <a:gd name="connsiteX8" fmla="*/ 461085 w 1079629"/>
                <a:gd name="connsiteY8" fmla="*/ 735805 h 1276502"/>
                <a:gd name="connsiteX9" fmla="*/ 413193 w 1079629"/>
                <a:gd name="connsiteY9" fmla="*/ 783697 h 1276502"/>
                <a:gd name="connsiteX10" fmla="*/ 348537 w 1079629"/>
                <a:gd name="connsiteY10" fmla="*/ 805442 h 1276502"/>
                <a:gd name="connsiteX11" fmla="*/ 28937 w 1079629"/>
                <a:gd name="connsiteY11" fmla="*/ 1091469 h 1276502"/>
                <a:gd name="connsiteX12" fmla="*/ 25448 w 1079629"/>
                <a:gd name="connsiteY12" fmla="*/ 1217496 h 1276502"/>
                <a:gd name="connsiteX13" fmla="*/ 59021 w 1079629"/>
                <a:gd name="connsiteY13" fmla="*/ 1251069 h 1276502"/>
                <a:gd name="connsiteX14" fmla="*/ 515254 w 1079629"/>
                <a:gd name="connsiteY14" fmla="*/ 314320 h 1276502"/>
                <a:gd name="connsiteX15" fmla="*/ 962197 w 1079629"/>
                <a:gd name="connsiteY15" fmla="*/ 314326 h 1276502"/>
                <a:gd name="connsiteX16" fmla="*/ 962197 w 1079629"/>
                <a:gd name="connsiteY16" fmla="*/ 761263 h 1276502"/>
                <a:gd name="connsiteX17" fmla="*/ 515254 w 1079629"/>
                <a:gd name="connsiteY17" fmla="*/ 761263 h 1276502"/>
                <a:gd name="connsiteX18" fmla="*/ 515254 w 1079629"/>
                <a:gd name="connsiteY18" fmla="*/ 314320 h 1276502"/>
                <a:gd name="connsiteX19" fmla="*/ 476495 w 1079629"/>
                <a:gd name="connsiteY19" fmla="*/ 755789 h 1276502"/>
                <a:gd name="connsiteX20" fmla="*/ 520725 w 1079629"/>
                <a:gd name="connsiteY20" fmla="*/ 800022 h 1276502"/>
                <a:gd name="connsiteX21" fmla="*/ 485729 w 1079629"/>
                <a:gd name="connsiteY21" fmla="*/ 835018 h 1276502"/>
                <a:gd name="connsiteX22" fmla="*/ 441497 w 1079629"/>
                <a:gd name="connsiteY22" fmla="*/ 790786 h 1276502"/>
                <a:gd name="connsiteX23" fmla="*/ 476495 w 1079629"/>
                <a:gd name="connsiteY23" fmla="*/ 755789 h 1276502"/>
                <a:gd name="connsiteX24" fmla="*/ 45632 w 1079629"/>
                <a:gd name="connsiteY24" fmla="*/ 1110120 h 1276502"/>
                <a:gd name="connsiteX25" fmla="*/ 365231 w 1079629"/>
                <a:gd name="connsiteY25" fmla="*/ 824093 h 1276502"/>
                <a:gd name="connsiteX26" fmla="*/ 452424 w 1079629"/>
                <a:gd name="connsiteY26" fmla="*/ 911286 h 1276502"/>
                <a:gd name="connsiteX27" fmla="*/ 166397 w 1079629"/>
                <a:gd name="connsiteY27" fmla="*/ 1230885 h 1276502"/>
                <a:gd name="connsiteX28" fmla="*/ 76717 w 1079629"/>
                <a:gd name="connsiteY28" fmla="*/ 1233373 h 1276502"/>
                <a:gd name="connsiteX29" fmla="*/ 43144 w 1079629"/>
                <a:gd name="connsiteY29" fmla="*/ 1199800 h 1276502"/>
                <a:gd name="connsiteX30" fmla="*/ 45632 w 1079629"/>
                <a:gd name="connsiteY30" fmla="*/ 1110120 h 1276502"/>
                <a:gd name="connsiteX31" fmla="*/ 922345 w 1079629"/>
                <a:gd name="connsiteY31" fmla="*/ 721419 h 1276502"/>
                <a:gd name="connsiteX32" fmla="*/ 922345 w 1079629"/>
                <a:gd name="connsiteY32" fmla="*/ 354170 h 1276502"/>
                <a:gd name="connsiteX33" fmla="*/ 555095 w 1079629"/>
                <a:gd name="connsiteY33" fmla="*/ 354170 h 1276502"/>
                <a:gd name="connsiteX34" fmla="*/ 555095 w 1079629"/>
                <a:gd name="connsiteY34" fmla="*/ 721419 h 1276502"/>
                <a:gd name="connsiteX35" fmla="*/ 922345 w 1079629"/>
                <a:gd name="connsiteY35" fmla="*/ 721419 h 1276502"/>
                <a:gd name="connsiteX36" fmla="*/ 572794 w 1079629"/>
                <a:gd name="connsiteY36" fmla="*/ 371868 h 1276502"/>
                <a:gd name="connsiteX37" fmla="*/ 904646 w 1079629"/>
                <a:gd name="connsiteY37" fmla="*/ 371868 h 1276502"/>
                <a:gd name="connsiteX38" fmla="*/ 904646 w 1079629"/>
                <a:gd name="connsiteY38" fmla="*/ 703721 h 1276502"/>
                <a:gd name="connsiteX39" fmla="*/ 572794 w 1079629"/>
                <a:gd name="connsiteY39" fmla="*/ 703721 h 1276502"/>
                <a:gd name="connsiteX40" fmla="*/ 572794 w 1079629"/>
                <a:gd name="connsiteY40" fmla="*/ 371868 h 1276502"/>
                <a:gd name="connsiteX41" fmla="*/ 559325 w 1079629"/>
                <a:gd name="connsiteY41" fmla="*/ 0 h 1276502"/>
                <a:gd name="connsiteX42" fmla="*/ 548283 w 1079629"/>
                <a:gd name="connsiteY42" fmla="*/ 13829 h 1276502"/>
                <a:gd name="connsiteX43" fmla="*/ 559325 w 1079629"/>
                <a:gd name="connsiteY43" fmla="*/ 0 h 1276502"/>
                <a:gd name="connsiteX44" fmla="*/ 378708 w 1079629"/>
                <a:gd name="connsiteY44" fmla="*/ 278206 h 1276502"/>
                <a:gd name="connsiteX45" fmla="*/ 389750 w 1079629"/>
                <a:gd name="connsiteY45" fmla="*/ 292034 h 1276502"/>
                <a:gd name="connsiteX46" fmla="*/ 375921 w 1079629"/>
                <a:gd name="connsiteY46" fmla="*/ 303077 h 1276502"/>
                <a:gd name="connsiteX47" fmla="*/ 290685 w 1079629"/>
                <a:gd name="connsiteY47" fmla="*/ 293513 h 1276502"/>
                <a:gd name="connsiteX48" fmla="*/ 279643 w 1079629"/>
                <a:gd name="connsiteY48" fmla="*/ 279685 h 1276502"/>
                <a:gd name="connsiteX49" fmla="*/ 293472 w 1079629"/>
                <a:gd name="connsiteY49" fmla="*/ 268642 h 1276502"/>
                <a:gd name="connsiteX50" fmla="*/ 378708 w 1079629"/>
                <a:gd name="connsiteY50" fmla="*/ 278206 h 127650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378708 w 1079629"/>
                <a:gd name="connsiteY41" fmla="*/ 81316 h 1079612"/>
                <a:gd name="connsiteX42" fmla="*/ 389750 w 1079629"/>
                <a:gd name="connsiteY42" fmla="*/ 95144 h 1079612"/>
                <a:gd name="connsiteX43" fmla="*/ 375921 w 1079629"/>
                <a:gd name="connsiteY43" fmla="*/ 106187 h 1079612"/>
                <a:gd name="connsiteX44" fmla="*/ 290685 w 1079629"/>
                <a:gd name="connsiteY44" fmla="*/ 96623 h 1079612"/>
                <a:gd name="connsiteX45" fmla="*/ 279643 w 1079629"/>
                <a:gd name="connsiteY45" fmla="*/ 82795 h 1079612"/>
                <a:gd name="connsiteX46" fmla="*/ 293472 w 1079629"/>
                <a:gd name="connsiteY46" fmla="*/ 71752 h 1079612"/>
                <a:gd name="connsiteX47" fmla="*/ 378708 w 1079629"/>
                <a:gd name="connsiteY47" fmla="*/ 81316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378708 w 1079629"/>
                <a:gd name="connsiteY41" fmla="*/ 81316 h 1079612"/>
                <a:gd name="connsiteX42" fmla="*/ 389750 w 1079629"/>
                <a:gd name="connsiteY42" fmla="*/ 95144 h 1079612"/>
                <a:gd name="connsiteX43" fmla="*/ 290685 w 1079629"/>
                <a:gd name="connsiteY43" fmla="*/ 96623 h 1079612"/>
                <a:gd name="connsiteX44" fmla="*/ 279643 w 1079629"/>
                <a:gd name="connsiteY44" fmla="*/ 82795 h 1079612"/>
                <a:gd name="connsiteX45" fmla="*/ 293472 w 1079629"/>
                <a:gd name="connsiteY45" fmla="*/ 71752 h 1079612"/>
                <a:gd name="connsiteX46" fmla="*/ 378708 w 1079629"/>
                <a:gd name="connsiteY46" fmla="*/ 81316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293472 w 1079629"/>
                <a:gd name="connsiteY41" fmla="*/ 71752 h 1079612"/>
                <a:gd name="connsiteX42" fmla="*/ 389750 w 1079629"/>
                <a:gd name="connsiteY42" fmla="*/ 95144 h 1079612"/>
                <a:gd name="connsiteX43" fmla="*/ 290685 w 1079629"/>
                <a:gd name="connsiteY43" fmla="*/ 96623 h 1079612"/>
                <a:gd name="connsiteX44" fmla="*/ 279643 w 1079629"/>
                <a:gd name="connsiteY44" fmla="*/ 82795 h 1079612"/>
                <a:gd name="connsiteX45" fmla="*/ 293472 w 1079629"/>
                <a:gd name="connsiteY45" fmla="*/ 71752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293472 w 1079629"/>
                <a:gd name="connsiteY41" fmla="*/ 71752 h 1079612"/>
                <a:gd name="connsiteX42" fmla="*/ 290685 w 1079629"/>
                <a:gd name="connsiteY42" fmla="*/ 96623 h 1079612"/>
                <a:gd name="connsiteX43" fmla="*/ 279643 w 1079629"/>
                <a:gd name="connsiteY43" fmla="*/ 82795 h 1079612"/>
                <a:gd name="connsiteX44" fmla="*/ 293472 w 1079629"/>
                <a:gd name="connsiteY44" fmla="*/ 71752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 name="connsiteX41" fmla="*/ 293472 w 1079629"/>
                <a:gd name="connsiteY41" fmla="*/ 71752 h 1079612"/>
                <a:gd name="connsiteX42" fmla="*/ 290685 w 1079629"/>
                <a:gd name="connsiteY42" fmla="*/ 96623 h 1079612"/>
                <a:gd name="connsiteX43" fmla="*/ 293472 w 1079629"/>
                <a:gd name="connsiteY43" fmla="*/ 71752 h 1079612"/>
                <a:gd name="connsiteX0" fmla="*/ 59021 w 1079629"/>
                <a:gd name="connsiteY0" fmla="*/ 1054179 h 1079612"/>
                <a:gd name="connsiteX1" fmla="*/ 185048 w 1079629"/>
                <a:gd name="connsiteY1" fmla="*/ 1050690 h 1079612"/>
                <a:gd name="connsiteX2" fmla="*/ 471075 w 1079629"/>
                <a:gd name="connsiteY2" fmla="*/ 731090 h 1079612"/>
                <a:gd name="connsiteX3" fmla="*/ 492820 w 1079629"/>
                <a:gd name="connsiteY3" fmla="*/ 666434 h 1079612"/>
                <a:gd name="connsiteX4" fmla="*/ 540712 w 1079629"/>
                <a:gd name="connsiteY4" fmla="*/ 618542 h 1079612"/>
                <a:gd name="connsiteX5" fmla="*/ 979892 w 1079629"/>
                <a:gd name="connsiteY5" fmla="*/ 582072 h 1079612"/>
                <a:gd name="connsiteX6" fmla="*/ 979892 w 1079629"/>
                <a:gd name="connsiteY6" fmla="*/ 99740 h 1079612"/>
                <a:gd name="connsiteX7" fmla="*/ 497555 w 1079629"/>
                <a:gd name="connsiteY7" fmla="*/ 99734 h 1079612"/>
                <a:gd name="connsiteX8" fmla="*/ 461085 w 1079629"/>
                <a:gd name="connsiteY8" fmla="*/ 538915 h 1079612"/>
                <a:gd name="connsiteX9" fmla="*/ 413193 w 1079629"/>
                <a:gd name="connsiteY9" fmla="*/ 586807 h 1079612"/>
                <a:gd name="connsiteX10" fmla="*/ 348537 w 1079629"/>
                <a:gd name="connsiteY10" fmla="*/ 608552 h 1079612"/>
                <a:gd name="connsiteX11" fmla="*/ 28937 w 1079629"/>
                <a:gd name="connsiteY11" fmla="*/ 894579 h 1079612"/>
                <a:gd name="connsiteX12" fmla="*/ 25448 w 1079629"/>
                <a:gd name="connsiteY12" fmla="*/ 1020606 h 1079612"/>
                <a:gd name="connsiteX13" fmla="*/ 59021 w 1079629"/>
                <a:gd name="connsiteY13" fmla="*/ 1054179 h 1079612"/>
                <a:gd name="connsiteX14" fmla="*/ 515254 w 1079629"/>
                <a:gd name="connsiteY14" fmla="*/ 117430 h 1079612"/>
                <a:gd name="connsiteX15" fmla="*/ 962197 w 1079629"/>
                <a:gd name="connsiteY15" fmla="*/ 117436 h 1079612"/>
                <a:gd name="connsiteX16" fmla="*/ 962197 w 1079629"/>
                <a:gd name="connsiteY16" fmla="*/ 564373 h 1079612"/>
                <a:gd name="connsiteX17" fmla="*/ 515254 w 1079629"/>
                <a:gd name="connsiteY17" fmla="*/ 564373 h 1079612"/>
                <a:gd name="connsiteX18" fmla="*/ 515254 w 1079629"/>
                <a:gd name="connsiteY18" fmla="*/ 117430 h 1079612"/>
                <a:gd name="connsiteX19" fmla="*/ 476495 w 1079629"/>
                <a:gd name="connsiteY19" fmla="*/ 558899 h 1079612"/>
                <a:gd name="connsiteX20" fmla="*/ 520725 w 1079629"/>
                <a:gd name="connsiteY20" fmla="*/ 603132 h 1079612"/>
                <a:gd name="connsiteX21" fmla="*/ 485729 w 1079629"/>
                <a:gd name="connsiteY21" fmla="*/ 638128 h 1079612"/>
                <a:gd name="connsiteX22" fmla="*/ 441497 w 1079629"/>
                <a:gd name="connsiteY22" fmla="*/ 593896 h 1079612"/>
                <a:gd name="connsiteX23" fmla="*/ 476495 w 1079629"/>
                <a:gd name="connsiteY23" fmla="*/ 558899 h 1079612"/>
                <a:gd name="connsiteX24" fmla="*/ 45632 w 1079629"/>
                <a:gd name="connsiteY24" fmla="*/ 913230 h 1079612"/>
                <a:gd name="connsiteX25" fmla="*/ 365231 w 1079629"/>
                <a:gd name="connsiteY25" fmla="*/ 627203 h 1079612"/>
                <a:gd name="connsiteX26" fmla="*/ 452424 w 1079629"/>
                <a:gd name="connsiteY26" fmla="*/ 714396 h 1079612"/>
                <a:gd name="connsiteX27" fmla="*/ 166397 w 1079629"/>
                <a:gd name="connsiteY27" fmla="*/ 1033995 h 1079612"/>
                <a:gd name="connsiteX28" fmla="*/ 76717 w 1079629"/>
                <a:gd name="connsiteY28" fmla="*/ 1036483 h 1079612"/>
                <a:gd name="connsiteX29" fmla="*/ 43144 w 1079629"/>
                <a:gd name="connsiteY29" fmla="*/ 1002910 h 1079612"/>
                <a:gd name="connsiteX30" fmla="*/ 45632 w 1079629"/>
                <a:gd name="connsiteY30" fmla="*/ 913230 h 1079612"/>
                <a:gd name="connsiteX31" fmla="*/ 922345 w 1079629"/>
                <a:gd name="connsiteY31" fmla="*/ 524529 h 1079612"/>
                <a:gd name="connsiteX32" fmla="*/ 922345 w 1079629"/>
                <a:gd name="connsiteY32" fmla="*/ 157280 h 1079612"/>
                <a:gd name="connsiteX33" fmla="*/ 555095 w 1079629"/>
                <a:gd name="connsiteY33" fmla="*/ 157280 h 1079612"/>
                <a:gd name="connsiteX34" fmla="*/ 555095 w 1079629"/>
                <a:gd name="connsiteY34" fmla="*/ 524529 h 1079612"/>
                <a:gd name="connsiteX35" fmla="*/ 922345 w 1079629"/>
                <a:gd name="connsiteY35" fmla="*/ 524529 h 1079612"/>
                <a:gd name="connsiteX36" fmla="*/ 572794 w 1079629"/>
                <a:gd name="connsiteY36" fmla="*/ 174978 h 1079612"/>
                <a:gd name="connsiteX37" fmla="*/ 904646 w 1079629"/>
                <a:gd name="connsiteY37" fmla="*/ 174978 h 1079612"/>
                <a:gd name="connsiteX38" fmla="*/ 904646 w 1079629"/>
                <a:gd name="connsiteY38" fmla="*/ 506831 h 1079612"/>
                <a:gd name="connsiteX39" fmla="*/ 572794 w 1079629"/>
                <a:gd name="connsiteY39" fmla="*/ 506831 h 1079612"/>
                <a:gd name="connsiteX40" fmla="*/ 572794 w 1079629"/>
                <a:gd name="connsiteY40" fmla="*/ 174978 h 107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79629" h="1079612">
                  <a:moveTo>
                    <a:pt x="59021" y="1054179"/>
                  </a:moveTo>
                  <a:cubicBezTo>
                    <a:pt x="94183" y="1089341"/>
                    <a:pt x="151736" y="1087919"/>
                    <a:pt x="185048" y="1050690"/>
                  </a:cubicBezTo>
                  <a:lnTo>
                    <a:pt x="471075" y="731090"/>
                  </a:lnTo>
                  <a:cubicBezTo>
                    <a:pt x="487473" y="712766"/>
                    <a:pt x="494608" y="689295"/>
                    <a:pt x="492820" y="666434"/>
                  </a:cubicBezTo>
                  <a:lnTo>
                    <a:pt x="540712" y="618542"/>
                  </a:lnTo>
                  <a:cubicBezTo>
                    <a:pt x="675100" y="714503"/>
                    <a:pt x="861474" y="700490"/>
                    <a:pt x="979892" y="582072"/>
                  </a:cubicBezTo>
                  <a:cubicBezTo>
                    <a:pt x="1112875" y="449097"/>
                    <a:pt x="1112875" y="232717"/>
                    <a:pt x="979892" y="99740"/>
                  </a:cubicBezTo>
                  <a:cubicBezTo>
                    <a:pt x="846905" y="-33248"/>
                    <a:pt x="630530" y="-33243"/>
                    <a:pt x="497555" y="99734"/>
                  </a:cubicBezTo>
                  <a:cubicBezTo>
                    <a:pt x="378138" y="219152"/>
                    <a:pt x="366031" y="405781"/>
                    <a:pt x="461085" y="538915"/>
                  </a:cubicBezTo>
                  <a:lnTo>
                    <a:pt x="413193" y="586807"/>
                  </a:lnTo>
                  <a:cubicBezTo>
                    <a:pt x="390337" y="585019"/>
                    <a:pt x="366869" y="592154"/>
                    <a:pt x="348537" y="608552"/>
                  </a:cubicBezTo>
                  <a:lnTo>
                    <a:pt x="28937" y="894579"/>
                  </a:lnTo>
                  <a:cubicBezTo>
                    <a:pt x="-8077" y="927700"/>
                    <a:pt x="-9952" y="985209"/>
                    <a:pt x="25448" y="1020606"/>
                  </a:cubicBezTo>
                  <a:lnTo>
                    <a:pt x="59021" y="1054179"/>
                  </a:lnTo>
                  <a:close/>
                  <a:moveTo>
                    <a:pt x="515254" y="117430"/>
                  </a:moveTo>
                  <a:cubicBezTo>
                    <a:pt x="638466" y="-5782"/>
                    <a:pt x="838971" y="-5790"/>
                    <a:pt x="962197" y="117436"/>
                  </a:cubicBezTo>
                  <a:cubicBezTo>
                    <a:pt x="1085414" y="240658"/>
                    <a:pt x="1085414" y="441150"/>
                    <a:pt x="962197" y="564373"/>
                  </a:cubicBezTo>
                  <a:cubicBezTo>
                    <a:pt x="838961" y="687596"/>
                    <a:pt x="638464" y="687596"/>
                    <a:pt x="515254" y="564373"/>
                  </a:cubicBezTo>
                  <a:cubicBezTo>
                    <a:pt x="392036" y="441150"/>
                    <a:pt x="392036" y="240653"/>
                    <a:pt x="515254" y="117430"/>
                  </a:cubicBezTo>
                  <a:close/>
                  <a:moveTo>
                    <a:pt x="476495" y="558899"/>
                  </a:moveTo>
                  <a:cubicBezTo>
                    <a:pt x="490339" y="575528"/>
                    <a:pt x="503775" y="589017"/>
                    <a:pt x="520725" y="603132"/>
                  </a:cubicBezTo>
                  <a:lnTo>
                    <a:pt x="485729" y="638128"/>
                  </a:lnTo>
                  <a:cubicBezTo>
                    <a:pt x="476963" y="618281"/>
                    <a:pt x="461361" y="602669"/>
                    <a:pt x="441497" y="593896"/>
                  </a:cubicBezTo>
                  <a:lnTo>
                    <a:pt x="476495" y="558899"/>
                  </a:lnTo>
                  <a:close/>
                  <a:moveTo>
                    <a:pt x="45632" y="913230"/>
                  </a:moveTo>
                  <a:lnTo>
                    <a:pt x="365231" y="627203"/>
                  </a:lnTo>
                  <a:cubicBezTo>
                    <a:pt x="422920" y="575576"/>
                    <a:pt x="504002" y="656771"/>
                    <a:pt x="452424" y="714396"/>
                  </a:cubicBezTo>
                  <a:lnTo>
                    <a:pt x="166397" y="1033995"/>
                  </a:lnTo>
                  <a:cubicBezTo>
                    <a:pt x="142408" y="1060808"/>
                    <a:pt x="101417" y="1061170"/>
                    <a:pt x="76717" y="1036483"/>
                  </a:cubicBezTo>
                  <a:lnTo>
                    <a:pt x="43144" y="1002910"/>
                  </a:lnTo>
                  <a:cubicBezTo>
                    <a:pt x="18086" y="977850"/>
                    <a:pt x="19146" y="936928"/>
                    <a:pt x="45632" y="913230"/>
                  </a:cubicBezTo>
                  <a:close/>
                  <a:moveTo>
                    <a:pt x="922345" y="524529"/>
                  </a:moveTo>
                  <a:cubicBezTo>
                    <a:pt x="1023599" y="423281"/>
                    <a:pt x="1023599" y="258528"/>
                    <a:pt x="922345" y="157280"/>
                  </a:cubicBezTo>
                  <a:cubicBezTo>
                    <a:pt x="821096" y="56031"/>
                    <a:pt x="656344" y="56031"/>
                    <a:pt x="555095" y="157280"/>
                  </a:cubicBezTo>
                  <a:cubicBezTo>
                    <a:pt x="453842" y="258528"/>
                    <a:pt x="453842" y="423281"/>
                    <a:pt x="555095" y="524529"/>
                  </a:cubicBezTo>
                  <a:cubicBezTo>
                    <a:pt x="656356" y="625791"/>
                    <a:pt x="821096" y="625780"/>
                    <a:pt x="922345" y="524529"/>
                  </a:cubicBezTo>
                  <a:close/>
                  <a:moveTo>
                    <a:pt x="572794" y="174978"/>
                  </a:moveTo>
                  <a:cubicBezTo>
                    <a:pt x="664285" y="83487"/>
                    <a:pt x="813150" y="83482"/>
                    <a:pt x="904646" y="174978"/>
                  </a:cubicBezTo>
                  <a:cubicBezTo>
                    <a:pt x="996135" y="266472"/>
                    <a:pt x="996135" y="415337"/>
                    <a:pt x="904646" y="506831"/>
                  </a:cubicBezTo>
                  <a:cubicBezTo>
                    <a:pt x="813153" y="598325"/>
                    <a:pt x="664287" y="598325"/>
                    <a:pt x="572794" y="506831"/>
                  </a:cubicBezTo>
                  <a:cubicBezTo>
                    <a:pt x="481307" y="415337"/>
                    <a:pt x="481307" y="266474"/>
                    <a:pt x="572794" y="174978"/>
                  </a:cubicBezTo>
                  <a:close/>
                </a:path>
              </a:pathLst>
            </a:custGeom>
            <a:solidFill>
              <a:schemeClr val="bg1"/>
            </a:solidFill>
            <a:ln w="2549" cap="flat">
              <a:noFill/>
              <a:prstDash val="solid"/>
              <a:miter/>
            </a:ln>
          </p:spPr>
          <p:txBody>
            <a:bodyPr rtlCol="0" anchor="ctr"/>
            <a:lstStyle/>
            <a:p>
              <a:endParaRPr lang="en-US" noProof="0"/>
            </a:p>
          </p:txBody>
        </p:sp>
      </p:grpSp>
      <p:grpSp>
        <p:nvGrpSpPr>
          <p:cNvPr id="2" name="Group 1">
            <a:extLst>
              <a:ext uri="{FF2B5EF4-FFF2-40B4-BE49-F238E27FC236}">
                <a16:creationId xmlns:a16="http://schemas.microsoft.com/office/drawing/2014/main" id="{904EE996-0F38-1B87-E3D3-A1BCC8B25B7E}"/>
              </a:ext>
            </a:extLst>
          </p:cNvPr>
          <p:cNvGrpSpPr>
            <a:grpSpLocks noChangeAspect="1"/>
          </p:cNvGrpSpPr>
          <p:nvPr/>
        </p:nvGrpSpPr>
        <p:grpSpPr>
          <a:xfrm>
            <a:off x="4056982" y="1607957"/>
            <a:ext cx="7951437" cy="4314816"/>
            <a:chOff x="293817" y="9959652"/>
            <a:chExt cx="3257170" cy="1767490"/>
          </a:xfrm>
        </p:grpSpPr>
        <p:sp>
          <p:nvSpPr>
            <p:cNvPr id="7" name="TextBox 6">
              <a:extLst>
                <a:ext uri="{FF2B5EF4-FFF2-40B4-BE49-F238E27FC236}">
                  <a16:creationId xmlns:a16="http://schemas.microsoft.com/office/drawing/2014/main" id="{95D82295-D288-268C-72F8-1D7F40CF2B4F}"/>
                </a:ext>
              </a:extLst>
            </p:cNvPr>
            <p:cNvSpPr txBox="1"/>
            <p:nvPr/>
          </p:nvSpPr>
          <p:spPr>
            <a:xfrm>
              <a:off x="685800" y="9959652"/>
              <a:ext cx="1638300" cy="355430"/>
            </a:xfrm>
            <a:prstGeom prst="rect">
              <a:avLst/>
            </a:prstGeom>
          </p:spPr>
          <p:txBody>
            <a:bodyPr wrap="square" lIns="190198" tIns="63884" rIns="0" bIns="63884" anchor="ctr">
              <a:spAutoFit/>
            </a:bodyPr>
            <a:lstStyle>
              <a:defPPr>
                <a:defRPr lang="en-US"/>
              </a:defPPr>
              <a:lvl1pPr marL="228600" marR="307293" lvl="0" indent="-228600" defTabSz="1146384" fontAlgn="auto">
                <a:lnSpc>
                  <a:spcPct val="90000"/>
                </a:lnSpc>
                <a:spcBef>
                  <a:spcPts val="1000"/>
                </a:spcBef>
                <a:spcAft>
                  <a:spcPts val="0"/>
                </a:spcAft>
                <a:buClrTx/>
                <a:buSzTx/>
                <a:buFont typeface="Arial"/>
                <a:buChar char="•"/>
                <a:tabLst/>
                <a:defRPr kumimoji="0" sz="2200" b="0" i="0" u="none" strike="noStrike" cap="none" spc="0" normalizeH="0" baseline="0">
                  <a:ln>
                    <a:noFill/>
                  </a:ln>
                  <a:solidFill>
                    <a:srgbClr val="595959"/>
                  </a:solidFill>
                  <a:effectLst/>
                  <a:uLnTx/>
                  <a:uFillTx/>
                  <a:latin typeface="Arial" panose="020B0604020202020204" pitchFamily="34" charset="0"/>
                  <a:cs typeface="Arial" panose="020B0604020202020204" pitchFamily="34" charset="0"/>
                </a:defRPr>
              </a:lvl1pPr>
              <a:lvl2pPr marL="800100" marR="307293" lvl="1" indent="-342900" defTabSz="1146384" fontAlgn="auto">
                <a:lnSpc>
                  <a:spcPct val="90000"/>
                </a:lnSpc>
                <a:spcBef>
                  <a:spcPts val="500"/>
                </a:spcBef>
                <a:spcAft>
                  <a:spcPts val="0"/>
                </a:spcAft>
                <a:buClrTx/>
                <a:buSzTx/>
                <a:buFont typeface="Arial" panose="020B0604020202020204" pitchFamily="34" charset="0"/>
                <a:buChar char="‒"/>
                <a:tabLst/>
                <a:defRPr kumimoji="0" sz="2200" b="0" i="0" u="none" strike="noStrike" cap="none" spc="0" normalizeH="0" baseline="0">
                  <a:ln>
                    <a:noFill/>
                  </a:ln>
                  <a:solidFill>
                    <a:srgbClr val="595959"/>
                  </a:solidFill>
                  <a:effectLst/>
                  <a:uLnTx/>
                  <a:uFillTx/>
                  <a:latin typeface="Arial" panose="020B0604020202020204" pitchFamily="34" charset="0"/>
                  <a:cs typeface="Arial" panose="020B0604020202020204" pitchFamily="34" charset="0"/>
                </a:defRPr>
              </a:lvl2pPr>
            </a:lstStyle>
            <a:p>
              <a:pPr marL="0" marR="307294" indent="0">
                <a:lnSpc>
                  <a:spcPct val="100000"/>
                </a:lnSpc>
                <a:spcBef>
                  <a:spcPts val="800"/>
                </a:spcBef>
                <a:buNone/>
                <a:defRPr/>
              </a:pPr>
              <a:r>
                <a:rPr lang="en-GB" sz="1200" b="1" kern="0" dirty="0">
                  <a:solidFill>
                    <a:schemeClr val="tx2"/>
                  </a:solidFill>
                  <a:latin typeface="+mn-lt"/>
                </a:rPr>
                <a:t>LSM at Week 24 </a:t>
              </a:r>
              <a:br>
                <a:rPr lang="en-GB" sz="1200" kern="0" dirty="0">
                  <a:solidFill>
                    <a:schemeClr val="tx2"/>
                  </a:solidFill>
                  <a:latin typeface="+mn-lt"/>
                </a:rPr>
              </a:br>
              <a:r>
                <a:rPr lang="en-GB" sz="1200" kern="0" dirty="0">
                  <a:solidFill>
                    <a:schemeClr val="accent3"/>
                  </a:solidFill>
                  <a:latin typeface="+mn-lt"/>
                </a:rPr>
                <a:t>Efgartigimod PH20 SC: 50.45 ± 3.22 </a:t>
              </a:r>
              <a:br>
                <a:rPr lang="en-GB" sz="1200" kern="0" dirty="0">
                  <a:solidFill>
                    <a:schemeClr val="tx2"/>
                  </a:solidFill>
                  <a:latin typeface="+mn-lt"/>
                </a:rPr>
              </a:br>
              <a:r>
                <a:rPr lang="en-GB" sz="1200" kern="0" dirty="0">
                  <a:solidFill>
                    <a:srgbClr val="7CA744"/>
                  </a:solidFill>
                  <a:latin typeface="+mn-lt"/>
                </a:rPr>
                <a:t>Placebo: 35.65 ± 3.44</a:t>
              </a:r>
              <a:br>
                <a:rPr lang="en-GB" sz="1200" kern="0" dirty="0">
                  <a:solidFill>
                    <a:schemeClr val="bg1">
                      <a:lumMod val="50000"/>
                    </a:schemeClr>
                  </a:solidFill>
                  <a:latin typeface="+mn-lt"/>
                </a:rPr>
              </a:br>
              <a:r>
                <a:rPr lang="en-GB" sz="1200" i="1" kern="0" dirty="0">
                  <a:solidFill>
                    <a:schemeClr val="tx2"/>
                  </a:solidFill>
                  <a:latin typeface="+mn-lt"/>
                </a:rPr>
                <a:t>P</a:t>
              </a:r>
              <a:r>
                <a:rPr lang="en-GB" sz="1200" kern="0" dirty="0">
                  <a:solidFill>
                    <a:schemeClr val="tx2"/>
                  </a:solidFill>
                  <a:latin typeface="+mn-lt"/>
                </a:rPr>
                <a:t>=.0004 </a:t>
              </a:r>
            </a:p>
          </p:txBody>
        </p:sp>
        <p:sp>
          <p:nvSpPr>
            <p:cNvPr id="8" name="Rectangle 562">
              <a:extLst>
                <a:ext uri="{FF2B5EF4-FFF2-40B4-BE49-F238E27FC236}">
                  <a16:creationId xmlns:a16="http://schemas.microsoft.com/office/drawing/2014/main" id="{F3304819-B555-B91A-500D-C0AAF6D20FBB}"/>
                </a:ext>
              </a:extLst>
            </p:cNvPr>
            <p:cNvSpPr>
              <a:spLocks noChangeArrowheads="1"/>
            </p:cNvSpPr>
            <p:nvPr/>
          </p:nvSpPr>
          <p:spPr bwMode="auto">
            <a:xfrm>
              <a:off x="813890" y="11172668"/>
              <a:ext cx="177950" cy="6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Baseline</a:t>
              </a:r>
            </a:p>
          </p:txBody>
        </p:sp>
        <p:sp>
          <p:nvSpPr>
            <p:cNvPr id="9" name="Rectangle 563">
              <a:extLst>
                <a:ext uri="{FF2B5EF4-FFF2-40B4-BE49-F238E27FC236}">
                  <a16:creationId xmlns:a16="http://schemas.microsoft.com/office/drawing/2014/main" id="{D80E2F51-8161-7E16-8754-5C6FF55B829A}"/>
                </a:ext>
              </a:extLst>
            </p:cNvPr>
            <p:cNvSpPr>
              <a:spLocks noChangeArrowheads="1"/>
            </p:cNvSpPr>
            <p:nvPr/>
          </p:nvSpPr>
          <p:spPr bwMode="auto">
            <a:xfrm>
              <a:off x="1293448" y="11172668"/>
              <a:ext cx="26923" cy="6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4</a:t>
              </a:r>
            </a:p>
          </p:txBody>
        </p:sp>
        <p:sp>
          <p:nvSpPr>
            <p:cNvPr id="10" name="Rectangle 564">
              <a:extLst>
                <a:ext uri="{FF2B5EF4-FFF2-40B4-BE49-F238E27FC236}">
                  <a16:creationId xmlns:a16="http://schemas.microsoft.com/office/drawing/2014/main" id="{B217739E-E49B-440B-3995-33A12B5348A9}"/>
                </a:ext>
              </a:extLst>
            </p:cNvPr>
            <p:cNvSpPr>
              <a:spLocks noChangeArrowheads="1"/>
            </p:cNvSpPr>
            <p:nvPr/>
          </p:nvSpPr>
          <p:spPr bwMode="auto">
            <a:xfrm>
              <a:off x="1709431" y="11172668"/>
              <a:ext cx="26923" cy="6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8</a:t>
              </a:r>
            </a:p>
          </p:txBody>
        </p:sp>
        <p:sp>
          <p:nvSpPr>
            <p:cNvPr id="11" name="Rectangle 565">
              <a:extLst>
                <a:ext uri="{FF2B5EF4-FFF2-40B4-BE49-F238E27FC236}">
                  <a16:creationId xmlns:a16="http://schemas.microsoft.com/office/drawing/2014/main" id="{BC2096FB-ADDD-0E85-4DD6-5A8121B9B5B0}"/>
                </a:ext>
              </a:extLst>
            </p:cNvPr>
            <p:cNvSpPr>
              <a:spLocks noChangeArrowheads="1"/>
            </p:cNvSpPr>
            <p:nvPr/>
          </p:nvSpPr>
          <p:spPr bwMode="auto">
            <a:xfrm>
              <a:off x="2107599" y="11172668"/>
              <a:ext cx="53845" cy="6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12</a:t>
              </a:r>
            </a:p>
          </p:txBody>
        </p:sp>
        <p:sp>
          <p:nvSpPr>
            <p:cNvPr id="13" name="Rectangle 566">
              <a:extLst>
                <a:ext uri="{FF2B5EF4-FFF2-40B4-BE49-F238E27FC236}">
                  <a16:creationId xmlns:a16="http://schemas.microsoft.com/office/drawing/2014/main" id="{84BC5FE2-F8B0-D1D6-73A0-3C2DA1717A45}"/>
                </a:ext>
              </a:extLst>
            </p:cNvPr>
            <p:cNvSpPr>
              <a:spLocks noChangeArrowheads="1"/>
            </p:cNvSpPr>
            <p:nvPr/>
          </p:nvSpPr>
          <p:spPr bwMode="auto">
            <a:xfrm>
              <a:off x="2519227" y="11172668"/>
              <a:ext cx="53845" cy="6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16</a:t>
              </a:r>
            </a:p>
          </p:txBody>
        </p:sp>
        <p:sp>
          <p:nvSpPr>
            <p:cNvPr id="14" name="Rectangle 567">
              <a:extLst>
                <a:ext uri="{FF2B5EF4-FFF2-40B4-BE49-F238E27FC236}">
                  <a16:creationId xmlns:a16="http://schemas.microsoft.com/office/drawing/2014/main" id="{76667EA2-2A68-5C48-39E8-C60164307576}"/>
                </a:ext>
              </a:extLst>
            </p:cNvPr>
            <p:cNvSpPr>
              <a:spLocks noChangeArrowheads="1"/>
            </p:cNvSpPr>
            <p:nvPr/>
          </p:nvSpPr>
          <p:spPr bwMode="auto">
            <a:xfrm>
              <a:off x="2930855" y="11172668"/>
              <a:ext cx="53845" cy="6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20</a:t>
              </a:r>
            </a:p>
          </p:txBody>
        </p:sp>
        <p:sp>
          <p:nvSpPr>
            <p:cNvPr id="15" name="Rectangle 677">
              <a:extLst>
                <a:ext uri="{FF2B5EF4-FFF2-40B4-BE49-F238E27FC236}">
                  <a16:creationId xmlns:a16="http://schemas.microsoft.com/office/drawing/2014/main" id="{359579D7-35EC-78B2-AB0C-508662EC787B}"/>
                </a:ext>
              </a:extLst>
            </p:cNvPr>
            <p:cNvSpPr>
              <a:spLocks noChangeArrowheads="1"/>
            </p:cNvSpPr>
            <p:nvPr/>
          </p:nvSpPr>
          <p:spPr bwMode="auto">
            <a:xfrm>
              <a:off x="293817" y="11481278"/>
              <a:ext cx="530953" cy="82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accent3"/>
                  </a:solidFill>
                  <a:effectLst/>
                  <a:latin typeface="+mn-lt"/>
                </a:rPr>
                <a:t>Efgartigimod PH20 SC</a:t>
              </a:r>
            </a:p>
          </p:txBody>
        </p:sp>
        <p:grpSp>
          <p:nvGrpSpPr>
            <p:cNvPr id="16" name="Group 15">
              <a:extLst>
                <a:ext uri="{FF2B5EF4-FFF2-40B4-BE49-F238E27FC236}">
                  <a16:creationId xmlns:a16="http://schemas.microsoft.com/office/drawing/2014/main" id="{4EB83F64-EC68-7552-3C74-B2588B33611E}"/>
                </a:ext>
              </a:extLst>
            </p:cNvPr>
            <p:cNvGrpSpPr/>
            <p:nvPr/>
          </p:nvGrpSpPr>
          <p:grpSpPr>
            <a:xfrm>
              <a:off x="849928" y="11488574"/>
              <a:ext cx="2566784" cy="69250"/>
              <a:chOff x="849928" y="11409698"/>
              <a:chExt cx="2566784" cy="69250"/>
            </a:xfrm>
          </p:grpSpPr>
          <p:sp>
            <p:nvSpPr>
              <p:cNvPr id="105" name="Rectangle 679">
                <a:extLst>
                  <a:ext uri="{FF2B5EF4-FFF2-40B4-BE49-F238E27FC236}">
                    <a16:creationId xmlns:a16="http://schemas.microsoft.com/office/drawing/2014/main" id="{16FD3B97-041C-ACF7-B2A3-C10A79263918}"/>
                  </a:ext>
                </a:extLst>
              </p:cNvPr>
              <p:cNvSpPr>
                <a:spLocks noChangeArrowheads="1"/>
              </p:cNvSpPr>
              <p:nvPr/>
            </p:nvSpPr>
            <p:spPr bwMode="auto">
              <a:xfrm>
                <a:off x="849928" y="1140969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accent3"/>
                    </a:solidFill>
                    <a:effectLst/>
                    <a:latin typeface="+mn-lt"/>
                  </a:rPr>
                  <a:t>47</a:t>
                </a:r>
              </a:p>
            </p:txBody>
          </p:sp>
          <p:sp>
            <p:nvSpPr>
              <p:cNvPr id="106" name="Rectangle 681">
                <a:extLst>
                  <a:ext uri="{FF2B5EF4-FFF2-40B4-BE49-F238E27FC236}">
                    <a16:creationId xmlns:a16="http://schemas.microsoft.com/office/drawing/2014/main" id="{ADEAEFE5-1D46-EBEE-004F-B1118D832BA5}"/>
                  </a:ext>
                </a:extLst>
              </p:cNvPr>
              <p:cNvSpPr>
                <a:spLocks noChangeArrowheads="1"/>
              </p:cNvSpPr>
              <p:nvPr/>
            </p:nvSpPr>
            <p:spPr bwMode="auto">
              <a:xfrm>
                <a:off x="1262485" y="1140969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accent3"/>
                    </a:solidFill>
                    <a:effectLst/>
                    <a:latin typeface="+mn-lt"/>
                  </a:rPr>
                  <a:t>44 (23.64)</a:t>
                </a:r>
              </a:p>
            </p:txBody>
          </p:sp>
          <p:sp>
            <p:nvSpPr>
              <p:cNvPr id="107" name="Rectangle 683">
                <a:extLst>
                  <a:ext uri="{FF2B5EF4-FFF2-40B4-BE49-F238E27FC236}">
                    <a16:creationId xmlns:a16="http://schemas.microsoft.com/office/drawing/2014/main" id="{14637D64-CA18-4270-A1B3-95980F7448B6}"/>
                  </a:ext>
                </a:extLst>
              </p:cNvPr>
              <p:cNvSpPr>
                <a:spLocks noChangeArrowheads="1"/>
              </p:cNvSpPr>
              <p:nvPr/>
            </p:nvSpPr>
            <p:spPr bwMode="auto">
              <a:xfrm>
                <a:off x="1675042" y="1140969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accent3"/>
                    </a:solidFill>
                    <a:effectLst/>
                    <a:latin typeface="+mn-lt"/>
                  </a:rPr>
                  <a:t>45 (35.00)</a:t>
                </a:r>
              </a:p>
            </p:txBody>
          </p:sp>
          <p:sp>
            <p:nvSpPr>
              <p:cNvPr id="108" name="Rectangle 685">
                <a:extLst>
                  <a:ext uri="{FF2B5EF4-FFF2-40B4-BE49-F238E27FC236}">
                    <a16:creationId xmlns:a16="http://schemas.microsoft.com/office/drawing/2014/main" id="{6B77D82E-9519-59EC-9235-1465CBC7E152}"/>
                  </a:ext>
                </a:extLst>
              </p:cNvPr>
              <p:cNvSpPr>
                <a:spLocks noChangeArrowheads="1"/>
              </p:cNvSpPr>
              <p:nvPr/>
            </p:nvSpPr>
            <p:spPr bwMode="auto">
              <a:xfrm>
                <a:off x="2087599" y="1140969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accent3"/>
                    </a:solidFill>
                    <a:effectLst/>
                    <a:latin typeface="+mn-lt"/>
                  </a:rPr>
                  <a:t>44 (39.83)</a:t>
                </a:r>
              </a:p>
            </p:txBody>
          </p:sp>
          <p:sp>
            <p:nvSpPr>
              <p:cNvPr id="109" name="Rectangle 687">
                <a:extLst>
                  <a:ext uri="{FF2B5EF4-FFF2-40B4-BE49-F238E27FC236}">
                    <a16:creationId xmlns:a16="http://schemas.microsoft.com/office/drawing/2014/main" id="{F3C0AD0D-E514-B678-5EF2-B647AEF1752C}"/>
                  </a:ext>
                </a:extLst>
              </p:cNvPr>
              <p:cNvSpPr>
                <a:spLocks noChangeArrowheads="1"/>
              </p:cNvSpPr>
              <p:nvPr/>
            </p:nvSpPr>
            <p:spPr bwMode="auto">
              <a:xfrm>
                <a:off x="2500156" y="1140969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accent3"/>
                    </a:solidFill>
                    <a:effectLst/>
                    <a:latin typeface="+mn-lt"/>
                  </a:rPr>
                  <a:t>45 (46.72)</a:t>
                </a:r>
              </a:p>
            </p:txBody>
          </p:sp>
          <p:sp>
            <p:nvSpPr>
              <p:cNvPr id="110" name="Rectangle 689">
                <a:extLst>
                  <a:ext uri="{FF2B5EF4-FFF2-40B4-BE49-F238E27FC236}">
                    <a16:creationId xmlns:a16="http://schemas.microsoft.com/office/drawing/2014/main" id="{32A9BA79-D430-4D91-514C-7A345BA38414}"/>
                  </a:ext>
                </a:extLst>
              </p:cNvPr>
              <p:cNvSpPr>
                <a:spLocks noChangeArrowheads="1"/>
              </p:cNvSpPr>
              <p:nvPr/>
            </p:nvSpPr>
            <p:spPr bwMode="auto">
              <a:xfrm>
                <a:off x="2912713" y="1140969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accent3"/>
                    </a:solidFill>
                    <a:effectLst/>
                    <a:latin typeface="+mn-lt"/>
                  </a:rPr>
                  <a:t>42 (50.24)</a:t>
                </a:r>
              </a:p>
            </p:txBody>
          </p:sp>
          <p:sp>
            <p:nvSpPr>
              <p:cNvPr id="111" name="Rectangle 691">
                <a:extLst>
                  <a:ext uri="{FF2B5EF4-FFF2-40B4-BE49-F238E27FC236}">
                    <a16:creationId xmlns:a16="http://schemas.microsoft.com/office/drawing/2014/main" id="{F0A82A5A-A3D2-009F-3AC6-ED79708D4B9D}"/>
                  </a:ext>
                </a:extLst>
              </p:cNvPr>
              <p:cNvSpPr>
                <a:spLocks noChangeArrowheads="1"/>
              </p:cNvSpPr>
              <p:nvPr/>
            </p:nvSpPr>
            <p:spPr bwMode="auto">
              <a:xfrm>
                <a:off x="3325272" y="11409698"/>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accent3"/>
                    </a:solidFill>
                    <a:effectLst/>
                    <a:latin typeface="+mn-lt"/>
                  </a:rPr>
                  <a:t>41 (50.67)</a:t>
                </a:r>
              </a:p>
            </p:txBody>
          </p:sp>
        </p:grpSp>
        <p:sp>
          <p:nvSpPr>
            <p:cNvPr id="17" name="Rectangle 678">
              <a:extLst>
                <a:ext uri="{FF2B5EF4-FFF2-40B4-BE49-F238E27FC236}">
                  <a16:creationId xmlns:a16="http://schemas.microsoft.com/office/drawing/2014/main" id="{AA4728CD-E4E1-66A6-B029-0F44395F88A0}"/>
                </a:ext>
              </a:extLst>
            </p:cNvPr>
            <p:cNvSpPr>
              <a:spLocks noChangeArrowheads="1"/>
            </p:cNvSpPr>
            <p:nvPr/>
          </p:nvSpPr>
          <p:spPr bwMode="auto">
            <a:xfrm>
              <a:off x="358349" y="11644562"/>
              <a:ext cx="466422" cy="82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CA744"/>
                  </a:solidFill>
                  <a:effectLst/>
                  <a:latin typeface="+mn-lt"/>
                </a:rPr>
                <a:t>Placebo PH20 SC</a:t>
              </a:r>
            </a:p>
          </p:txBody>
        </p:sp>
        <p:grpSp>
          <p:nvGrpSpPr>
            <p:cNvPr id="18" name="Group 17">
              <a:extLst>
                <a:ext uri="{FF2B5EF4-FFF2-40B4-BE49-F238E27FC236}">
                  <a16:creationId xmlns:a16="http://schemas.microsoft.com/office/drawing/2014/main" id="{8B6B7C8D-D8DC-5FA3-B96B-A56506BB9449}"/>
                </a:ext>
              </a:extLst>
            </p:cNvPr>
            <p:cNvGrpSpPr/>
            <p:nvPr/>
          </p:nvGrpSpPr>
          <p:grpSpPr>
            <a:xfrm>
              <a:off x="849928" y="11651859"/>
              <a:ext cx="2566784" cy="69250"/>
              <a:chOff x="849928" y="11588359"/>
              <a:chExt cx="2566784" cy="69250"/>
            </a:xfrm>
          </p:grpSpPr>
          <p:sp>
            <p:nvSpPr>
              <p:cNvPr id="98" name="Rectangle 680">
                <a:extLst>
                  <a:ext uri="{FF2B5EF4-FFF2-40B4-BE49-F238E27FC236}">
                    <a16:creationId xmlns:a16="http://schemas.microsoft.com/office/drawing/2014/main" id="{A2DC0303-BD48-AFE1-37AD-973C5A0916CD}"/>
                  </a:ext>
                </a:extLst>
              </p:cNvPr>
              <p:cNvSpPr>
                <a:spLocks noChangeArrowheads="1"/>
              </p:cNvSpPr>
              <p:nvPr/>
            </p:nvSpPr>
            <p:spPr bwMode="auto">
              <a:xfrm>
                <a:off x="849928" y="11588359"/>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7CA744"/>
                    </a:solidFill>
                    <a:effectLst/>
                    <a:latin typeface="+mn-lt"/>
                  </a:rPr>
                  <a:t>42</a:t>
                </a:r>
              </a:p>
            </p:txBody>
          </p:sp>
          <p:sp>
            <p:nvSpPr>
              <p:cNvPr id="99" name="Rectangle 682">
                <a:extLst>
                  <a:ext uri="{FF2B5EF4-FFF2-40B4-BE49-F238E27FC236}">
                    <a16:creationId xmlns:a16="http://schemas.microsoft.com/office/drawing/2014/main" id="{A5A06D96-C7D9-AC98-9F93-33410FCDF867}"/>
                  </a:ext>
                </a:extLst>
              </p:cNvPr>
              <p:cNvSpPr>
                <a:spLocks noChangeArrowheads="1"/>
              </p:cNvSpPr>
              <p:nvPr/>
            </p:nvSpPr>
            <p:spPr bwMode="auto">
              <a:xfrm>
                <a:off x="1262485" y="11588359"/>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7CA744"/>
                    </a:solidFill>
                    <a:effectLst/>
                    <a:latin typeface="+mn-lt"/>
                  </a:rPr>
                  <a:t>42 (18.81)</a:t>
                </a:r>
              </a:p>
            </p:txBody>
          </p:sp>
          <p:sp>
            <p:nvSpPr>
              <p:cNvPr id="100" name="Rectangle 684">
                <a:extLst>
                  <a:ext uri="{FF2B5EF4-FFF2-40B4-BE49-F238E27FC236}">
                    <a16:creationId xmlns:a16="http://schemas.microsoft.com/office/drawing/2014/main" id="{B76AD868-2DDB-1CD8-5363-C7B74B76396D}"/>
                  </a:ext>
                </a:extLst>
              </p:cNvPr>
              <p:cNvSpPr>
                <a:spLocks noChangeArrowheads="1"/>
              </p:cNvSpPr>
              <p:nvPr/>
            </p:nvSpPr>
            <p:spPr bwMode="auto">
              <a:xfrm>
                <a:off x="1675042" y="11588359"/>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7CA744"/>
                    </a:solidFill>
                    <a:effectLst/>
                    <a:latin typeface="+mn-lt"/>
                  </a:rPr>
                  <a:t>40 (22.81)</a:t>
                </a:r>
              </a:p>
            </p:txBody>
          </p:sp>
          <p:sp>
            <p:nvSpPr>
              <p:cNvPr id="101" name="Rectangle 686">
                <a:extLst>
                  <a:ext uri="{FF2B5EF4-FFF2-40B4-BE49-F238E27FC236}">
                    <a16:creationId xmlns:a16="http://schemas.microsoft.com/office/drawing/2014/main" id="{E73CADE7-DAE8-63F3-DAB4-B83D660D82B9}"/>
                  </a:ext>
                </a:extLst>
              </p:cNvPr>
              <p:cNvSpPr>
                <a:spLocks noChangeArrowheads="1"/>
              </p:cNvSpPr>
              <p:nvPr/>
            </p:nvSpPr>
            <p:spPr bwMode="auto">
              <a:xfrm>
                <a:off x="2087599" y="11588359"/>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7CA744"/>
                    </a:solidFill>
                    <a:effectLst/>
                    <a:latin typeface="+mn-lt"/>
                  </a:rPr>
                  <a:t>37 (26.89)</a:t>
                </a:r>
              </a:p>
            </p:txBody>
          </p:sp>
          <p:sp>
            <p:nvSpPr>
              <p:cNvPr id="102" name="Rectangle 688">
                <a:extLst>
                  <a:ext uri="{FF2B5EF4-FFF2-40B4-BE49-F238E27FC236}">
                    <a16:creationId xmlns:a16="http://schemas.microsoft.com/office/drawing/2014/main" id="{2C89339A-0DED-0ADD-B3C3-F7EE5105E157}"/>
                  </a:ext>
                </a:extLst>
              </p:cNvPr>
              <p:cNvSpPr>
                <a:spLocks noChangeArrowheads="1"/>
              </p:cNvSpPr>
              <p:nvPr/>
            </p:nvSpPr>
            <p:spPr bwMode="auto">
              <a:xfrm>
                <a:off x="2500156" y="11588359"/>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7CA744"/>
                    </a:solidFill>
                    <a:effectLst/>
                    <a:latin typeface="+mn-lt"/>
                  </a:rPr>
                  <a:t>36 (32.71)</a:t>
                </a:r>
              </a:p>
            </p:txBody>
          </p:sp>
          <p:sp>
            <p:nvSpPr>
              <p:cNvPr id="103" name="Rectangle 690">
                <a:extLst>
                  <a:ext uri="{FF2B5EF4-FFF2-40B4-BE49-F238E27FC236}">
                    <a16:creationId xmlns:a16="http://schemas.microsoft.com/office/drawing/2014/main" id="{211D2D1A-9EDC-1979-CE9D-CEAD45CA8152}"/>
                  </a:ext>
                </a:extLst>
              </p:cNvPr>
              <p:cNvSpPr>
                <a:spLocks noChangeArrowheads="1"/>
              </p:cNvSpPr>
              <p:nvPr/>
            </p:nvSpPr>
            <p:spPr bwMode="auto">
              <a:xfrm>
                <a:off x="2912713" y="11588359"/>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7CA744"/>
                    </a:solidFill>
                    <a:effectLst/>
                    <a:latin typeface="+mn-lt"/>
                  </a:rPr>
                  <a:t>36 (38.33)</a:t>
                </a:r>
              </a:p>
            </p:txBody>
          </p:sp>
          <p:sp>
            <p:nvSpPr>
              <p:cNvPr id="104" name="Rectangle 692">
                <a:extLst>
                  <a:ext uri="{FF2B5EF4-FFF2-40B4-BE49-F238E27FC236}">
                    <a16:creationId xmlns:a16="http://schemas.microsoft.com/office/drawing/2014/main" id="{7CC251BB-6894-2DBB-185A-B154B99F1ECD}"/>
                  </a:ext>
                </a:extLst>
              </p:cNvPr>
              <p:cNvSpPr>
                <a:spLocks noChangeArrowheads="1"/>
              </p:cNvSpPr>
              <p:nvPr/>
            </p:nvSpPr>
            <p:spPr bwMode="auto">
              <a:xfrm>
                <a:off x="3325272" y="11588359"/>
                <a:ext cx="91440"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7CA744"/>
                    </a:solidFill>
                    <a:effectLst/>
                    <a:latin typeface="+mn-lt"/>
                  </a:rPr>
                  <a:t>36 (38.96)</a:t>
                </a:r>
              </a:p>
            </p:txBody>
          </p:sp>
        </p:grpSp>
        <p:sp>
          <p:nvSpPr>
            <p:cNvPr id="19" name="Rectangle 643">
              <a:extLst>
                <a:ext uri="{FF2B5EF4-FFF2-40B4-BE49-F238E27FC236}">
                  <a16:creationId xmlns:a16="http://schemas.microsoft.com/office/drawing/2014/main" id="{20C2F12C-A97A-1BA0-17E4-D60A4FE6D429}"/>
                </a:ext>
              </a:extLst>
            </p:cNvPr>
            <p:cNvSpPr>
              <a:spLocks noChangeArrowheads="1"/>
            </p:cNvSpPr>
            <p:nvPr/>
          </p:nvSpPr>
          <p:spPr bwMode="auto">
            <a:xfrm>
              <a:off x="2047288" y="11243221"/>
              <a:ext cx="125419" cy="6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tx2"/>
                  </a:solidFill>
                  <a:effectLst/>
                  <a:latin typeface="+mn-lt"/>
                </a:rPr>
                <a:t>Week</a:t>
              </a:r>
              <a:endParaRPr kumimoji="0" lang="en-US" altLang="en-US" sz="1000" b="0" i="0" u="none" strike="noStrike" cap="none" normalizeH="0" baseline="0">
                <a:ln>
                  <a:noFill/>
                </a:ln>
                <a:solidFill>
                  <a:schemeClr val="tx2"/>
                </a:solidFill>
                <a:effectLst/>
                <a:latin typeface="+mn-lt"/>
              </a:endParaRPr>
            </a:p>
          </p:txBody>
        </p:sp>
        <p:sp>
          <p:nvSpPr>
            <p:cNvPr id="20" name="Rectangle 511">
              <a:extLst>
                <a:ext uri="{FF2B5EF4-FFF2-40B4-BE49-F238E27FC236}">
                  <a16:creationId xmlns:a16="http://schemas.microsoft.com/office/drawing/2014/main" id="{A72EA0B1-9FDD-262A-93ED-7CC9C48FDC76}"/>
                </a:ext>
              </a:extLst>
            </p:cNvPr>
            <p:cNvSpPr>
              <a:spLocks noChangeArrowheads="1"/>
            </p:cNvSpPr>
            <p:nvPr/>
          </p:nvSpPr>
          <p:spPr bwMode="auto">
            <a:xfrm rot="16200000">
              <a:off x="336872" y="10533408"/>
              <a:ext cx="324381" cy="6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a:ln>
                    <a:noFill/>
                  </a:ln>
                  <a:solidFill>
                    <a:schemeClr val="tx2"/>
                  </a:solidFill>
                  <a:effectLst/>
                  <a:latin typeface="+mn-lt"/>
                </a:rPr>
                <a:t>Mean (±SE) TIS</a:t>
              </a:r>
            </a:p>
          </p:txBody>
        </p:sp>
        <p:grpSp>
          <p:nvGrpSpPr>
            <p:cNvPr id="22" name="Group 21">
              <a:extLst>
                <a:ext uri="{FF2B5EF4-FFF2-40B4-BE49-F238E27FC236}">
                  <a16:creationId xmlns:a16="http://schemas.microsoft.com/office/drawing/2014/main" id="{7F78C291-BE7F-B163-FD2D-06BDF58064F2}"/>
                </a:ext>
              </a:extLst>
            </p:cNvPr>
            <p:cNvGrpSpPr/>
            <p:nvPr/>
          </p:nvGrpSpPr>
          <p:grpSpPr>
            <a:xfrm>
              <a:off x="572167" y="10048343"/>
              <a:ext cx="109041" cy="1064757"/>
              <a:chOff x="572167" y="9984843"/>
              <a:chExt cx="109041" cy="1064757"/>
            </a:xfrm>
          </p:grpSpPr>
          <p:sp>
            <p:nvSpPr>
              <p:cNvPr id="92" name="Rectangle 563">
                <a:extLst>
                  <a:ext uri="{FF2B5EF4-FFF2-40B4-BE49-F238E27FC236}">
                    <a16:creationId xmlns:a16="http://schemas.microsoft.com/office/drawing/2014/main" id="{2018FE18-40F4-EF63-31E7-574E92BE24E4}"/>
                  </a:ext>
                </a:extLst>
              </p:cNvPr>
              <p:cNvSpPr>
                <a:spLocks noChangeArrowheads="1"/>
              </p:cNvSpPr>
              <p:nvPr/>
            </p:nvSpPr>
            <p:spPr bwMode="auto">
              <a:xfrm>
                <a:off x="572167" y="10967020"/>
                <a:ext cx="109041" cy="82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0</a:t>
                </a:r>
              </a:p>
            </p:txBody>
          </p:sp>
          <p:sp>
            <p:nvSpPr>
              <p:cNvPr id="93" name="Rectangle 563">
                <a:extLst>
                  <a:ext uri="{FF2B5EF4-FFF2-40B4-BE49-F238E27FC236}">
                    <a16:creationId xmlns:a16="http://schemas.microsoft.com/office/drawing/2014/main" id="{07A5B895-96AF-31A3-0BC0-2EAC968C70BE}"/>
                  </a:ext>
                </a:extLst>
              </p:cNvPr>
              <p:cNvSpPr>
                <a:spLocks noChangeArrowheads="1"/>
              </p:cNvSpPr>
              <p:nvPr/>
            </p:nvSpPr>
            <p:spPr bwMode="auto">
              <a:xfrm>
                <a:off x="572167" y="10770583"/>
                <a:ext cx="109041" cy="82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10</a:t>
                </a:r>
              </a:p>
            </p:txBody>
          </p:sp>
          <p:sp>
            <p:nvSpPr>
              <p:cNvPr id="94" name="Rectangle 563">
                <a:extLst>
                  <a:ext uri="{FF2B5EF4-FFF2-40B4-BE49-F238E27FC236}">
                    <a16:creationId xmlns:a16="http://schemas.microsoft.com/office/drawing/2014/main" id="{7742C3D0-999A-D9F4-B93D-74CC78AF7322}"/>
                  </a:ext>
                </a:extLst>
              </p:cNvPr>
              <p:cNvSpPr>
                <a:spLocks noChangeArrowheads="1"/>
              </p:cNvSpPr>
              <p:nvPr/>
            </p:nvSpPr>
            <p:spPr bwMode="auto">
              <a:xfrm>
                <a:off x="572167" y="10574148"/>
                <a:ext cx="109041" cy="82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20</a:t>
                </a:r>
              </a:p>
            </p:txBody>
          </p:sp>
          <p:sp>
            <p:nvSpPr>
              <p:cNvPr id="95" name="Rectangle 563">
                <a:extLst>
                  <a:ext uri="{FF2B5EF4-FFF2-40B4-BE49-F238E27FC236}">
                    <a16:creationId xmlns:a16="http://schemas.microsoft.com/office/drawing/2014/main" id="{F9D22337-D70A-37F9-2720-EBA52C8F049B}"/>
                  </a:ext>
                </a:extLst>
              </p:cNvPr>
              <p:cNvSpPr>
                <a:spLocks noChangeArrowheads="1"/>
              </p:cNvSpPr>
              <p:nvPr/>
            </p:nvSpPr>
            <p:spPr bwMode="auto">
              <a:xfrm>
                <a:off x="572167" y="10377713"/>
                <a:ext cx="109041" cy="82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30</a:t>
                </a:r>
              </a:p>
            </p:txBody>
          </p:sp>
          <p:sp>
            <p:nvSpPr>
              <p:cNvPr id="96" name="Rectangle 563">
                <a:extLst>
                  <a:ext uri="{FF2B5EF4-FFF2-40B4-BE49-F238E27FC236}">
                    <a16:creationId xmlns:a16="http://schemas.microsoft.com/office/drawing/2014/main" id="{51385C9C-FDED-F429-C5C4-CA3E1622158E}"/>
                  </a:ext>
                </a:extLst>
              </p:cNvPr>
              <p:cNvSpPr>
                <a:spLocks noChangeArrowheads="1"/>
              </p:cNvSpPr>
              <p:nvPr/>
            </p:nvSpPr>
            <p:spPr bwMode="auto">
              <a:xfrm>
                <a:off x="572167" y="10181278"/>
                <a:ext cx="109041" cy="82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40</a:t>
                </a:r>
              </a:p>
            </p:txBody>
          </p:sp>
          <p:sp>
            <p:nvSpPr>
              <p:cNvPr id="97" name="Rectangle 563">
                <a:extLst>
                  <a:ext uri="{FF2B5EF4-FFF2-40B4-BE49-F238E27FC236}">
                    <a16:creationId xmlns:a16="http://schemas.microsoft.com/office/drawing/2014/main" id="{E216FD92-6AA3-9447-70BE-C0CF104FE1FD}"/>
                  </a:ext>
                </a:extLst>
              </p:cNvPr>
              <p:cNvSpPr>
                <a:spLocks noChangeArrowheads="1"/>
              </p:cNvSpPr>
              <p:nvPr/>
            </p:nvSpPr>
            <p:spPr bwMode="auto">
              <a:xfrm>
                <a:off x="572167" y="9984843"/>
                <a:ext cx="109041" cy="82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50</a:t>
                </a:r>
              </a:p>
            </p:txBody>
          </p:sp>
        </p:grpSp>
        <p:sp>
          <p:nvSpPr>
            <p:cNvPr id="23" name="Rectangle 677">
              <a:extLst>
                <a:ext uri="{FF2B5EF4-FFF2-40B4-BE49-F238E27FC236}">
                  <a16:creationId xmlns:a16="http://schemas.microsoft.com/office/drawing/2014/main" id="{4F33B5A2-404F-D69A-FF65-5DCD17ADC6B7}"/>
                </a:ext>
              </a:extLst>
            </p:cNvPr>
            <p:cNvSpPr>
              <a:spLocks noChangeArrowheads="1"/>
            </p:cNvSpPr>
            <p:nvPr/>
          </p:nvSpPr>
          <p:spPr bwMode="auto">
            <a:xfrm>
              <a:off x="609968" y="11406300"/>
              <a:ext cx="214802" cy="6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2"/>
                  </a:solidFill>
                  <a:effectLst/>
                  <a:latin typeface="+mn-lt"/>
                </a:rPr>
                <a:t>n (Mean)</a:t>
              </a:r>
            </a:p>
          </p:txBody>
        </p:sp>
        <p:sp>
          <p:nvSpPr>
            <p:cNvPr id="24" name="Rectangle 568">
              <a:extLst>
                <a:ext uri="{FF2B5EF4-FFF2-40B4-BE49-F238E27FC236}">
                  <a16:creationId xmlns:a16="http://schemas.microsoft.com/office/drawing/2014/main" id="{6492F97D-7486-73AB-D3C4-271D92870C72}"/>
                </a:ext>
              </a:extLst>
            </p:cNvPr>
            <p:cNvSpPr>
              <a:spLocks noChangeArrowheads="1"/>
            </p:cNvSpPr>
            <p:nvPr/>
          </p:nvSpPr>
          <p:spPr bwMode="auto">
            <a:xfrm>
              <a:off x="3341625" y="11172668"/>
              <a:ext cx="53845" cy="6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chemeClr val="tx2"/>
                  </a:solidFill>
                  <a:effectLst/>
                  <a:latin typeface="+mn-lt"/>
                </a:rPr>
                <a:t>24</a:t>
              </a:r>
            </a:p>
          </p:txBody>
        </p:sp>
        <p:grpSp>
          <p:nvGrpSpPr>
            <p:cNvPr id="33" name="Group 32">
              <a:extLst>
                <a:ext uri="{FF2B5EF4-FFF2-40B4-BE49-F238E27FC236}">
                  <a16:creationId xmlns:a16="http://schemas.microsoft.com/office/drawing/2014/main" id="{3C1A8DC3-8EC5-B1C0-2090-8BF44AC90BF7}"/>
                </a:ext>
              </a:extLst>
            </p:cNvPr>
            <p:cNvGrpSpPr/>
            <p:nvPr/>
          </p:nvGrpSpPr>
          <p:grpSpPr>
            <a:xfrm>
              <a:off x="695890" y="9975625"/>
              <a:ext cx="2795023" cy="1189550"/>
              <a:chOff x="695890" y="9912125"/>
              <a:chExt cx="2795023" cy="1189550"/>
            </a:xfrm>
          </p:grpSpPr>
          <p:grpSp>
            <p:nvGrpSpPr>
              <p:cNvPr id="74" name="Group 73">
                <a:extLst>
                  <a:ext uri="{FF2B5EF4-FFF2-40B4-BE49-F238E27FC236}">
                    <a16:creationId xmlns:a16="http://schemas.microsoft.com/office/drawing/2014/main" id="{373944AC-D6CF-F53A-E009-4F1EA244E66A}"/>
                  </a:ext>
                </a:extLst>
              </p:cNvPr>
              <p:cNvGrpSpPr/>
              <p:nvPr/>
            </p:nvGrpSpPr>
            <p:grpSpPr>
              <a:xfrm>
                <a:off x="695890" y="9912125"/>
                <a:ext cx="2795023" cy="1189550"/>
                <a:chOff x="695890" y="9912125"/>
                <a:chExt cx="2795023" cy="1189550"/>
              </a:xfrm>
            </p:grpSpPr>
            <p:sp>
              <p:nvSpPr>
                <p:cNvPr id="76" name="Freeform: Shape 75">
                  <a:extLst>
                    <a:ext uri="{FF2B5EF4-FFF2-40B4-BE49-F238E27FC236}">
                      <a16:creationId xmlns:a16="http://schemas.microsoft.com/office/drawing/2014/main" id="{42B84182-0CAD-B390-1BB2-82F9ABC9F833}"/>
                    </a:ext>
                  </a:extLst>
                </p:cNvPr>
                <p:cNvSpPr/>
                <p:nvPr/>
              </p:nvSpPr>
              <p:spPr>
                <a:xfrm>
                  <a:off x="723900" y="9912125"/>
                  <a:ext cx="2767013" cy="1160688"/>
                </a:xfrm>
                <a:custGeom>
                  <a:avLst/>
                  <a:gdLst>
                    <a:gd name="connsiteX0" fmla="*/ 0 w 2767013"/>
                    <a:gd name="connsiteY0" fmla="*/ 0 h 1233488"/>
                    <a:gd name="connsiteX1" fmla="*/ 0 w 2767013"/>
                    <a:gd name="connsiteY1" fmla="*/ 1233488 h 1233488"/>
                    <a:gd name="connsiteX2" fmla="*/ 2767013 w 2767013"/>
                    <a:gd name="connsiteY2" fmla="*/ 1233488 h 1233488"/>
                  </a:gdLst>
                  <a:ahLst/>
                  <a:cxnLst>
                    <a:cxn ang="0">
                      <a:pos x="connsiteX0" y="connsiteY0"/>
                    </a:cxn>
                    <a:cxn ang="0">
                      <a:pos x="connsiteX1" y="connsiteY1"/>
                    </a:cxn>
                    <a:cxn ang="0">
                      <a:pos x="connsiteX2" y="connsiteY2"/>
                    </a:cxn>
                  </a:cxnLst>
                  <a:rect l="l" t="t" r="r" b="b"/>
                  <a:pathLst>
                    <a:path w="2767013" h="1233488">
                      <a:moveTo>
                        <a:pt x="0" y="0"/>
                      </a:moveTo>
                      <a:lnTo>
                        <a:pt x="0" y="1233488"/>
                      </a:lnTo>
                      <a:lnTo>
                        <a:pt x="2767013" y="1233488"/>
                      </a:ln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grpSp>
              <p:nvGrpSpPr>
                <p:cNvPr id="77" name="Group 76">
                  <a:extLst>
                    <a:ext uri="{FF2B5EF4-FFF2-40B4-BE49-F238E27FC236}">
                      <a16:creationId xmlns:a16="http://schemas.microsoft.com/office/drawing/2014/main" id="{6E214D9A-00AA-1580-6E9E-8DCBBD46625C}"/>
                    </a:ext>
                  </a:extLst>
                </p:cNvPr>
                <p:cNvGrpSpPr/>
                <p:nvPr/>
              </p:nvGrpSpPr>
              <p:grpSpPr>
                <a:xfrm>
                  <a:off x="695890" y="10028830"/>
                  <a:ext cx="28388" cy="977970"/>
                  <a:chOff x="695890" y="10028830"/>
                  <a:chExt cx="28388" cy="977970"/>
                </a:xfrm>
              </p:grpSpPr>
              <p:cxnSp>
                <p:nvCxnSpPr>
                  <p:cNvPr id="86" name="Straight Connector 85">
                    <a:extLst>
                      <a:ext uri="{FF2B5EF4-FFF2-40B4-BE49-F238E27FC236}">
                        <a16:creationId xmlns:a16="http://schemas.microsoft.com/office/drawing/2014/main" id="{4848D7C3-72DE-7096-966D-65BC9C5B28FB}"/>
                      </a:ext>
                    </a:extLst>
                  </p:cNvPr>
                  <p:cNvCxnSpPr>
                    <a:cxnSpLocks/>
                  </p:cNvCxnSpPr>
                  <p:nvPr/>
                </p:nvCxnSpPr>
                <p:spPr>
                  <a:xfrm>
                    <a:off x="695890" y="11006800"/>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7FCDCE9-CF97-4629-4673-3AA4554BB280}"/>
                      </a:ext>
                    </a:extLst>
                  </p:cNvPr>
                  <p:cNvCxnSpPr>
                    <a:cxnSpLocks/>
                  </p:cNvCxnSpPr>
                  <p:nvPr/>
                </p:nvCxnSpPr>
                <p:spPr>
                  <a:xfrm>
                    <a:off x="695890" y="10811206"/>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7CC97504-7C2A-175A-E8F7-AF709E1D7FEE}"/>
                      </a:ext>
                    </a:extLst>
                  </p:cNvPr>
                  <p:cNvCxnSpPr>
                    <a:cxnSpLocks/>
                  </p:cNvCxnSpPr>
                  <p:nvPr/>
                </p:nvCxnSpPr>
                <p:spPr>
                  <a:xfrm>
                    <a:off x="695890" y="10615612"/>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96EFE13-FDCA-D991-A574-2212EB2B4126}"/>
                      </a:ext>
                    </a:extLst>
                  </p:cNvPr>
                  <p:cNvCxnSpPr>
                    <a:cxnSpLocks/>
                  </p:cNvCxnSpPr>
                  <p:nvPr/>
                </p:nvCxnSpPr>
                <p:spPr>
                  <a:xfrm>
                    <a:off x="695890" y="10420018"/>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8BC4753-142D-5AE6-F5E6-9589A834AE95}"/>
                      </a:ext>
                    </a:extLst>
                  </p:cNvPr>
                  <p:cNvCxnSpPr>
                    <a:cxnSpLocks/>
                  </p:cNvCxnSpPr>
                  <p:nvPr/>
                </p:nvCxnSpPr>
                <p:spPr>
                  <a:xfrm>
                    <a:off x="695890" y="10224424"/>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9467F31-C869-BEA9-7230-15F7AD4EE217}"/>
                      </a:ext>
                    </a:extLst>
                  </p:cNvPr>
                  <p:cNvCxnSpPr>
                    <a:cxnSpLocks/>
                  </p:cNvCxnSpPr>
                  <p:nvPr/>
                </p:nvCxnSpPr>
                <p:spPr>
                  <a:xfrm>
                    <a:off x="695890" y="10028830"/>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EF9758C9-B43D-8B92-D12A-FE7AC87CFC6E}"/>
                    </a:ext>
                  </a:extLst>
                </p:cNvPr>
                <p:cNvGrpSpPr/>
                <p:nvPr/>
              </p:nvGrpSpPr>
              <p:grpSpPr>
                <a:xfrm>
                  <a:off x="894795" y="11073287"/>
                  <a:ext cx="2063496" cy="28388"/>
                  <a:chOff x="894795" y="11073287"/>
                  <a:chExt cx="2063496" cy="28388"/>
                </a:xfrm>
              </p:grpSpPr>
              <p:cxnSp>
                <p:nvCxnSpPr>
                  <p:cNvPr id="80" name="Straight Connector 79">
                    <a:extLst>
                      <a:ext uri="{FF2B5EF4-FFF2-40B4-BE49-F238E27FC236}">
                        <a16:creationId xmlns:a16="http://schemas.microsoft.com/office/drawing/2014/main" id="{96F8F94A-CE05-BB67-18A3-1A91560B7F7C}"/>
                      </a:ext>
                    </a:extLst>
                  </p:cNvPr>
                  <p:cNvCxnSpPr>
                    <a:cxnSpLocks/>
                  </p:cNvCxnSpPr>
                  <p:nvPr/>
                </p:nvCxnSpPr>
                <p:spPr>
                  <a:xfrm rot="16200000">
                    <a:off x="2531397" y="11087481"/>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1F35C34-EFD1-8BDB-10FF-F0DD78C4854D}"/>
                      </a:ext>
                    </a:extLst>
                  </p:cNvPr>
                  <p:cNvCxnSpPr>
                    <a:cxnSpLocks/>
                  </p:cNvCxnSpPr>
                  <p:nvPr/>
                </p:nvCxnSpPr>
                <p:spPr>
                  <a:xfrm rot="16200000">
                    <a:off x="2118698" y="11087481"/>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AF41C36-B31A-C0C0-C3D7-C07847299233}"/>
                      </a:ext>
                    </a:extLst>
                  </p:cNvPr>
                  <p:cNvCxnSpPr>
                    <a:cxnSpLocks/>
                  </p:cNvCxnSpPr>
                  <p:nvPr/>
                </p:nvCxnSpPr>
                <p:spPr>
                  <a:xfrm rot="16200000">
                    <a:off x="1705999" y="11087481"/>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5D6F94F-56A6-780B-25DC-E417B64BF3B4}"/>
                      </a:ext>
                    </a:extLst>
                  </p:cNvPr>
                  <p:cNvCxnSpPr>
                    <a:cxnSpLocks/>
                  </p:cNvCxnSpPr>
                  <p:nvPr/>
                </p:nvCxnSpPr>
                <p:spPr>
                  <a:xfrm rot="16200000">
                    <a:off x="1293300" y="11087481"/>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28A3A69-3891-EDB2-949F-47E7267185A4}"/>
                      </a:ext>
                    </a:extLst>
                  </p:cNvPr>
                  <p:cNvCxnSpPr>
                    <a:cxnSpLocks/>
                  </p:cNvCxnSpPr>
                  <p:nvPr/>
                </p:nvCxnSpPr>
                <p:spPr>
                  <a:xfrm rot="16200000">
                    <a:off x="880601" y="11087481"/>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DBEAEAA-C0A6-4B13-9912-9D5FC6054669}"/>
                      </a:ext>
                    </a:extLst>
                  </p:cNvPr>
                  <p:cNvCxnSpPr>
                    <a:cxnSpLocks/>
                  </p:cNvCxnSpPr>
                  <p:nvPr/>
                </p:nvCxnSpPr>
                <p:spPr>
                  <a:xfrm rot="16200000">
                    <a:off x="2944097" y="11087481"/>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79" name="Straight Connector 78">
                  <a:extLst>
                    <a:ext uri="{FF2B5EF4-FFF2-40B4-BE49-F238E27FC236}">
                      <a16:creationId xmlns:a16="http://schemas.microsoft.com/office/drawing/2014/main" id="{4B20D701-AAFB-9EC4-4E6E-EC8FA308A938}"/>
                    </a:ext>
                  </a:extLst>
                </p:cNvPr>
                <p:cNvCxnSpPr>
                  <a:cxnSpLocks/>
                </p:cNvCxnSpPr>
                <p:nvPr/>
              </p:nvCxnSpPr>
              <p:spPr>
                <a:xfrm>
                  <a:off x="729295" y="11006208"/>
                  <a:ext cx="2759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75" name="Straight Connector 74">
                <a:extLst>
                  <a:ext uri="{FF2B5EF4-FFF2-40B4-BE49-F238E27FC236}">
                    <a16:creationId xmlns:a16="http://schemas.microsoft.com/office/drawing/2014/main" id="{2C898752-1043-96C9-3B94-41153F155285}"/>
                  </a:ext>
                </a:extLst>
              </p:cNvPr>
              <p:cNvCxnSpPr>
                <a:cxnSpLocks/>
              </p:cNvCxnSpPr>
              <p:nvPr/>
            </p:nvCxnSpPr>
            <p:spPr>
              <a:xfrm rot="16200000">
                <a:off x="3354353" y="11087481"/>
                <a:ext cx="283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DA2B174A-3239-7515-AF83-AA817EA0B97A}"/>
                </a:ext>
              </a:extLst>
            </p:cNvPr>
            <p:cNvGrpSpPr/>
            <p:nvPr/>
          </p:nvGrpSpPr>
          <p:grpSpPr>
            <a:xfrm>
              <a:off x="878186" y="10248324"/>
              <a:ext cx="2507225" cy="840508"/>
              <a:chOff x="878186" y="10184824"/>
              <a:chExt cx="2507225" cy="840508"/>
            </a:xfrm>
          </p:grpSpPr>
          <p:sp>
            <p:nvSpPr>
              <p:cNvPr id="57" name="Freeform: Shape 56">
                <a:extLst>
                  <a:ext uri="{FF2B5EF4-FFF2-40B4-BE49-F238E27FC236}">
                    <a16:creationId xmlns:a16="http://schemas.microsoft.com/office/drawing/2014/main" id="{24A48428-72A1-2BE6-93E2-6B118C53E13E}"/>
                  </a:ext>
                </a:extLst>
              </p:cNvPr>
              <p:cNvSpPr/>
              <p:nvPr/>
            </p:nvSpPr>
            <p:spPr>
              <a:xfrm>
                <a:off x="894303" y="10244295"/>
                <a:ext cx="2474407" cy="761162"/>
              </a:xfrm>
              <a:custGeom>
                <a:avLst/>
                <a:gdLst>
                  <a:gd name="connsiteX0" fmla="*/ 2474407 w 2474407"/>
                  <a:gd name="connsiteY0" fmla="*/ 0 h 761162"/>
                  <a:gd name="connsiteX1" fmla="*/ 2062424 w 2474407"/>
                  <a:gd name="connsiteY1" fmla="*/ 7536 h 761162"/>
                  <a:gd name="connsiteX2" fmla="*/ 1645418 w 2474407"/>
                  <a:gd name="connsiteY2" fmla="*/ 120580 h 761162"/>
                  <a:gd name="connsiteX3" fmla="*/ 1238460 w 2474407"/>
                  <a:gd name="connsiteY3" fmla="*/ 236136 h 761162"/>
                  <a:gd name="connsiteX4" fmla="*/ 828989 w 2474407"/>
                  <a:gd name="connsiteY4" fmla="*/ 316523 h 761162"/>
                  <a:gd name="connsiteX5" fmla="*/ 411983 w 2474407"/>
                  <a:gd name="connsiteY5" fmla="*/ 391885 h 761162"/>
                  <a:gd name="connsiteX6" fmla="*/ 0 w 2474407"/>
                  <a:gd name="connsiteY6" fmla="*/ 761162 h 76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4407" h="761162">
                    <a:moveTo>
                      <a:pt x="2474407" y="0"/>
                    </a:moveTo>
                    <a:lnTo>
                      <a:pt x="2062424" y="7536"/>
                    </a:lnTo>
                    <a:lnTo>
                      <a:pt x="1645418" y="120580"/>
                    </a:lnTo>
                    <a:lnTo>
                      <a:pt x="1238460" y="236136"/>
                    </a:lnTo>
                    <a:lnTo>
                      <a:pt x="828989" y="316523"/>
                    </a:lnTo>
                    <a:lnTo>
                      <a:pt x="411983" y="391885"/>
                    </a:lnTo>
                    <a:lnTo>
                      <a:pt x="0" y="761162"/>
                    </a:lnTo>
                  </a:path>
                </a:pathLst>
              </a:custGeom>
              <a:noFill/>
              <a:ln w="28575">
                <a:solidFill>
                  <a:srgbClr val="7CA74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a:p>
            </p:txBody>
          </p:sp>
          <p:grpSp>
            <p:nvGrpSpPr>
              <p:cNvPr id="58" name="Group 57">
                <a:extLst>
                  <a:ext uri="{FF2B5EF4-FFF2-40B4-BE49-F238E27FC236}">
                    <a16:creationId xmlns:a16="http://schemas.microsoft.com/office/drawing/2014/main" id="{F7ED4417-1798-C951-D4E7-52C75171B53A}"/>
                  </a:ext>
                </a:extLst>
              </p:cNvPr>
              <p:cNvGrpSpPr/>
              <p:nvPr/>
            </p:nvGrpSpPr>
            <p:grpSpPr>
              <a:xfrm>
                <a:off x="878186" y="10184824"/>
                <a:ext cx="2507225" cy="840508"/>
                <a:chOff x="878186" y="10184824"/>
                <a:chExt cx="2507225" cy="840508"/>
              </a:xfrm>
            </p:grpSpPr>
            <p:grpSp>
              <p:nvGrpSpPr>
                <p:cNvPr id="59" name="Group 58">
                  <a:extLst>
                    <a:ext uri="{FF2B5EF4-FFF2-40B4-BE49-F238E27FC236}">
                      <a16:creationId xmlns:a16="http://schemas.microsoft.com/office/drawing/2014/main" id="{5AA16C92-807F-38DE-E460-B12A949932B8}"/>
                    </a:ext>
                  </a:extLst>
                </p:cNvPr>
                <p:cNvGrpSpPr/>
                <p:nvPr/>
              </p:nvGrpSpPr>
              <p:grpSpPr>
                <a:xfrm>
                  <a:off x="1288622" y="10184824"/>
                  <a:ext cx="2096789" cy="494062"/>
                  <a:chOff x="1288622" y="10184824"/>
                  <a:chExt cx="2096789" cy="494062"/>
                </a:xfrm>
              </p:grpSpPr>
              <p:sp>
                <p:nvSpPr>
                  <p:cNvPr id="68" name="Graphic 5435">
                    <a:extLst>
                      <a:ext uri="{FF2B5EF4-FFF2-40B4-BE49-F238E27FC236}">
                        <a16:creationId xmlns:a16="http://schemas.microsoft.com/office/drawing/2014/main" id="{0A1015B0-41FC-0ADD-F39B-47A313401002}"/>
                      </a:ext>
                    </a:extLst>
                  </p:cNvPr>
                  <p:cNvSpPr/>
                  <p:nvPr/>
                </p:nvSpPr>
                <p:spPr>
                  <a:xfrm>
                    <a:off x="3347776" y="10184824"/>
                    <a:ext cx="37635" cy="121062"/>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bg1">
                        <a:lumMod val="50000"/>
                      </a:schemeClr>
                    </a:solidFill>
                    <a:prstDash val="solid"/>
                    <a:miter/>
                  </a:ln>
                </p:spPr>
                <p:txBody>
                  <a:bodyPr rtlCol="0" anchor="ctr"/>
                  <a:lstStyle/>
                  <a:p>
                    <a:endParaRPr lang="en-US" sz="1000"/>
                  </a:p>
                </p:txBody>
              </p:sp>
              <p:sp>
                <p:nvSpPr>
                  <p:cNvPr id="69" name="Graphic 5435">
                    <a:extLst>
                      <a:ext uri="{FF2B5EF4-FFF2-40B4-BE49-F238E27FC236}">
                        <a16:creationId xmlns:a16="http://schemas.microsoft.com/office/drawing/2014/main" id="{BD29A35C-B489-6EBF-26CC-92D6E34BF248}"/>
                      </a:ext>
                    </a:extLst>
                  </p:cNvPr>
                  <p:cNvSpPr/>
                  <p:nvPr/>
                </p:nvSpPr>
                <p:spPr>
                  <a:xfrm>
                    <a:off x="2941672" y="10194722"/>
                    <a:ext cx="37635" cy="116338"/>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bg1">
                        <a:lumMod val="50000"/>
                      </a:schemeClr>
                    </a:solidFill>
                    <a:prstDash val="solid"/>
                    <a:miter/>
                  </a:ln>
                </p:spPr>
                <p:txBody>
                  <a:bodyPr rtlCol="0" anchor="ctr"/>
                  <a:lstStyle/>
                  <a:p>
                    <a:endParaRPr lang="en-US" sz="1000"/>
                  </a:p>
                </p:txBody>
              </p:sp>
              <p:sp>
                <p:nvSpPr>
                  <p:cNvPr id="70" name="Graphic 5435">
                    <a:extLst>
                      <a:ext uri="{FF2B5EF4-FFF2-40B4-BE49-F238E27FC236}">
                        <a16:creationId xmlns:a16="http://schemas.microsoft.com/office/drawing/2014/main" id="{77A99642-D6E3-09D0-54C9-D2F97332815C}"/>
                      </a:ext>
                    </a:extLst>
                  </p:cNvPr>
                  <p:cNvSpPr/>
                  <p:nvPr/>
                </p:nvSpPr>
                <p:spPr>
                  <a:xfrm>
                    <a:off x="2527006" y="10296093"/>
                    <a:ext cx="37635" cy="136608"/>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bg1">
                        <a:lumMod val="50000"/>
                      </a:schemeClr>
                    </a:solidFill>
                    <a:prstDash val="solid"/>
                    <a:miter/>
                  </a:ln>
                </p:spPr>
                <p:txBody>
                  <a:bodyPr rtlCol="0" anchor="ctr"/>
                  <a:lstStyle/>
                  <a:p>
                    <a:endParaRPr lang="en-US" sz="1000"/>
                  </a:p>
                </p:txBody>
              </p:sp>
              <p:sp>
                <p:nvSpPr>
                  <p:cNvPr id="71" name="Graphic 5435">
                    <a:extLst>
                      <a:ext uri="{FF2B5EF4-FFF2-40B4-BE49-F238E27FC236}">
                        <a16:creationId xmlns:a16="http://schemas.microsoft.com/office/drawing/2014/main" id="{9E79AD2C-7FF4-420C-D153-D6E30FC21E9B}"/>
                      </a:ext>
                    </a:extLst>
                  </p:cNvPr>
                  <p:cNvSpPr/>
                  <p:nvPr/>
                </p:nvSpPr>
                <p:spPr>
                  <a:xfrm>
                    <a:off x="2114261" y="10421698"/>
                    <a:ext cx="37635" cy="114000"/>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bg1">
                        <a:lumMod val="50000"/>
                      </a:schemeClr>
                    </a:solidFill>
                    <a:prstDash val="solid"/>
                    <a:miter/>
                  </a:ln>
                </p:spPr>
                <p:txBody>
                  <a:bodyPr rtlCol="0" anchor="ctr"/>
                  <a:lstStyle/>
                  <a:p>
                    <a:endParaRPr lang="en-US" sz="1000"/>
                  </a:p>
                </p:txBody>
              </p:sp>
              <p:sp>
                <p:nvSpPr>
                  <p:cNvPr id="72" name="Graphic 5435">
                    <a:extLst>
                      <a:ext uri="{FF2B5EF4-FFF2-40B4-BE49-F238E27FC236}">
                        <a16:creationId xmlns:a16="http://schemas.microsoft.com/office/drawing/2014/main" id="{29CFBA8F-0D16-948F-B42B-B4670C7418BF}"/>
                      </a:ext>
                    </a:extLst>
                  </p:cNvPr>
                  <p:cNvSpPr/>
                  <p:nvPr/>
                </p:nvSpPr>
                <p:spPr>
                  <a:xfrm>
                    <a:off x="1703953" y="10501247"/>
                    <a:ext cx="37635" cy="117350"/>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bg1">
                        <a:lumMod val="50000"/>
                      </a:schemeClr>
                    </a:solidFill>
                    <a:prstDash val="solid"/>
                    <a:miter/>
                  </a:ln>
                </p:spPr>
                <p:txBody>
                  <a:bodyPr rtlCol="0" anchor="ctr"/>
                  <a:lstStyle/>
                  <a:p>
                    <a:endParaRPr lang="en-US" sz="1000"/>
                  </a:p>
                </p:txBody>
              </p:sp>
              <p:sp>
                <p:nvSpPr>
                  <p:cNvPr id="73" name="Graphic 5435">
                    <a:extLst>
                      <a:ext uri="{FF2B5EF4-FFF2-40B4-BE49-F238E27FC236}">
                        <a16:creationId xmlns:a16="http://schemas.microsoft.com/office/drawing/2014/main" id="{0F30C8FC-DA76-6B9F-3F6A-5D8B800B0D81}"/>
                      </a:ext>
                    </a:extLst>
                  </p:cNvPr>
                  <p:cNvSpPr/>
                  <p:nvPr/>
                </p:nvSpPr>
                <p:spPr>
                  <a:xfrm>
                    <a:off x="1288622" y="10595870"/>
                    <a:ext cx="37635" cy="83016"/>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bg1">
                        <a:lumMod val="50000"/>
                      </a:schemeClr>
                    </a:solidFill>
                    <a:prstDash val="solid"/>
                    <a:miter/>
                  </a:ln>
                </p:spPr>
                <p:txBody>
                  <a:bodyPr rtlCol="0" anchor="ctr"/>
                  <a:lstStyle/>
                  <a:p>
                    <a:endParaRPr lang="en-US" sz="1000"/>
                  </a:p>
                </p:txBody>
              </p:sp>
            </p:grpSp>
            <p:grpSp>
              <p:nvGrpSpPr>
                <p:cNvPr id="60" name="Group 59">
                  <a:extLst>
                    <a:ext uri="{FF2B5EF4-FFF2-40B4-BE49-F238E27FC236}">
                      <a16:creationId xmlns:a16="http://schemas.microsoft.com/office/drawing/2014/main" id="{517E4114-D226-E921-AF82-0B9C527A1056}"/>
                    </a:ext>
                  </a:extLst>
                </p:cNvPr>
                <p:cNvGrpSpPr/>
                <p:nvPr/>
              </p:nvGrpSpPr>
              <p:grpSpPr>
                <a:xfrm>
                  <a:off x="878186" y="10227278"/>
                  <a:ext cx="2504841" cy="798054"/>
                  <a:chOff x="878186" y="10227278"/>
                  <a:chExt cx="2504841" cy="798054"/>
                </a:xfrm>
              </p:grpSpPr>
              <p:sp>
                <p:nvSpPr>
                  <p:cNvPr id="61" name="Rectangle 860">
                    <a:extLst>
                      <a:ext uri="{FF2B5EF4-FFF2-40B4-BE49-F238E27FC236}">
                        <a16:creationId xmlns:a16="http://schemas.microsoft.com/office/drawing/2014/main" id="{A0B15DE2-7E41-2542-71FB-2F75ADDC0A03}"/>
                      </a:ext>
                    </a:extLst>
                  </p:cNvPr>
                  <p:cNvSpPr>
                    <a:spLocks noChangeArrowheads="1"/>
                  </p:cNvSpPr>
                  <p:nvPr/>
                </p:nvSpPr>
                <p:spPr bwMode="auto">
                  <a:xfrm>
                    <a:off x="3350160" y="10227278"/>
                    <a:ext cx="32867" cy="36154"/>
                  </a:xfrm>
                  <a:prstGeom prst="rect">
                    <a:avLst/>
                  </a:prstGeom>
                  <a:noFill/>
                  <a:ln w="254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62" name="Rectangle 860">
                    <a:extLst>
                      <a:ext uri="{FF2B5EF4-FFF2-40B4-BE49-F238E27FC236}">
                        <a16:creationId xmlns:a16="http://schemas.microsoft.com/office/drawing/2014/main" id="{164F78AC-5C31-1534-5E89-B6807F5003E0}"/>
                      </a:ext>
                    </a:extLst>
                  </p:cNvPr>
                  <p:cNvSpPr>
                    <a:spLocks noChangeArrowheads="1"/>
                  </p:cNvSpPr>
                  <p:nvPr/>
                </p:nvSpPr>
                <p:spPr bwMode="auto">
                  <a:xfrm>
                    <a:off x="2944056" y="10234814"/>
                    <a:ext cx="32867" cy="36154"/>
                  </a:xfrm>
                  <a:prstGeom prst="rect">
                    <a:avLst/>
                  </a:prstGeom>
                  <a:noFill/>
                  <a:ln w="254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63" name="Rectangle 860">
                    <a:extLst>
                      <a:ext uri="{FF2B5EF4-FFF2-40B4-BE49-F238E27FC236}">
                        <a16:creationId xmlns:a16="http://schemas.microsoft.com/office/drawing/2014/main" id="{880F70A8-57E2-2AE9-DE36-BCB6FCC00347}"/>
                      </a:ext>
                    </a:extLst>
                  </p:cNvPr>
                  <p:cNvSpPr>
                    <a:spLocks noChangeArrowheads="1"/>
                  </p:cNvSpPr>
                  <p:nvPr/>
                </p:nvSpPr>
                <p:spPr bwMode="auto">
                  <a:xfrm>
                    <a:off x="2529390" y="10343572"/>
                    <a:ext cx="32867" cy="36154"/>
                  </a:xfrm>
                  <a:prstGeom prst="rect">
                    <a:avLst/>
                  </a:prstGeom>
                  <a:noFill/>
                  <a:ln w="254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64" name="Rectangle 860">
                    <a:extLst>
                      <a:ext uri="{FF2B5EF4-FFF2-40B4-BE49-F238E27FC236}">
                        <a16:creationId xmlns:a16="http://schemas.microsoft.com/office/drawing/2014/main" id="{EAAD7006-F50A-2F3D-1DED-5236B936A921}"/>
                      </a:ext>
                    </a:extLst>
                  </p:cNvPr>
                  <p:cNvSpPr>
                    <a:spLocks noChangeArrowheads="1"/>
                  </p:cNvSpPr>
                  <p:nvPr/>
                </p:nvSpPr>
                <p:spPr bwMode="auto">
                  <a:xfrm>
                    <a:off x="2116645" y="10459128"/>
                    <a:ext cx="32867" cy="36154"/>
                  </a:xfrm>
                  <a:prstGeom prst="rect">
                    <a:avLst/>
                  </a:prstGeom>
                  <a:noFill/>
                  <a:ln w="254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65" name="Rectangle 860">
                    <a:extLst>
                      <a:ext uri="{FF2B5EF4-FFF2-40B4-BE49-F238E27FC236}">
                        <a16:creationId xmlns:a16="http://schemas.microsoft.com/office/drawing/2014/main" id="{697368E8-4877-8408-832E-E30FEBE883CE}"/>
                      </a:ext>
                    </a:extLst>
                  </p:cNvPr>
                  <p:cNvSpPr>
                    <a:spLocks noChangeArrowheads="1"/>
                  </p:cNvSpPr>
                  <p:nvPr/>
                </p:nvSpPr>
                <p:spPr bwMode="auto">
                  <a:xfrm>
                    <a:off x="1706337" y="10543700"/>
                    <a:ext cx="32867" cy="36154"/>
                  </a:xfrm>
                  <a:prstGeom prst="rect">
                    <a:avLst/>
                  </a:prstGeom>
                  <a:noFill/>
                  <a:ln w="254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66" name="Rectangle 860">
                    <a:extLst>
                      <a:ext uri="{FF2B5EF4-FFF2-40B4-BE49-F238E27FC236}">
                        <a16:creationId xmlns:a16="http://schemas.microsoft.com/office/drawing/2014/main" id="{B87E4F63-D4D9-0253-91B8-71263A8BC86E}"/>
                      </a:ext>
                    </a:extLst>
                  </p:cNvPr>
                  <p:cNvSpPr>
                    <a:spLocks noChangeArrowheads="1"/>
                  </p:cNvSpPr>
                  <p:nvPr/>
                </p:nvSpPr>
                <p:spPr bwMode="auto">
                  <a:xfrm>
                    <a:off x="1291006" y="10618226"/>
                    <a:ext cx="32867" cy="36154"/>
                  </a:xfrm>
                  <a:prstGeom prst="rect">
                    <a:avLst/>
                  </a:prstGeom>
                  <a:noFill/>
                  <a:ln w="254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67" name="Rectangle 860">
                    <a:extLst>
                      <a:ext uri="{FF2B5EF4-FFF2-40B4-BE49-F238E27FC236}">
                        <a16:creationId xmlns:a16="http://schemas.microsoft.com/office/drawing/2014/main" id="{14FE57B3-884B-BF13-B745-7114A9C31F3E}"/>
                      </a:ext>
                    </a:extLst>
                  </p:cNvPr>
                  <p:cNvSpPr>
                    <a:spLocks noChangeArrowheads="1"/>
                  </p:cNvSpPr>
                  <p:nvPr/>
                </p:nvSpPr>
                <p:spPr bwMode="auto">
                  <a:xfrm>
                    <a:off x="878186" y="10989178"/>
                    <a:ext cx="32867" cy="36154"/>
                  </a:xfrm>
                  <a:prstGeom prst="rect">
                    <a:avLst/>
                  </a:prstGeom>
                  <a:noFill/>
                  <a:ln w="254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grpSp>
          </p:grpSp>
        </p:grpSp>
        <p:sp>
          <p:nvSpPr>
            <p:cNvPr id="35" name="Freeform: Shape 34">
              <a:extLst>
                <a:ext uri="{FF2B5EF4-FFF2-40B4-BE49-F238E27FC236}">
                  <a16:creationId xmlns:a16="http://schemas.microsoft.com/office/drawing/2014/main" id="{8FB845E4-FB52-B349-2123-32D85ADBCC27}"/>
                </a:ext>
              </a:extLst>
            </p:cNvPr>
            <p:cNvSpPr/>
            <p:nvPr/>
          </p:nvSpPr>
          <p:spPr>
            <a:xfrm>
              <a:off x="891791" y="10076682"/>
              <a:ext cx="2476919" cy="997299"/>
            </a:xfrm>
            <a:custGeom>
              <a:avLst/>
              <a:gdLst>
                <a:gd name="connsiteX0" fmla="*/ 2476919 w 2476919"/>
                <a:gd name="connsiteY0" fmla="*/ 0 h 997299"/>
                <a:gd name="connsiteX1" fmla="*/ 2064936 w 2476919"/>
                <a:gd name="connsiteY1" fmla="*/ 7537 h 997299"/>
                <a:gd name="connsiteX2" fmla="*/ 1650442 w 2476919"/>
                <a:gd name="connsiteY2" fmla="*/ 82899 h 997299"/>
                <a:gd name="connsiteX3" fmla="*/ 1238460 w 2476919"/>
                <a:gd name="connsiteY3" fmla="*/ 208504 h 997299"/>
                <a:gd name="connsiteX4" fmla="*/ 826477 w 2476919"/>
                <a:gd name="connsiteY4" fmla="*/ 308987 h 997299"/>
                <a:gd name="connsiteX5" fmla="*/ 411983 w 2476919"/>
                <a:gd name="connsiteY5" fmla="*/ 530051 h 997299"/>
                <a:gd name="connsiteX6" fmla="*/ 0 w 2476919"/>
                <a:gd name="connsiteY6" fmla="*/ 997299 h 99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6919" h="997299">
                  <a:moveTo>
                    <a:pt x="2476919" y="0"/>
                  </a:moveTo>
                  <a:lnTo>
                    <a:pt x="2064936" y="7537"/>
                  </a:lnTo>
                  <a:lnTo>
                    <a:pt x="1650442" y="82899"/>
                  </a:lnTo>
                  <a:lnTo>
                    <a:pt x="1238460" y="208504"/>
                  </a:lnTo>
                  <a:lnTo>
                    <a:pt x="826477" y="308987"/>
                  </a:lnTo>
                  <a:lnTo>
                    <a:pt x="411983" y="530051"/>
                  </a:lnTo>
                  <a:lnTo>
                    <a:pt x="0" y="997299"/>
                  </a:lnTo>
                </a:path>
              </a:pathLst>
            </a:cu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6" name="Graphic 5435">
              <a:extLst>
                <a:ext uri="{FF2B5EF4-FFF2-40B4-BE49-F238E27FC236}">
                  <a16:creationId xmlns:a16="http://schemas.microsoft.com/office/drawing/2014/main" id="{266B6C44-5EAE-13B8-5998-6FC3B916AF79}"/>
                </a:ext>
              </a:extLst>
            </p:cNvPr>
            <p:cNvSpPr/>
            <p:nvPr/>
          </p:nvSpPr>
          <p:spPr>
            <a:xfrm>
              <a:off x="3347776" y="10023928"/>
              <a:ext cx="37635" cy="99767"/>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accent3"/>
              </a:solidFill>
              <a:prstDash val="solid"/>
              <a:miter/>
            </a:ln>
          </p:spPr>
          <p:txBody>
            <a:bodyPr rtlCol="0" anchor="ctr"/>
            <a:lstStyle/>
            <a:p>
              <a:endParaRPr lang="en-US" sz="1000"/>
            </a:p>
          </p:txBody>
        </p:sp>
        <p:sp>
          <p:nvSpPr>
            <p:cNvPr id="37" name="Graphic 5435">
              <a:extLst>
                <a:ext uri="{FF2B5EF4-FFF2-40B4-BE49-F238E27FC236}">
                  <a16:creationId xmlns:a16="http://schemas.microsoft.com/office/drawing/2014/main" id="{726CEAF5-722D-D982-7F5C-2CD3B852B69C}"/>
                </a:ext>
              </a:extLst>
            </p:cNvPr>
            <p:cNvSpPr/>
            <p:nvPr/>
          </p:nvSpPr>
          <p:spPr>
            <a:xfrm flipV="1">
              <a:off x="2941672" y="10038436"/>
              <a:ext cx="37635" cy="91000"/>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accent3"/>
              </a:solidFill>
              <a:prstDash val="solid"/>
              <a:miter/>
            </a:ln>
          </p:spPr>
          <p:txBody>
            <a:bodyPr rtlCol="0" anchor="ctr"/>
            <a:lstStyle/>
            <a:p>
              <a:endParaRPr lang="en-US" sz="1000"/>
            </a:p>
          </p:txBody>
        </p:sp>
        <p:sp>
          <p:nvSpPr>
            <p:cNvPr id="38" name="Graphic 5435">
              <a:extLst>
                <a:ext uri="{FF2B5EF4-FFF2-40B4-BE49-F238E27FC236}">
                  <a16:creationId xmlns:a16="http://schemas.microsoft.com/office/drawing/2014/main" id="{EA2FD29B-2BFB-5CFA-00B0-E87713EA523B}"/>
                </a:ext>
              </a:extLst>
            </p:cNvPr>
            <p:cNvSpPr/>
            <p:nvPr/>
          </p:nvSpPr>
          <p:spPr>
            <a:xfrm>
              <a:off x="2527006" y="10104313"/>
              <a:ext cx="37635" cy="102997"/>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accent3"/>
              </a:solidFill>
              <a:prstDash val="solid"/>
              <a:miter/>
            </a:ln>
          </p:spPr>
          <p:txBody>
            <a:bodyPr rtlCol="0" anchor="ctr"/>
            <a:lstStyle/>
            <a:p>
              <a:endParaRPr lang="en-US" sz="1000"/>
            </a:p>
          </p:txBody>
        </p:sp>
        <p:sp>
          <p:nvSpPr>
            <p:cNvPr id="39" name="Graphic 5435">
              <a:extLst>
                <a:ext uri="{FF2B5EF4-FFF2-40B4-BE49-F238E27FC236}">
                  <a16:creationId xmlns:a16="http://schemas.microsoft.com/office/drawing/2014/main" id="{BFB7CF76-3648-67AD-DB97-3B959FC590D4}"/>
                </a:ext>
              </a:extLst>
            </p:cNvPr>
            <p:cNvSpPr/>
            <p:nvPr/>
          </p:nvSpPr>
          <p:spPr>
            <a:xfrm>
              <a:off x="2114261" y="10237456"/>
              <a:ext cx="37635" cy="102996"/>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accent3"/>
              </a:solidFill>
              <a:prstDash val="solid"/>
              <a:miter/>
            </a:ln>
          </p:spPr>
          <p:txBody>
            <a:bodyPr rtlCol="0" anchor="ctr"/>
            <a:lstStyle/>
            <a:p>
              <a:endParaRPr lang="en-US" sz="1000"/>
            </a:p>
          </p:txBody>
        </p:sp>
        <p:sp>
          <p:nvSpPr>
            <p:cNvPr id="40" name="Graphic 5435">
              <a:extLst>
                <a:ext uri="{FF2B5EF4-FFF2-40B4-BE49-F238E27FC236}">
                  <a16:creationId xmlns:a16="http://schemas.microsoft.com/office/drawing/2014/main" id="{337BE030-DF15-D46F-8B1C-A0AC2337D6C0}"/>
                </a:ext>
              </a:extLst>
            </p:cNvPr>
            <p:cNvSpPr/>
            <p:nvPr/>
          </p:nvSpPr>
          <p:spPr>
            <a:xfrm>
              <a:off x="1703953" y="10335427"/>
              <a:ext cx="37635" cy="102996"/>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accent3"/>
              </a:solidFill>
              <a:prstDash val="solid"/>
              <a:miter/>
            </a:ln>
          </p:spPr>
          <p:txBody>
            <a:bodyPr rtlCol="0" anchor="ctr"/>
            <a:lstStyle/>
            <a:p>
              <a:endParaRPr lang="en-US" sz="1000"/>
            </a:p>
          </p:txBody>
        </p:sp>
        <p:sp>
          <p:nvSpPr>
            <p:cNvPr id="41" name="Graphic 5435">
              <a:extLst>
                <a:ext uri="{FF2B5EF4-FFF2-40B4-BE49-F238E27FC236}">
                  <a16:creationId xmlns:a16="http://schemas.microsoft.com/office/drawing/2014/main" id="{AD3426B2-A12C-3F25-9EDF-8DEE46AB3E41}"/>
                </a:ext>
              </a:extLst>
            </p:cNvPr>
            <p:cNvSpPr/>
            <p:nvPr/>
          </p:nvSpPr>
          <p:spPr>
            <a:xfrm>
              <a:off x="1288622" y="10559001"/>
              <a:ext cx="37635" cy="90436"/>
            </a:xfrm>
            <a:custGeom>
              <a:avLst/>
              <a:gdLst>
                <a:gd name="connsiteX0" fmla="*/ 126367 w 253183"/>
                <a:gd name="connsiteY0" fmla="*/ 0 h 2732407"/>
                <a:gd name="connsiteX1" fmla="*/ 126367 w 253183"/>
                <a:gd name="connsiteY1" fmla="*/ 2732407 h 2732407"/>
                <a:gd name="connsiteX2" fmla="*/ 0 w 253183"/>
                <a:gd name="connsiteY2" fmla="*/ 0 h 2732407"/>
                <a:gd name="connsiteX3" fmla="*/ 253184 w 253183"/>
                <a:gd name="connsiteY3" fmla="*/ 0 h 2732407"/>
                <a:gd name="connsiteX4" fmla="*/ 0 w 253183"/>
                <a:gd name="connsiteY4" fmla="*/ 2732407 h 2732407"/>
                <a:gd name="connsiteX5" fmla="*/ 253184 w 253183"/>
                <a:gd name="connsiteY5" fmla="*/ 2732407 h 273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183" h="2732407">
                  <a:moveTo>
                    <a:pt x="126367" y="0"/>
                  </a:moveTo>
                  <a:lnTo>
                    <a:pt x="126367" y="2732407"/>
                  </a:lnTo>
                  <a:moveTo>
                    <a:pt x="0" y="0"/>
                  </a:moveTo>
                  <a:lnTo>
                    <a:pt x="253184" y="0"/>
                  </a:lnTo>
                  <a:moveTo>
                    <a:pt x="0" y="2732407"/>
                  </a:moveTo>
                  <a:lnTo>
                    <a:pt x="253184" y="2732407"/>
                  </a:lnTo>
                </a:path>
              </a:pathLst>
            </a:custGeom>
            <a:noFill/>
            <a:ln w="8001" cap="flat">
              <a:solidFill>
                <a:schemeClr val="accent3"/>
              </a:solidFill>
              <a:prstDash val="solid"/>
              <a:miter/>
            </a:ln>
          </p:spPr>
          <p:txBody>
            <a:bodyPr rtlCol="0" anchor="ctr"/>
            <a:lstStyle/>
            <a:p>
              <a:endParaRPr lang="en-US" sz="1000"/>
            </a:p>
          </p:txBody>
        </p:sp>
        <p:grpSp>
          <p:nvGrpSpPr>
            <p:cNvPr id="42" name="Group 41">
              <a:extLst>
                <a:ext uri="{FF2B5EF4-FFF2-40B4-BE49-F238E27FC236}">
                  <a16:creationId xmlns:a16="http://schemas.microsoft.com/office/drawing/2014/main" id="{BB171DC4-882C-C7AC-2907-4F2DFF352A1F}"/>
                </a:ext>
              </a:extLst>
            </p:cNvPr>
            <p:cNvGrpSpPr/>
            <p:nvPr/>
          </p:nvGrpSpPr>
          <p:grpSpPr>
            <a:xfrm>
              <a:off x="864324" y="10045256"/>
              <a:ext cx="2532565" cy="1053215"/>
              <a:chOff x="864324" y="9981756"/>
              <a:chExt cx="2532565" cy="1053215"/>
            </a:xfrm>
          </p:grpSpPr>
          <p:sp>
            <p:nvSpPr>
              <p:cNvPr id="50" name="Rectangle 860">
                <a:extLst>
                  <a:ext uri="{FF2B5EF4-FFF2-40B4-BE49-F238E27FC236}">
                    <a16:creationId xmlns:a16="http://schemas.microsoft.com/office/drawing/2014/main" id="{CE64033B-518D-F843-F7D8-0B68EF0BA6CE}"/>
                  </a:ext>
                </a:extLst>
              </p:cNvPr>
              <p:cNvSpPr>
                <a:spLocks noChangeAspect="1" noChangeArrowheads="1"/>
              </p:cNvSpPr>
              <p:nvPr/>
            </p:nvSpPr>
            <p:spPr bwMode="auto">
              <a:xfrm>
                <a:off x="3336298" y="9981756"/>
                <a:ext cx="60591" cy="60940"/>
              </a:xfrm>
              <a:prstGeom prst="mathMultiply">
                <a:avLst/>
              </a:prstGeom>
              <a:solidFill>
                <a:schemeClr val="accent3"/>
              </a:solidFill>
              <a:ln w="8001" cap="flat">
                <a:noFill/>
                <a:prstDash val="solid"/>
                <a:miter lim="800000"/>
                <a:headEnd/>
                <a:tailEnd/>
              </a:ln>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51" name="Rectangle 860">
                <a:extLst>
                  <a:ext uri="{FF2B5EF4-FFF2-40B4-BE49-F238E27FC236}">
                    <a16:creationId xmlns:a16="http://schemas.microsoft.com/office/drawing/2014/main" id="{75653243-D787-D56D-E65B-7EFD70D31A0F}"/>
                  </a:ext>
                </a:extLst>
              </p:cNvPr>
              <p:cNvSpPr>
                <a:spLocks noChangeAspect="1" noChangeArrowheads="1"/>
              </p:cNvSpPr>
              <p:nvPr/>
            </p:nvSpPr>
            <p:spPr bwMode="auto">
              <a:xfrm>
                <a:off x="2930194" y="9994316"/>
                <a:ext cx="60591" cy="60940"/>
              </a:xfrm>
              <a:prstGeom prst="mathMultiply">
                <a:avLst/>
              </a:prstGeom>
              <a:solidFill>
                <a:schemeClr val="accent3"/>
              </a:solidFill>
              <a:ln w="8001" cap="flat">
                <a:noFill/>
                <a:prstDash val="solid"/>
                <a:miter lim="800000"/>
                <a:headEnd/>
                <a:tailEnd/>
              </a:ln>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52" name="Rectangle 860">
                <a:extLst>
                  <a:ext uri="{FF2B5EF4-FFF2-40B4-BE49-F238E27FC236}">
                    <a16:creationId xmlns:a16="http://schemas.microsoft.com/office/drawing/2014/main" id="{DE992657-4DEF-E797-B719-AAE29C8C99C6}"/>
                  </a:ext>
                </a:extLst>
              </p:cNvPr>
              <p:cNvSpPr>
                <a:spLocks noChangeAspect="1" noChangeArrowheads="1"/>
              </p:cNvSpPr>
              <p:nvPr/>
            </p:nvSpPr>
            <p:spPr bwMode="auto">
              <a:xfrm>
                <a:off x="2515528" y="10064655"/>
                <a:ext cx="60591" cy="60940"/>
              </a:xfrm>
              <a:prstGeom prst="mathMultiply">
                <a:avLst/>
              </a:prstGeom>
              <a:solidFill>
                <a:schemeClr val="accent3"/>
              </a:solidFill>
              <a:ln w="8001" cap="flat">
                <a:noFill/>
                <a:prstDash val="solid"/>
                <a:miter lim="800000"/>
                <a:headEnd/>
                <a:tailEnd/>
              </a:ln>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53" name="Rectangle 860">
                <a:extLst>
                  <a:ext uri="{FF2B5EF4-FFF2-40B4-BE49-F238E27FC236}">
                    <a16:creationId xmlns:a16="http://schemas.microsoft.com/office/drawing/2014/main" id="{17E89CBB-45B5-0AF1-FF01-E7C4CFFF9F17}"/>
                  </a:ext>
                </a:extLst>
              </p:cNvPr>
              <p:cNvSpPr>
                <a:spLocks noChangeAspect="1" noChangeArrowheads="1"/>
              </p:cNvSpPr>
              <p:nvPr/>
            </p:nvSpPr>
            <p:spPr bwMode="auto">
              <a:xfrm>
                <a:off x="2102783" y="10192772"/>
                <a:ext cx="60591" cy="60940"/>
              </a:xfrm>
              <a:prstGeom prst="mathMultiply">
                <a:avLst/>
              </a:prstGeom>
              <a:solidFill>
                <a:schemeClr val="accent3"/>
              </a:solidFill>
              <a:ln w="8001" cap="flat">
                <a:noFill/>
                <a:prstDash val="solid"/>
                <a:miter lim="800000"/>
                <a:headEnd/>
                <a:tailEnd/>
              </a:ln>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54" name="Rectangle 860">
                <a:extLst>
                  <a:ext uri="{FF2B5EF4-FFF2-40B4-BE49-F238E27FC236}">
                    <a16:creationId xmlns:a16="http://schemas.microsoft.com/office/drawing/2014/main" id="{F3A83B93-7CA5-BCF1-31C2-35CC2F38A762}"/>
                  </a:ext>
                </a:extLst>
              </p:cNvPr>
              <p:cNvSpPr>
                <a:spLocks noChangeAspect="1" noChangeArrowheads="1"/>
              </p:cNvSpPr>
              <p:nvPr/>
            </p:nvSpPr>
            <p:spPr bwMode="auto">
              <a:xfrm>
                <a:off x="1692475" y="10293255"/>
                <a:ext cx="60591" cy="60940"/>
              </a:xfrm>
              <a:prstGeom prst="mathMultiply">
                <a:avLst/>
              </a:prstGeom>
              <a:solidFill>
                <a:schemeClr val="accent3"/>
              </a:solidFill>
              <a:ln w="8001" cap="flat">
                <a:noFill/>
                <a:prstDash val="solid"/>
                <a:miter lim="800000"/>
                <a:headEnd/>
                <a:tailEnd/>
              </a:ln>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55" name="Rectangle 860">
                <a:extLst>
                  <a:ext uri="{FF2B5EF4-FFF2-40B4-BE49-F238E27FC236}">
                    <a16:creationId xmlns:a16="http://schemas.microsoft.com/office/drawing/2014/main" id="{A1AD44CC-5AC1-8F14-F7DF-A87F145BD9DE}"/>
                  </a:ext>
                </a:extLst>
              </p:cNvPr>
              <p:cNvSpPr>
                <a:spLocks noChangeAspect="1" noChangeArrowheads="1"/>
              </p:cNvSpPr>
              <p:nvPr/>
            </p:nvSpPr>
            <p:spPr bwMode="auto">
              <a:xfrm>
                <a:off x="1277144" y="10511807"/>
                <a:ext cx="60591" cy="60940"/>
              </a:xfrm>
              <a:prstGeom prst="mathMultiply">
                <a:avLst/>
              </a:prstGeom>
              <a:solidFill>
                <a:schemeClr val="accent3"/>
              </a:solidFill>
              <a:ln w="8001" cap="flat">
                <a:noFill/>
                <a:prstDash val="solid"/>
                <a:miter lim="800000"/>
                <a:headEnd/>
                <a:tailEnd/>
              </a:ln>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56" name="Rectangle 860">
                <a:extLst>
                  <a:ext uri="{FF2B5EF4-FFF2-40B4-BE49-F238E27FC236}">
                    <a16:creationId xmlns:a16="http://schemas.microsoft.com/office/drawing/2014/main" id="{BC6C12B0-771A-4527-DA4A-27C5B4629A31}"/>
                  </a:ext>
                </a:extLst>
              </p:cNvPr>
              <p:cNvSpPr>
                <a:spLocks noChangeAspect="1" noChangeArrowheads="1"/>
              </p:cNvSpPr>
              <p:nvPr/>
            </p:nvSpPr>
            <p:spPr bwMode="auto">
              <a:xfrm>
                <a:off x="864324" y="10974031"/>
                <a:ext cx="60591" cy="60940"/>
              </a:xfrm>
              <a:prstGeom prst="mathMultiply">
                <a:avLst/>
              </a:prstGeom>
              <a:solidFill>
                <a:schemeClr val="accent3"/>
              </a:solidFill>
              <a:ln w="8001" cap="flat">
                <a:noFill/>
                <a:prstDash val="solid"/>
                <a:miter lim="800000"/>
                <a:headEnd/>
                <a:tailEnd/>
              </a:ln>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grpSp>
        <p:grpSp>
          <p:nvGrpSpPr>
            <p:cNvPr id="43" name="Group 42">
              <a:extLst>
                <a:ext uri="{FF2B5EF4-FFF2-40B4-BE49-F238E27FC236}">
                  <a16:creationId xmlns:a16="http://schemas.microsoft.com/office/drawing/2014/main" id="{BFF4D395-0DF9-2B55-8829-7FF6250E12DD}"/>
                </a:ext>
              </a:extLst>
            </p:cNvPr>
            <p:cNvGrpSpPr/>
            <p:nvPr/>
          </p:nvGrpSpPr>
          <p:grpSpPr>
            <a:xfrm>
              <a:off x="2781301" y="10823911"/>
              <a:ext cx="769686" cy="172046"/>
              <a:chOff x="2824163" y="10703261"/>
              <a:chExt cx="769686" cy="172046"/>
            </a:xfrm>
          </p:grpSpPr>
          <p:sp>
            <p:nvSpPr>
              <p:cNvPr id="44" name="Rectangle 677">
                <a:extLst>
                  <a:ext uri="{FF2B5EF4-FFF2-40B4-BE49-F238E27FC236}">
                    <a16:creationId xmlns:a16="http://schemas.microsoft.com/office/drawing/2014/main" id="{2851608F-78BC-E66C-A083-A9D06995E5DD}"/>
                  </a:ext>
                </a:extLst>
              </p:cNvPr>
              <p:cNvSpPr>
                <a:spLocks noChangeArrowheads="1"/>
              </p:cNvSpPr>
              <p:nvPr/>
            </p:nvSpPr>
            <p:spPr bwMode="auto">
              <a:xfrm>
                <a:off x="2987884" y="10703261"/>
                <a:ext cx="605965" cy="82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accent3"/>
                    </a:solidFill>
                    <a:effectLst/>
                    <a:latin typeface="+mn-lt"/>
                  </a:rPr>
                  <a:t>Efgartigimod PH20 SC</a:t>
                </a:r>
              </a:p>
            </p:txBody>
          </p:sp>
          <p:sp>
            <p:nvSpPr>
              <p:cNvPr id="45" name="Rectangle 678">
                <a:extLst>
                  <a:ext uri="{FF2B5EF4-FFF2-40B4-BE49-F238E27FC236}">
                    <a16:creationId xmlns:a16="http://schemas.microsoft.com/office/drawing/2014/main" id="{2BED8922-E297-50B2-C10B-A306C701EF9B}"/>
                  </a:ext>
                </a:extLst>
              </p:cNvPr>
              <p:cNvSpPr>
                <a:spLocks noChangeArrowheads="1"/>
              </p:cNvSpPr>
              <p:nvPr/>
            </p:nvSpPr>
            <p:spPr bwMode="auto">
              <a:xfrm>
                <a:off x="2987884" y="10792727"/>
                <a:ext cx="466422" cy="82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7CA744"/>
                    </a:solidFill>
                    <a:effectLst/>
                    <a:latin typeface="+mn-lt"/>
                  </a:rPr>
                  <a:t>Placebo PH20 SC</a:t>
                </a:r>
              </a:p>
            </p:txBody>
          </p:sp>
          <p:sp>
            <p:nvSpPr>
              <p:cNvPr id="46" name="Rectangle 860">
                <a:extLst>
                  <a:ext uri="{FF2B5EF4-FFF2-40B4-BE49-F238E27FC236}">
                    <a16:creationId xmlns:a16="http://schemas.microsoft.com/office/drawing/2014/main" id="{B6552E91-C447-BA0C-4472-259C1F1F7AFE}"/>
                  </a:ext>
                </a:extLst>
              </p:cNvPr>
              <p:cNvSpPr>
                <a:spLocks noChangeAspect="1" noChangeArrowheads="1"/>
              </p:cNvSpPr>
              <p:nvPr/>
            </p:nvSpPr>
            <p:spPr bwMode="auto">
              <a:xfrm>
                <a:off x="2858161" y="10715181"/>
                <a:ext cx="60591" cy="60940"/>
              </a:xfrm>
              <a:prstGeom prst="mathMultiply">
                <a:avLst/>
              </a:prstGeom>
              <a:solidFill>
                <a:schemeClr val="accent3"/>
              </a:solidFill>
              <a:ln w="8001" cap="flat">
                <a:noFill/>
                <a:prstDash val="solid"/>
                <a:miter lim="800000"/>
                <a:headEnd/>
                <a:tailEnd/>
              </a:ln>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sp>
            <p:nvSpPr>
              <p:cNvPr id="47" name="Rectangle 860">
                <a:extLst>
                  <a:ext uri="{FF2B5EF4-FFF2-40B4-BE49-F238E27FC236}">
                    <a16:creationId xmlns:a16="http://schemas.microsoft.com/office/drawing/2014/main" id="{D9CB2209-0802-0870-9505-8704A8896CD5}"/>
                  </a:ext>
                </a:extLst>
              </p:cNvPr>
              <p:cNvSpPr>
                <a:spLocks noChangeArrowheads="1"/>
              </p:cNvSpPr>
              <p:nvPr/>
            </p:nvSpPr>
            <p:spPr bwMode="auto">
              <a:xfrm>
                <a:off x="2872023" y="10813457"/>
                <a:ext cx="32867" cy="36154"/>
              </a:xfrm>
              <a:prstGeom prst="rect">
                <a:avLst/>
              </a:prstGeom>
              <a:noFill/>
              <a:ln w="25400" cap="flat">
                <a:solidFill>
                  <a:srgbClr val="7CA7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40" tIns="45720" rIns="91440" bIns="45720" numCol="1" anchor="t" anchorCtr="0" compatLnSpc="1">
                <a:prstTxWarp prst="textNoShape">
                  <a:avLst/>
                </a:prstTxWarp>
              </a:bodyPr>
              <a:lstStyle/>
              <a:p>
                <a:endParaRPr lang="en-US" sz="1000">
                  <a:solidFill>
                    <a:schemeClr val="tx2"/>
                  </a:solidFill>
                </a:endParaRPr>
              </a:p>
            </p:txBody>
          </p:sp>
          <p:cxnSp>
            <p:nvCxnSpPr>
              <p:cNvPr id="48" name="Straight Connector 47">
                <a:extLst>
                  <a:ext uri="{FF2B5EF4-FFF2-40B4-BE49-F238E27FC236}">
                    <a16:creationId xmlns:a16="http://schemas.microsoft.com/office/drawing/2014/main" id="{0500CB74-93E0-CB8A-BE28-C03BEB367EFD}"/>
                  </a:ext>
                </a:extLst>
              </p:cNvPr>
              <p:cNvCxnSpPr/>
              <p:nvPr/>
            </p:nvCxnSpPr>
            <p:spPr>
              <a:xfrm>
                <a:off x="2824163" y="10744200"/>
                <a:ext cx="12858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5C93515-D353-805C-9459-626D925DD388}"/>
                  </a:ext>
                </a:extLst>
              </p:cNvPr>
              <p:cNvCxnSpPr/>
              <p:nvPr/>
            </p:nvCxnSpPr>
            <p:spPr>
              <a:xfrm>
                <a:off x="2824163" y="10829925"/>
                <a:ext cx="128587" cy="0"/>
              </a:xfrm>
              <a:prstGeom prst="line">
                <a:avLst/>
              </a:prstGeom>
              <a:ln w="28575">
                <a:solidFill>
                  <a:srgbClr val="7CA744"/>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09973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PRESGUID" val="c4812476-11ed-4412-86ae-bb9f37e9d71a"/>
</p:tagLst>
</file>

<file path=ppt/tags/tag2.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17"/>
  <p:tag name="MIO_HDS" val="True"/>
  <p:tag name="MIO_SKIPVERSION" val="01.01.0001 00:00:00"/>
  <p:tag name="MIO_EKGUID" val="61d37b8d-ac68-4deb-857d-2467629c9bb7"/>
  <p:tag name="MIO_UPDATE" val="True"/>
  <p:tag name="MIO_VERSION" val="10.03.2020 10:46:10"/>
  <p:tag name="MIO_DBID" val="B8FCB12D-AF03-49EB-9F79-BB019BE99E1E"/>
  <p:tag name="MIO_LASTDOWNLOADED" val="24.03.2020 11:56:42"/>
  <p:tag name="MIO_OBJECTNAME" val="Envision Pharma Group 16:9 Template"/>
  <p:tag name="MIO_CDID" val="14ec320f-2343-4635-bf2b-b716ab53390e"/>
</p:tagLst>
</file>

<file path=ppt/theme/theme1.xml><?xml version="1.0" encoding="utf-8"?>
<a:theme xmlns:a="http://schemas.openxmlformats.org/drawingml/2006/main" name="Envision Pharma Group 16:9 Template">
  <a:themeElements>
    <a:clrScheme name="Argenx">
      <a:dk1>
        <a:srgbClr val="000000"/>
      </a:dk1>
      <a:lt1>
        <a:srgbClr val="FFFFFF"/>
      </a:lt1>
      <a:dk2>
        <a:srgbClr val="5A5A5A"/>
      </a:dk2>
      <a:lt2>
        <a:srgbClr val="F2F2F2"/>
      </a:lt2>
      <a:accent1>
        <a:srgbClr val="91C353"/>
      </a:accent1>
      <a:accent2>
        <a:srgbClr val="CCDDEF"/>
      </a:accent2>
      <a:accent3>
        <a:srgbClr val="0B436E"/>
      </a:accent3>
      <a:accent4>
        <a:srgbClr val="F2F2F2"/>
      </a:accent4>
      <a:accent5>
        <a:srgbClr val="086F3C"/>
      </a:accent5>
      <a:accent6>
        <a:srgbClr val="343433"/>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Default Theme.pptx" id="{2B31D5CD-F7CC-4985-8B81-3FAC8190D08E}" vid="{1ADF3F2B-196F-44E8-926B-F53FABD1831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574047e-4355-484a-8650-d1e8562b2a2a" xsi:nil="true"/>
    <lcf76f155ced4ddcb4097134ff3c332f xmlns="d953c4f2-d3fc-447c-b8a6-5dc1e6a8a153">
      <Terms xmlns="http://schemas.microsoft.com/office/infopath/2007/PartnerControls"/>
    </lcf76f155ced4ddcb4097134ff3c332f>
    <Client xmlns="d953c4f2-d3fc-447c-b8a6-5dc1e6a8a15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E3622229B9A404AAB4D74E4BB55DF11" ma:contentTypeVersion="17" ma:contentTypeDescription="Create a new document." ma:contentTypeScope="" ma:versionID="d335fe173f219d867a92a28de91676e6">
  <xsd:schema xmlns:xsd="http://www.w3.org/2001/XMLSchema" xmlns:xs="http://www.w3.org/2001/XMLSchema" xmlns:p="http://schemas.microsoft.com/office/2006/metadata/properties" xmlns:ns2="d953c4f2-d3fc-447c-b8a6-5dc1e6a8a153" xmlns:ns3="8574047e-4355-484a-8650-d1e8562b2a2a" targetNamespace="http://schemas.microsoft.com/office/2006/metadata/properties" ma:root="true" ma:fieldsID="50cdf4548f7fc6134ccf03f3e9fd1d0e" ns2:_="" ns3:_="">
    <xsd:import namespace="d953c4f2-d3fc-447c-b8a6-5dc1e6a8a153"/>
    <xsd:import namespace="8574047e-4355-484a-8650-d1e8562b2a2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Location" minOccurs="0"/>
                <xsd:element ref="ns2:MediaServiceBillingMetadata" minOccurs="0"/>
                <xsd:element ref="ns2:Cli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53c4f2-d3fc-447c-b8a6-5dc1e6a8a1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50e8c867-016e-4e7e-ac72-082d690dc735"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2" nillable="true" ma:displayName="Location" ma:descrip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lient" ma:index="24" nillable="true" ma:displayName="Client" ma:format="Dropdown" ma:internalName="Client">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574047e-4355-484a-8650-d1e8562b2a2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362e2aa2-4a73-44d1-8442-803299cdb16f}" ma:internalName="TaxCatchAll" ma:showField="CatchAllData" ma:web="8574047e-4355-484a-8650-d1e8562b2a2a">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1237903-A3F0-41B8-B0A6-B597122C9995}">
  <ds:schemaRefs>
    <ds:schemaRef ds:uri="8574047e-4355-484a-8650-d1e8562b2a2a"/>
    <ds:schemaRef ds:uri="d953c4f2-d3fc-447c-b8a6-5dc1e6a8a1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EA7E076-D640-4E02-9F99-040863844BDC}">
  <ds:schemaRefs>
    <ds:schemaRef ds:uri="http://schemas.microsoft.com/sharepoint/v3/contenttype/forms"/>
  </ds:schemaRefs>
</ds:datastoreItem>
</file>

<file path=customXml/itemProps3.xml><?xml version="1.0" encoding="utf-8"?>
<ds:datastoreItem xmlns:ds="http://schemas.openxmlformats.org/officeDocument/2006/customXml" ds:itemID="{83EEA405-E7F7-4486-9D51-9E73C709BF3E}">
  <ds:schemaRefs>
    <ds:schemaRef ds:uri="8574047e-4355-484a-8650-d1e8562b2a2a"/>
    <ds:schemaRef ds:uri="d953c4f2-d3fc-447c-b8a6-5dc1e6a8a1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589</Words>
  <Application>Microsoft Office PowerPoint</Application>
  <PresentationFormat>Widescreen</PresentationFormat>
  <Paragraphs>711</Paragraphs>
  <Slides>16</Slides>
  <Notes>16</Notes>
  <HiddenSlides>2</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6</vt:i4>
      </vt:variant>
    </vt:vector>
  </HeadingPairs>
  <TitlesOfParts>
    <vt:vector size="23" baseType="lpstr">
      <vt:lpstr>Calibri</vt:lpstr>
      <vt:lpstr>Symbol</vt:lpstr>
      <vt:lpstr>Arial</vt:lpstr>
      <vt:lpstr>Calibri Light</vt:lpstr>
      <vt:lpstr>Aptos</vt:lpstr>
      <vt:lpstr>Courier New</vt:lpstr>
      <vt:lpstr>Envision Pharma Group 16:9 Template</vt:lpstr>
      <vt:lpstr>Effect of Efgartigimod PH20 SC on Total Improvement Score, Its Core Set Measures, and Patient/Clinician Impressions of Change: Results From the Phase 2 ALKIVIA Study  of Adults With Active Idiopathic Inflammatory Myopathy </vt:lpstr>
      <vt:lpstr>Disclosures and Acknowledgments</vt:lpstr>
      <vt:lpstr>Study Hypothesis: IIM Is Driven by Autoantibodies</vt:lpstr>
      <vt:lpstr>Efgartigimod Blocks FcRn and Reduces IgG Levels</vt:lpstr>
      <vt:lpstr>                                        A Seamless, Phase 2/3, Randomized, Double-Blinded, Placebo-Controlled, Parallel Group Trial in IIM</vt:lpstr>
      <vt:lpstr>Eligibility Criteria</vt:lpstr>
      <vt:lpstr>Phase 2 Objectives and Endpoints</vt:lpstr>
      <vt:lpstr>                       Participant Demographics and Disease Characteristics</vt:lpstr>
      <vt:lpstr>                              Efgartigimod PH20 SC Led to Significant Clinical Improvement as Measured by TIS</vt:lpstr>
      <vt:lpstr>Proportion of Participants With TIS ≥20, ≥40, and ≥60 at Week 24</vt:lpstr>
      <vt:lpstr>  Individual Components Constituting the TIS Favored Efgartigimod PH20 SC</vt:lpstr>
      <vt:lpstr>PGI-C and CGI-C at Last Assessment Before or at Week 24</vt:lpstr>
      <vt:lpstr>                Summary of Safety</vt:lpstr>
      <vt:lpstr>PowerPoint Presentation</vt:lpstr>
      <vt:lpstr>                         Median Time to First TIS ≥20 and ≥40</vt:lpstr>
      <vt:lpstr>                           Percentage Contribution of Individual CSM to TIS at Week 24</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ple content layouts</dc:title>
  <dc:creator>Paul Taddeo</dc:creator>
  <cp:lastModifiedBy>Zoe Bartlett</cp:lastModifiedBy>
  <cp:revision>1</cp:revision>
  <dcterms:created xsi:type="dcterms:W3CDTF">2021-09-15T14:41:02Z</dcterms:created>
  <dcterms:modified xsi:type="dcterms:W3CDTF">2025-10-28T20:4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126800</vt:r8>
  </property>
  <property fmtid="{D5CDD505-2E9C-101B-9397-08002B2CF9AE}" pid="3" name="MediaServiceImageTags">
    <vt:lpwstr/>
  </property>
  <property fmtid="{D5CDD505-2E9C-101B-9397-08002B2CF9AE}" pid="4" name="ContentTypeId">
    <vt:lpwstr>0x010100EE3622229B9A404AAB4D74E4BB55DF11</vt:lpwstr>
  </property>
</Properties>
</file>